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7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8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9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20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1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2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5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6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7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8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9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3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7"/>
  </p:notesMasterIdLst>
  <p:handoutMasterIdLst>
    <p:handoutMasterId r:id="rId58"/>
  </p:handoutMasterIdLst>
  <p:sldIdLst>
    <p:sldId id="515" r:id="rId2"/>
    <p:sldId id="516" r:id="rId3"/>
    <p:sldId id="600" r:id="rId4"/>
    <p:sldId id="582" r:id="rId5"/>
    <p:sldId id="560" r:id="rId6"/>
    <p:sldId id="562" r:id="rId7"/>
    <p:sldId id="563" r:id="rId8"/>
    <p:sldId id="564" r:id="rId9"/>
    <p:sldId id="556" r:id="rId10"/>
    <p:sldId id="557" r:id="rId11"/>
    <p:sldId id="517" r:id="rId12"/>
    <p:sldId id="518" r:id="rId13"/>
    <p:sldId id="519" r:id="rId14"/>
    <p:sldId id="520" r:id="rId15"/>
    <p:sldId id="521" r:id="rId16"/>
    <p:sldId id="522" r:id="rId17"/>
    <p:sldId id="550" r:id="rId18"/>
    <p:sldId id="525" r:id="rId19"/>
    <p:sldId id="526" r:id="rId20"/>
    <p:sldId id="527" r:id="rId21"/>
    <p:sldId id="528" r:id="rId22"/>
    <p:sldId id="529" r:id="rId23"/>
    <p:sldId id="530" r:id="rId24"/>
    <p:sldId id="532" r:id="rId25"/>
    <p:sldId id="572" r:id="rId26"/>
    <p:sldId id="533" r:id="rId27"/>
    <p:sldId id="535" r:id="rId28"/>
    <p:sldId id="537" r:id="rId29"/>
    <p:sldId id="538" r:id="rId30"/>
    <p:sldId id="539" r:id="rId31"/>
    <p:sldId id="573" r:id="rId32"/>
    <p:sldId id="575" r:id="rId33"/>
    <p:sldId id="576" r:id="rId34"/>
    <p:sldId id="583" r:id="rId35"/>
    <p:sldId id="584" r:id="rId36"/>
    <p:sldId id="585" r:id="rId37"/>
    <p:sldId id="541" r:id="rId38"/>
    <p:sldId id="586" r:id="rId39"/>
    <p:sldId id="587" r:id="rId40"/>
    <p:sldId id="577" r:id="rId41"/>
    <p:sldId id="588" r:id="rId42"/>
    <p:sldId id="543" r:id="rId43"/>
    <p:sldId id="589" r:id="rId44"/>
    <p:sldId id="580" r:id="rId45"/>
    <p:sldId id="590" r:id="rId46"/>
    <p:sldId id="544" r:id="rId47"/>
    <p:sldId id="591" r:id="rId48"/>
    <p:sldId id="592" r:id="rId49"/>
    <p:sldId id="593" r:id="rId50"/>
    <p:sldId id="595" r:id="rId51"/>
    <p:sldId id="596" r:id="rId52"/>
    <p:sldId id="597" r:id="rId53"/>
    <p:sldId id="598" r:id="rId54"/>
    <p:sldId id="599" r:id="rId55"/>
    <p:sldId id="548" r:id="rId56"/>
  </p:sldIdLst>
  <p:sldSz cx="12192000" cy="6858000"/>
  <p:notesSz cx="6797675" cy="9798050"/>
  <p:custDataLst>
    <p:tags r:id="rId5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6085DC5-45CE-42BB-A206-7827B300143A}">
          <p14:sldIdLst>
            <p14:sldId id="515"/>
            <p14:sldId id="516"/>
            <p14:sldId id="600"/>
            <p14:sldId id="582"/>
            <p14:sldId id="560"/>
            <p14:sldId id="562"/>
            <p14:sldId id="563"/>
            <p14:sldId id="564"/>
            <p14:sldId id="556"/>
            <p14:sldId id="557"/>
            <p14:sldId id="517"/>
            <p14:sldId id="518"/>
            <p14:sldId id="519"/>
            <p14:sldId id="520"/>
            <p14:sldId id="521"/>
            <p14:sldId id="522"/>
            <p14:sldId id="550"/>
            <p14:sldId id="525"/>
            <p14:sldId id="526"/>
            <p14:sldId id="527"/>
            <p14:sldId id="528"/>
            <p14:sldId id="529"/>
            <p14:sldId id="530"/>
            <p14:sldId id="532"/>
            <p14:sldId id="572"/>
            <p14:sldId id="533"/>
            <p14:sldId id="535"/>
            <p14:sldId id="537"/>
            <p14:sldId id="538"/>
            <p14:sldId id="539"/>
            <p14:sldId id="573"/>
            <p14:sldId id="575"/>
            <p14:sldId id="576"/>
            <p14:sldId id="583"/>
            <p14:sldId id="584"/>
            <p14:sldId id="585"/>
            <p14:sldId id="541"/>
            <p14:sldId id="586"/>
            <p14:sldId id="587"/>
            <p14:sldId id="577"/>
            <p14:sldId id="588"/>
            <p14:sldId id="543"/>
            <p14:sldId id="589"/>
            <p14:sldId id="580"/>
            <p14:sldId id="590"/>
            <p14:sldId id="544"/>
            <p14:sldId id="591"/>
            <p14:sldId id="592"/>
            <p14:sldId id="593"/>
            <p14:sldId id="595"/>
            <p14:sldId id="596"/>
            <p14:sldId id="597"/>
            <p14:sldId id="598"/>
            <p14:sldId id="599"/>
            <p14:sldId id="548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00" userDrawn="1">
          <p15:clr>
            <a:srgbClr val="A4A3A4"/>
          </p15:clr>
        </p15:guide>
        <p15:guide id="2" pos="281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3696"/>
    <a:srgbClr val="853A19"/>
    <a:srgbClr val="EB2049"/>
    <a:srgbClr val="2D3494"/>
    <a:srgbClr val="D1E7F6"/>
    <a:srgbClr val="408671"/>
    <a:srgbClr val="A84A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47" autoAdjust="0"/>
    <p:restoredTop sz="96305" autoAdjust="0"/>
  </p:normalViewPr>
  <p:slideViewPr>
    <p:cSldViewPr snapToGrid="0" showGuides="1">
      <p:cViewPr varScale="1">
        <p:scale>
          <a:sx n="63" d="100"/>
          <a:sy n="63" d="100"/>
        </p:scale>
        <p:origin x="-822" y="-108"/>
      </p:cViewPr>
      <p:guideLst>
        <p:guide orient="horz" pos="300"/>
        <p:guide pos="28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1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8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8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098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AE2B7-847C-436E-B842-CCE949DEAD1B}" type="datetimeFigureOut">
              <a:rPr lang="ru-RU" smtClean="0"/>
              <a:pPr/>
              <a:t>10.09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098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470D6-A7D1-4BA7-BEF6-5D40279B2C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6766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B29EE-4036-4DBD-AC34-D813A099D36A}" type="datetimeFigureOut">
              <a:rPr lang="ru-RU" smtClean="0"/>
              <a:pPr/>
              <a:t>10.09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0375" y="1225550"/>
            <a:ext cx="5876925" cy="33051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317"/>
            <a:ext cx="5438140" cy="38579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D8710-C1F7-456F-ACD4-57F616EF49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155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27435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40183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kumimoji="0" lang="ru-RU" altLang="ru-RU" smtClean="0">
                <a:cs typeface="Arial" panose="020B0604020202020204" pitchFamily="34" charset="0"/>
              </a:rPr>
              <a:t>По возможности все обложки рекомендуемой линии, должен быть виден начинающий и завершающий класс.</a:t>
            </a:r>
          </a:p>
          <a:p>
            <a:r>
              <a:rPr kumimoji="0" lang="ru-RU" altLang="ru-RU" smtClean="0">
                <a:cs typeface="Arial" panose="020B0604020202020204" pitchFamily="34" charset="0"/>
              </a:rPr>
              <a:t>Нижний колонтитул с ссылкой на ресурс </a:t>
            </a:r>
            <a:r>
              <a:rPr kumimoji="0" lang="en-US" altLang="ru-RU" smtClean="0">
                <a:cs typeface="Arial" panose="020B0604020202020204" pitchFamily="34" charset="0"/>
              </a:rPr>
              <a:t>fpu345</a:t>
            </a:r>
            <a:r>
              <a:rPr kumimoji="0" lang="ru-RU" altLang="ru-RU" smtClean="0">
                <a:cs typeface="Arial" panose="020B0604020202020204" pitchFamily="34" charset="0"/>
              </a:rPr>
              <a:t> и иконками методические рекомендации, вебинары.</a:t>
            </a:r>
          </a:p>
          <a:p>
            <a:endParaRPr kumimoji="0" lang="ru-RU" altLang="ru-RU" smtClean="0">
              <a:cs typeface="Arial" panose="020B0604020202020204" pitchFamily="34" charset="0"/>
            </a:endParaRPr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3D9857-48DE-4AA2-A45E-0A0716704858}" type="slidenum">
              <a:rPr kumimoji="0" lang="ru-RU" altLang="ru-RU" sz="1200"/>
              <a:pPr/>
              <a:t>14</a:t>
            </a:fld>
            <a:endParaRPr kumimoji="0"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36062970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kumimoji="0" lang="ru-RU" altLang="ru-RU" smtClean="0">
                <a:cs typeface="Arial" panose="020B0604020202020204" pitchFamily="34" charset="0"/>
              </a:rPr>
              <a:t>По возможности все обложки рекомендуемой линии, должен быть виден начинающий и завершающий класс.</a:t>
            </a:r>
          </a:p>
          <a:p>
            <a:r>
              <a:rPr kumimoji="0" lang="ru-RU" altLang="ru-RU" smtClean="0">
                <a:cs typeface="Arial" panose="020B0604020202020204" pitchFamily="34" charset="0"/>
              </a:rPr>
              <a:t>Нижний колонтитул с ссылкой на ресурс </a:t>
            </a:r>
            <a:r>
              <a:rPr kumimoji="0" lang="en-US" altLang="ru-RU" smtClean="0">
                <a:cs typeface="Arial" panose="020B0604020202020204" pitchFamily="34" charset="0"/>
              </a:rPr>
              <a:t>fpu345</a:t>
            </a:r>
            <a:r>
              <a:rPr kumimoji="0" lang="ru-RU" altLang="ru-RU" smtClean="0">
                <a:cs typeface="Arial" panose="020B0604020202020204" pitchFamily="34" charset="0"/>
              </a:rPr>
              <a:t> и иконками методические рекомендации, вебинары.</a:t>
            </a:r>
          </a:p>
          <a:p>
            <a:endParaRPr kumimoji="0" lang="ru-RU" altLang="ru-RU" smtClean="0">
              <a:cs typeface="Arial" panose="020B0604020202020204" pitchFamily="34" charset="0"/>
            </a:endParaRPr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3D9857-48DE-4AA2-A45E-0A0716704858}" type="slidenum">
              <a:rPr kumimoji="0" lang="ru-RU" altLang="ru-RU" sz="1200"/>
              <a:pPr/>
              <a:t>15</a:t>
            </a:fld>
            <a:endParaRPr kumimoji="0"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7355719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kumimoji="0" lang="ru-RU" altLang="ru-RU" smtClean="0">
                <a:cs typeface="Arial" panose="020B0604020202020204" pitchFamily="34" charset="0"/>
              </a:rPr>
              <a:t>По возможности все обложки рекомендуемой линии, должен быть виден начинающий и завершающий класс.</a:t>
            </a:r>
          </a:p>
          <a:p>
            <a:r>
              <a:rPr kumimoji="0" lang="ru-RU" altLang="ru-RU" smtClean="0">
                <a:cs typeface="Arial" panose="020B0604020202020204" pitchFamily="34" charset="0"/>
              </a:rPr>
              <a:t>Нижний колонтитул с ссылкой на ресурс </a:t>
            </a:r>
            <a:r>
              <a:rPr kumimoji="0" lang="en-US" altLang="ru-RU" smtClean="0">
                <a:cs typeface="Arial" panose="020B0604020202020204" pitchFamily="34" charset="0"/>
              </a:rPr>
              <a:t>fpu345</a:t>
            </a:r>
            <a:r>
              <a:rPr kumimoji="0" lang="ru-RU" altLang="ru-RU" smtClean="0">
                <a:cs typeface="Arial" panose="020B0604020202020204" pitchFamily="34" charset="0"/>
              </a:rPr>
              <a:t> и иконками методические рекомендации, вебинары.</a:t>
            </a:r>
          </a:p>
          <a:p>
            <a:endParaRPr kumimoji="0" lang="ru-RU" altLang="ru-RU" smtClean="0">
              <a:cs typeface="Arial" panose="020B0604020202020204" pitchFamily="34" charset="0"/>
            </a:endParaRPr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3D9857-48DE-4AA2-A45E-0A0716704858}" type="slidenum">
              <a:rPr kumimoji="0" lang="ru-RU" altLang="ru-RU" sz="1200"/>
              <a:pPr/>
              <a:t>16</a:t>
            </a:fld>
            <a:endParaRPr kumimoji="0"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40698401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1300" y="725488"/>
            <a:ext cx="6446838" cy="36258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20987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1300" y="725488"/>
            <a:ext cx="6446838" cy="36258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23426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46842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kumimoji="0" lang="ru-RU" altLang="ru-RU" smtClean="0">
                <a:cs typeface="Arial" panose="020B0604020202020204" pitchFamily="34" charset="0"/>
              </a:rPr>
              <a:t>По возможности все обложки рекомендуемой линии, должен быть виден начинающий и завершающий класс.</a:t>
            </a:r>
          </a:p>
          <a:p>
            <a:r>
              <a:rPr kumimoji="0" lang="ru-RU" altLang="ru-RU" smtClean="0">
                <a:cs typeface="Arial" panose="020B0604020202020204" pitchFamily="34" charset="0"/>
              </a:rPr>
              <a:t>Нижний колонтитул с ссылкой на ресурс </a:t>
            </a:r>
            <a:r>
              <a:rPr kumimoji="0" lang="en-US" altLang="ru-RU" smtClean="0">
                <a:cs typeface="Arial" panose="020B0604020202020204" pitchFamily="34" charset="0"/>
              </a:rPr>
              <a:t>fpu345</a:t>
            </a:r>
            <a:r>
              <a:rPr kumimoji="0" lang="ru-RU" altLang="ru-RU" smtClean="0">
                <a:cs typeface="Arial" panose="020B0604020202020204" pitchFamily="34" charset="0"/>
              </a:rPr>
              <a:t> и иконками методические рекомендации, вебинары.</a:t>
            </a:r>
          </a:p>
          <a:p>
            <a:endParaRPr kumimoji="0" lang="ru-RU" altLang="ru-RU" smtClean="0">
              <a:cs typeface="Arial" panose="020B0604020202020204" pitchFamily="34" charset="0"/>
            </a:endParaRPr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3D9857-48DE-4AA2-A45E-0A0716704858}" type="slidenum">
              <a:rPr kumimoji="0" lang="ru-RU" altLang="ru-RU" sz="1200"/>
              <a:pPr/>
              <a:t>20</a:t>
            </a:fld>
            <a:endParaRPr kumimoji="0"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043604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kumimoji="0" lang="ru-RU" altLang="ru-RU" smtClean="0">
                <a:cs typeface="Arial" panose="020B0604020202020204" pitchFamily="34" charset="0"/>
              </a:rPr>
              <a:t>По возможности все обложки рекомендуемой линии, должен быть виден начинающий и завершающий класс.</a:t>
            </a:r>
          </a:p>
          <a:p>
            <a:r>
              <a:rPr kumimoji="0" lang="ru-RU" altLang="ru-RU" smtClean="0">
                <a:cs typeface="Arial" panose="020B0604020202020204" pitchFamily="34" charset="0"/>
              </a:rPr>
              <a:t>Нижний колонтитул с ссылкой на ресурс </a:t>
            </a:r>
            <a:r>
              <a:rPr kumimoji="0" lang="en-US" altLang="ru-RU" smtClean="0">
                <a:cs typeface="Arial" panose="020B0604020202020204" pitchFamily="34" charset="0"/>
              </a:rPr>
              <a:t>fpu345</a:t>
            </a:r>
            <a:r>
              <a:rPr kumimoji="0" lang="ru-RU" altLang="ru-RU" smtClean="0">
                <a:cs typeface="Arial" panose="020B0604020202020204" pitchFamily="34" charset="0"/>
              </a:rPr>
              <a:t> и иконками методические рекомендации, вебинары.</a:t>
            </a:r>
          </a:p>
          <a:p>
            <a:endParaRPr kumimoji="0" lang="ru-RU" altLang="ru-RU" smtClean="0">
              <a:cs typeface="Arial" panose="020B0604020202020204" pitchFamily="34" charset="0"/>
            </a:endParaRPr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3D9857-48DE-4AA2-A45E-0A0716704858}" type="slidenum">
              <a:rPr kumimoji="0" lang="ru-RU" altLang="ru-RU" sz="1200"/>
              <a:pPr/>
              <a:t>21</a:t>
            </a:fld>
            <a:endParaRPr kumimoji="0"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2949591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kumimoji="0" lang="ru-RU" altLang="ru-RU" smtClean="0">
                <a:cs typeface="Arial" panose="020B0604020202020204" pitchFamily="34" charset="0"/>
              </a:rPr>
              <a:t>По возможности все обложки рекомендуемой линии, должен быть виден начинающий и завершающий класс.</a:t>
            </a:r>
          </a:p>
          <a:p>
            <a:r>
              <a:rPr kumimoji="0" lang="ru-RU" altLang="ru-RU" smtClean="0">
                <a:cs typeface="Arial" panose="020B0604020202020204" pitchFamily="34" charset="0"/>
              </a:rPr>
              <a:t>Нижний колонтитул с ссылкой на ресурс </a:t>
            </a:r>
            <a:r>
              <a:rPr kumimoji="0" lang="en-US" altLang="ru-RU" smtClean="0">
                <a:cs typeface="Arial" panose="020B0604020202020204" pitchFamily="34" charset="0"/>
              </a:rPr>
              <a:t>fpu345</a:t>
            </a:r>
            <a:r>
              <a:rPr kumimoji="0" lang="ru-RU" altLang="ru-RU" smtClean="0">
                <a:cs typeface="Arial" panose="020B0604020202020204" pitchFamily="34" charset="0"/>
              </a:rPr>
              <a:t> и иконками методические рекомендации, вебинары.</a:t>
            </a:r>
          </a:p>
          <a:p>
            <a:endParaRPr kumimoji="0" lang="ru-RU" altLang="ru-RU" smtClean="0">
              <a:cs typeface="Arial" panose="020B0604020202020204" pitchFamily="34" charset="0"/>
            </a:endParaRPr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3D9857-48DE-4AA2-A45E-0A0716704858}" type="slidenum">
              <a:rPr kumimoji="0" lang="ru-RU" altLang="ru-RU" sz="1200"/>
              <a:pPr/>
              <a:t>22</a:t>
            </a:fld>
            <a:endParaRPr kumimoji="0"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39281205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57330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kumimoji="0" lang="ru-RU" altLang="ru-RU" smtClean="0">
                <a:cs typeface="Arial" panose="020B0604020202020204" pitchFamily="34" charset="0"/>
              </a:rPr>
              <a:t>По возможности все обложки рекомендуемой линии, должен быть виден начинающий и завершающий класс.</a:t>
            </a:r>
          </a:p>
          <a:p>
            <a:r>
              <a:rPr kumimoji="0" lang="ru-RU" altLang="ru-RU" smtClean="0">
                <a:cs typeface="Arial" panose="020B0604020202020204" pitchFamily="34" charset="0"/>
              </a:rPr>
              <a:t>Нижний колонтитул с ссылкой на ресурс </a:t>
            </a:r>
            <a:r>
              <a:rPr kumimoji="0" lang="en-US" altLang="ru-RU" smtClean="0">
                <a:cs typeface="Arial" panose="020B0604020202020204" pitchFamily="34" charset="0"/>
              </a:rPr>
              <a:t>fpu345</a:t>
            </a:r>
            <a:r>
              <a:rPr kumimoji="0" lang="ru-RU" altLang="ru-RU" smtClean="0">
                <a:cs typeface="Arial" panose="020B0604020202020204" pitchFamily="34" charset="0"/>
              </a:rPr>
              <a:t> и иконками методические рекомендации, вебинары.</a:t>
            </a:r>
          </a:p>
          <a:p>
            <a:endParaRPr kumimoji="0" lang="ru-RU" altLang="ru-RU" smtClean="0">
              <a:cs typeface="Arial" panose="020B0604020202020204" pitchFamily="34" charset="0"/>
            </a:endParaRPr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3D9857-48DE-4AA2-A45E-0A0716704858}" type="slidenum">
              <a:rPr kumimoji="0" lang="ru-RU" altLang="ru-RU" sz="1200"/>
              <a:pPr/>
              <a:t>23</a:t>
            </a:fld>
            <a:endParaRPr kumimoji="0"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13022812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kumimoji="0" lang="ru-RU" altLang="ru-RU" smtClean="0">
                <a:cs typeface="Arial" panose="020B0604020202020204" pitchFamily="34" charset="0"/>
              </a:rPr>
              <a:t>По возможности все обложки рекомендуемой линии, должен быть виден начинающий и завершающий класс.</a:t>
            </a:r>
          </a:p>
          <a:p>
            <a:r>
              <a:rPr kumimoji="0" lang="ru-RU" altLang="ru-RU" smtClean="0">
                <a:cs typeface="Arial" panose="020B0604020202020204" pitchFamily="34" charset="0"/>
              </a:rPr>
              <a:t>Нижний колонтитул с ссылкой на ресурс </a:t>
            </a:r>
            <a:r>
              <a:rPr kumimoji="0" lang="en-US" altLang="ru-RU" smtClean="0">
                <a:cs typeface="Arial" panose="020B0604020202020204" pitchFamily="34" charset="0"/>
              </a:rPr>
              <a:t>fpu345</a:t>
            </a:r>
            <a:r>
              <a:rPr kumimoji="0" lang="ru-RU" altLang="ru-RU" smtClean="0">
                <a:cs typeface="Arial" panose="020B0604020202020204" pitchFamily="34" charset="0"/>
              </a:rPr>
              <a:t> и иконками методические рекомендации, вебинары.</a:t>
            </a:r>
          </a:p>
          <a:p>
            <a:endParaRPr kumimoji="0" lang="ru-RU" altLang="ru-RU" smtClean="0">
              <a:cs typeface="Arial" panose="020B0604020202020204" pitchFamily="34" charset="0"/>
            </a:endParaRPr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03D9857-48DE-4AA2-A45E-0A0716704858}" type="slidenum">
              <a:rPr kumimoji="0" lang="ru-RU" altLang="ru-RU" sz="1200"/>
              <a:pPr/>
              <a:t>24</a:t>
            </a:fld>
            <a:endParaRPr kumimoji="0"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9662058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1300" y="725488"/>
            <a:ext cx="6446838" cy="36258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97852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351748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75180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68492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158047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351748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1963" y="1225550"/>
            <a:ext cx="5873750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752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18022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97597106-DF19-4F35-9640-91D742D71DE2}" type="slidenum">
              <a:rPr lang="ru-RU" smtClean="0"/>
              <a:pPr>
                <a:defRPr/>
              </a:pPr>
              <a:t>44</a:t>
            </a:fld>
            <a:endParaRPr lang="ru-RU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Shape 242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458788" y="1223963"/>
            <a:ext cx="5880100" cy="3308350"/>
          </a:xfrm>
          <a:custGeom>
            <a:avLst/>
            <a:gdLst>
              <a:gd name="T0" fmla="*/ 0 w 120000"/>
              <a:gd name="T1" fmla="*/ 0 h 120000"/>
              <a:gd name="T2" fmla="*/ 120000 w 120000"/>
              <a:gd name="T3" fmla="*/ 120000 h 120000"/>
            </a:gdLst>
            <a:ahLst/>
            <a:cxnLst>
              <a:cxn ang="0">
                <a:pos x="0" y="0"/>
              </a:cxn>
              <a:cxn ang="0">
                <a:pos x="120000" y="0"/>
              </a:cxn>
              <a:cxn ang="0">
                <a:pos x="120000" y="120000"/>
              </a:cxn>
              <a:cxn ang="0">
                <a:pos x="0" y="120000"/>
              </a:cxn>
            </a:cxnLst>
            <a:rect l="T0" t="T1" r="T2" b="T3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>
            <a:solidFill>
              <a:srgbClr val="000000"/>
            </a:solidFill>
            <a:round/>
            <a:headEnd type="none" w="med" len="med"/>
            <a:tailEnd type="none" w="med" len="med"/>
          </a:ln>
        </p:spPr>
      </p:sp>
      <p:sp>
        <p:nvSpPr>
          <p:cNvPr id="121859" name="Shape 243"/>
          <p:cNvSpPr txBox="1">
            <a:spLocks noGrp="1"/>
          </p:cNvSpPr>
          <p:nvPr>
            <p:ph type="body" idx="1"/>
          </p:nvPr>
        </p:nvSpPr>
        <p:spPr bwMode="auto">
          <a:xfrm>
            <a:off x="679768" y="4715313"/>
            <a:ext cx="5438140" cy="3857981"/>
          </a:xfrm>
          <a:noFill/>
        </p:spPr>
        <p:txBody>
          <a:bodyPr wrap="square" lIns="91425" tIns="45700" rIns="91425" bIns="45700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spcBef>
                <a:spcPct val="0"/>
              </a:spcBef>
            </a:pPr>
            <a:r>
              <a:rPr lang="ru-RU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В корпорации « Российский учебник» существуют две платформы, реализующие курсы повышения квалификации. Платформа </a:t>
            </a:r>
            <a:r>
              <a:rPr lang="en-US" dirty="0" err="1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Moodle</a:t>
            </a:r>
            <a:r>
              <a:rPr lang="en-US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 </a:t>
            </a:r>
            <a:r>
              <a:rPr lang="ru-RU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и платформа </a:t>
            </a:r>
            <a:r>
              <a:rPr lang="ru-RU" dirty="0" err="1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Лекта</a:t>
            </a:r>
            <a:r>
              <a:rPr lang="ru-RU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.</a:t>
            </a:r>
          </a:p>
          <a:p>
            <a:r>
              <a:rPr lang="ru-RU" dirty="0" smtClean="0"/>
              <a:t>С помощью этих платформ мы реализуем актуальные программы по дошкольному образованию,  востребованными являются дистанционные курсы повышения квалификации учителей начальных классов, на которых представляется анализ требований ФГОС к содержанию, структуре, условиям реализации и результатам начального общего образования и предлагаются инновационные эффективные разработки в этой области. Курсы повышения квалификации учителей начальных классов предлагают обучение по проблемам формирования и диагностики </a:t>
            </a:r>
            <a:r>
              <a:rPr lang="ru-RU" dirty="0" err="1" smtClean="0"/>
              <a:t>метапредметных</a:t>
            </a:r>
            <a:r>
              <a:rPr lang="ru-RU" dirty="0" smtClean="0"/>
              <a:t> и личностных результатов начального образования, по освоению основ религиозных культур и светской этики, по новым тенденциям филологического, математического, технологического образования и др.</a:t>
            </a:r>
          </a:p>
          <a:p>
            <a:r>
              <a:rPr lang="ru-RU" dirty="0" smtClean="0"/>
              <a:t>Курсы повышения квалификации учителей, разработанные известными теоретиками и практиками, приглашают широкий круг слушателей, преподающих гуманитарные и естественнонаучные предметы.</a:t>
            </a:r>
          </a:p>
          <a:p>
            <a:r>
              <a:rPr lang="ru-RU" dirty="0" smtClean="0"/>
              <a:t>Мы приглашаем поступить на наши дистанционные курсы повышения квалификации учителей иностранных языков.</a:t>
            </a:r>
          </a:p>
          <a:p>
            <a:r>
              <a:rPr lang="ru-RU" dirty="0" smtClean="0"/>
              <a:t>В нашем Центре можно подать заявки на дистанционные курсы повышения квалификации учителям математики, физики, астрономии, химии и др.</a:t>
            </a:r>
          </a:p>
          <a:p>
            <a:r>
              <a:rPr lang="ru-RU" b="1" dirty="0" smtClean="0"/>
              <a:t>Тематическое поле наших курсов включает широкий спектр вопросов:</a:t>
            </a:r>
            <a:endParaRPr lang="ru-RU" dirty="0" smtClean="0"/>
          </a:p>
          <a:p>
            <a:pPr lvl="0"/>
            <a:r>
              <a:rPr lang="ru-RU" dirty="0" smtClean="0"/>
              <a:t>проектирование </a:t>
            </a:r>
            <a:r>
              <a:rPr lang="ru-RU" dirty="0" err="1" smtClean="0"/>
              <a:t>здоровьесохраняющего</a:t>
            </a:r>
            <a:r>
              <a:rPr lang="ru-RU" dirty="0" smtClean="0"/>
              <a:t> образовательного пространства;</a:t>
            </a:r>
          </a:p>
          <a:p>
            <a:pPr lvl="0"/>
            <a:r>
              <a:rPr lang="ru-RU" dirty="0" smtClean="0"/>
              <a:t>исследовательская и проектная деятельность учеников;</a:t>
            </a:r>
          </a:p>
          <a:p>
            <a:pPr lvl="0"/>
            <a:r>
              <a:rPr lang="ru-RU" dirty="0" smtClean="0"/>
              <a:t>использование активных методов обучения;</a:t>
            </a:r>
          </a:p>
          <a:p>
            <a:pPr lvl="0"/>
            <a:r>
              <a:rPr lang="ru-RU" dirty="0" smtClean="0"/>
              <a:t>технологии подготовки к ОГЭ и ЕГЭ;</a:t>
            </a:r>
          </a:p>
          <a:p>
            <a:pPr lvl="0"/>
            <a:r>
              <a:rPr lang="ru-RU" dirty="0" smtClean="0"/>
              <a:t>реализация </a:t>
            </a:r>
            <a:r>
              <a:rPr lang="ru-RU" dirty="0" err="1" smtClean="0"/>
              <a:t>межпредметных</a:t>
            </a:r>
            <a:r>
              <a:rPr lang="ru-RU" dirty="0" smtClean="0"/>
              <a:t> связей;</a:t>
            </a:r>
          </a:p>
          <a:p>
            <a:pPr lvl="0"/>
            <a:r>
              <a:rPr lang="ru-RU" dirty="0" smtClean="0"/>
              <a:t>мониторинг предметных, </a:t>
            </a:r>
            <a:r>
              <a:rPr lang="ru-RU" dirty="0" err="1" smtClean="0"/>
              <a:t>метапредметных</a:t>
            </a:r>
            <a:r>
              <a:rPr lang="ru-RU" dirty="0" smtClean="0"/>
              <a:t> и личностных достижений обучающихся;</a:t>
            </a:r>
          </a:p>
          <a:p>
            <a:r>
              <a:rPr lang="ru-RU" dirty="0" smtClean="0"/>
              <a:t>Благодаря освоению программ курсов повышения квалификации учителя и другие категории педагогических работников успешно проходят аттестацию на первую и высшую категорию, могут выстраивать индивидуальную траекторию профессионального развития и карьерного роста, достигать вершин профессионализма, быть успешными в любимом деле.</a:t>
            </a:r>
          </a:p>
          <a:p>
            <a:r>
              <a:rPr lang="ru-RU" dirty="0" smtClean="0"/>
              <a:t> </a:t>
            </a:r>
          </a:p>
          <a:p>
            <a:pPr>
              <a:spcBef>
                <a:spcPct val="0"/>
              </a:spcBef>
            </a:pPr>
            <a:endParaRPr lang="ru-RU" dirty="0" smtClean="0">
              <a:solidFill>
                <a:srgbClr val="000000"/>
              </a:solidFill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5166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1963" y="1225550"/>
            <a:ext cx="5873750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1946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D4C4760-CF34-474C-9A2E-985D77DF65F3}" type="slidenum">
              <a:rPr lang="ru-RU" altLang="ru-RU"/>
              <a:pPr/>
              <a:t>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Shape 242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458788" y="1223963"/>
            <a:ext cx="5880100" cy="3308350"/>
          </a:xfrm>
          <a:custGeom>
            <a:avLst/>
            <a:gdLst>
              <a:gd name="T0" fmla="*/ 0 w 120000"/>
              <a:gd name="T1" fmla="*/ 0 h 120000"/>
              <a:gd name="T2" fmla="*/ 120000 w 120000"/>
              <a:gd name="T3" fmla="*/ 120000 h 120000"/>
            </a:gdLst>
            <a:ahLst/>
            <a:cxnLst>
              <a:cxn ang="0">
                <a:pos x="0" y="0"/>
              </a:cxn>
              <a:cxn ang="0">
                <a:pos x="120000" y="0"/>
              </a:cxn>
              <a:cxn ang="0">
                <a:pos x="120000" y="120000"/>
              </a:cxn>
              <a:cxn ang="0">
                <a:pos x="0" y="120000"/>
              </a:cxn>
            </a:cxnLst>
            <a:rect l="T0" t="T1" r="T2" b="T3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>
            <a:solidFill>
              <a:srgbClr val="000000"/>
            </a:solidFill>
            <a:round/>
            <a:headEnd type="none" w="med" len="med"/>
            <a:tailEnd type="none" w="med" len="med"/>
          </a:ln>
        </p:spPr>
      </p:sp>
      <p:sp>
        <p:nvSpPr>
          <p:cNvPr id="121859" name="Shape 243"/>
          <p:cNvSpPr txBox="1">
            <a:spLocks noGrp="1"/>
          </p:cNvSpPr>
          <p:nvPr>
            <p:ph type="body" idx="1"/>
          </p:nvPr>
        </p:nvSpPr>
        <p:spPr bwMode="auto">
          <a:xfrm>
            <a:off x="679768" y="4715313"/>
            <a:ext cx="5438140" cy="3857981"/>
          </a:xfrm>
          <a:noFill/>
        </p:spPr>
        <p:txBody>
          <a:bodyPr wrap="square" lIns="91425" tIns="45700" rIns="91425" bIns="45700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spcBef>
                <a:spcPct val="0"/>
              </a:spcBef>
            </a:pPr>
            <a:r>
              <a:rPr lang="ru-RU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В корпорации « Российский учебник» существуют две платформы, реализующие курсы повышения квалификации. Платформа </a:t>
            </a:r>
            <a:r>
              <a:rPr lang="en-US" dirty="0" err="1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Moodle</a:t>
            </a:r>
            <a:r>
              <a:rPr lang="en-US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 </a:t>
            </a:r>
            <a:r>
              <a:rPr lang="ru-RU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и платформа </a:t>
            </a:r>
            <a:r>
              <a:rPr lang="ru-RU" dirty="0" err="1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Лекта</a:t>
            </a:r>
            <a:r>
              <a:rPr lang="ru-RU" dirty="0" smtClean="0">
                <a:solidFill>
                  <a:srgbClr val="000000"/>
                </a:solidFill>
                <a:ea typeface="Calibri" pitchFamily="34" charset="0"/>
                <a:cs typeface="Calibri" pitchFamily="34" charset="0"/>
                <a:sym typeface="Calibri" pitchFamily="34" charset="0"/>
              </a:rPr>
              <a:t>.</a:t>
            </a:r>
          </a:p>
          <a:p>
            <a:r>
              <a:rPr lang="ru-RU" dirty="0" smtClean="0"/>
              <a:t>С помощью этих платформ мы реализуем актуальные программы по дошкольному образованию,  востребованными являются дистанционные курсы повышения квалификации учителей начальных классов, на которых представляется анализ требований ФГОС к содержанию, структуре, условиям реализации и результатам начального общего образования и предлагаются инновационные эффективные разработки в этой области. Курсы повышения квалификации учителей начальных классов предлагают обучение по проблемам формирования и диагностики </a:t>
            </a:r>
            <a:r>
              <a:rPr lang="ru-RU" dirty="0" err="1" smtClean="0"/>
              <a:t>метапредметных</a:t>
            </a:r>
            <a:r>
              <a:rPr lang="ru-RU" dirty="0" smtClean="0"/>
              <a:t> и личностных результатов начального образования, по освоению основ религиозных культур и светской этики, по новым тенденциям филологического, математического, технологического образования и др.</a:t>
            </a:r>
          </a:p>
          <a:p>
            <a:r>
              <a:rPr lang="ru-RU" dirty="0" smtClean="0"/>
              <a:t>Курсы повышения квалификации учителей, разработанные известными теоретиками и практиками, приглашают широкий круг слушателей, преподающих гуманитарные и естественнонаучные предметы.</a:t>
            </a:r>
          </a:p>
          <a:p>
            <a:r>
              <a:rPr lang="ru-RU" dirty="0" smtClean="0"/>
              <a:t>Мы приглашаем поступить на наши дистанционные курсы повышения квалификации учителей иностранных языков.</a:t>
            </a:r>
          </a:p>
          <a:p>
            <a:r>
              <a:rPr lang="ru-RU" dirty="0" smtClean="0"/>
              <a:t>В нашем Центре можно подать заявки на дистанционные курсы повышения квалификации учителям математики, физики, астрономии, химии и др.</a:t>
            </a:r>
          </a:p>
          <a:p>
            <a:r>
              <a:rPr lang="ru-RU" b="1" dirty="0" smtClean="0"/>
              <a:t>Тематическое поле наших курсов включает широкий спектр вопросов:</a:t>
            </a:r>
            <a:endParaRPr lang="ru-RU" dirty="0" smtClean="0"/>
          </a:p>
          <a:p>
            <a:pPr lvl="0"/>
            <a:r>
              <a:rPr lang="ru-RU" dirty="0" smtClean="0"/>
              <a:t>проектирование </a:t>
            </a:r>
            <a:r>
              <a:rPr lang="ru-RU" dirty="0" err="1" smtClean="0"/>
              <a:t>здоровьесохраняющего</a:t>
            </a:r>
            <a:r>
              <a:rPr lang="ru-RU" dirty="0" smtClean="0"/>
              <a:t> образовательного пространства;</a:t>
            </a:r>
          </a:p>
          <a:p>
            <a:pPr lvl="0"/>
            <a:r>
              <a:rPr lang="ru-RU" dirty="0" smtClean="0"/>
              <a:t>исследовательская и проектная деятельность учеников;</a:t>
            </a:r>
          </a:p>
          <a:p>
            <a:pPr lvl="0"/>
            <a:r>
              <a:rPr lang="ru-RU" dirty="0" smtClean="0"/>
              <a:t>использование активных методов обучения;</a:t>
            </a:r>
          </a:p>
          <a:p>
            <a:pPr lvl="0"/>
            <a:r>
              <a:rPr lang="ru-RU" dirty="0" smtClean="0"/>
              <a:t>технологии подготовки к ОГЭ и ЕГЭ;</a:t>
            </a:r>
          </a:p>
          <a:p>
            <a:pPr lvl="0"/>
            <a:r>
              <a:rPr lang="ru-RU" dirty="0" smtClean="0"/>
              <a:t>реализация </a:t>
            </a:r>
            <a:r>
              <a:rPr lang="ru-RU" dirty="0" err="1" smtClean="0"/>
              <a:t>межпредметных</a:t>
            </a:r>
            <a:r>
              <a:rPr lang="ru-RU" dirty="0" smtClean="0"/>
              <a:t> связей;</a:t>
            </a:r>
          </a:p>
          <a:p>
            <a:pPr lvl="0"/>
            <a:r>
              <a:rPr lang="ru-RU" dirty="0" smtClean="0"/>
              <a:t>мониторинг предметных, </a:t>
            </a:r>
            <a:r>
              <a:rPr lang="ru-RU" dirty="0" err="1" smtClean="0"/>
              <a:t>метапредметных</a:t>
            </a:r>
            <a:r>
              <a:rPr lang="ru-RU" dirty="0" smtClean="0"/>
              <a:t> и личностных достижений обучающихся;</a:t>
            </a:r>
          </a:p>
          <a:p>
            <a:r>
              <a:rPr lang="ru-RU" dirty="0" smtClean="0"/>
              <a:t>Благодаря освоению программ курсов повышения квалификации учителя и другие категории педагогических работников успешно проходят аттестацию на первую и высшую категорию, могут выстраивать индивидуальную траекторию профессионального развития и карьерного роста, достигать вершин профессионализма, быть успешными в любимом деле.</a:t>
            </a:r>
          </a:p>
          <a:p>
            <a:r>
              <a:rPr lang="ru-RU" dirty="0" smtClean="0"/>
              <a:t> </a:t>
            </a:r>
          </a:p>
          <a:p>
            <a:pPr>
              <a:spcBef>
                <a:spcPct val="0"/>
              </a:spcBef>
            </a:pPr>
            <a:endParaRPr lang="ru-RU" dirty="0" smtClean="0">
              <a:solidFill>
                <a:srgbClr val="000000"/>
              </a:solidFill>
              <a:ea typeface="Calibri" pitchFamily="34" charset="0"/>
              <a:cs typeface="Calibri" pitchFamily="34" charset="0"/>
              <a:sym typeface="Calibri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5166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1963" y="1225550"/>
            <a:ext cx="5873750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1946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D4C4760-CF34-474C-9A2E-985D77DF65F3}" type="slidenum">
              <a:rPr lang="ru-RU" altLang="ru-RU"/>
              <a:pPr/>
              <a:t>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1963" y="1225550"/>
            <a:ext cx="5873750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1946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D4C4760-CF34-474C-9A2E-985D77DF65F3}" type="slidenum">
              <a:rPr lang="ru-RU" altLang="ru-RU"/>
              <a:pPr/>
              <a:t>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1963" y="1225550"/>
            <a:ext cx="5873750" cy="33051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1946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D4C4760-CF34-474C-9A2E-985D77DF65F3}" type="slidenum">
              <a:rPr lang="ru-RU" altLang="ru-RU"/>
              <a:pPr/>
              <a:t>8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57330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20848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1300" y="725488"/>
            <a:ext cx="6446838" cy="36258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2098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952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566005" y="667847"/>
            <a:ext cx="337065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7" y="4986282"/>
            <a:ext cx="4749553" cy="528694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77" y="5665804"/>
            <a:ext cx="4768433" cy="360040"/>
          </a:xfrm>
        </p:spPr>
        <p:txBody>
          <a:bodyPr/>
          <a:lstStyle>
            <a:lvl1pPr marL="0" indent="0">
              <a:buNone/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698" y="452130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0"/>
            <a:ext cx="67290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353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B106E36-FD25-4E2D-B0AA-010F637433A0}" type="datetimeFigureOut">
              <a:rPr lang="ru-RU" smtClean="0"/>
              <a:pPr/>
              <a:t>10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13879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185573-D224-4314-B6A3-F24E5020FF1C}" type="datetimeFigureOut">
              <a:rPr lang="ru-RU"/>
              <a:pPr>
                <a:defRPr/>
              </a:pPr>
              <a:t>10.09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928B26B-51EF-4783-A6D6-4F69A3BE065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28091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9275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7334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09794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147482"/>
            <a:ext cx="11520000" cy="4801798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8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8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8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8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8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13682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77550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1998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4908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4100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49580823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544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9456317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 smtClean="0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29440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9159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28497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041366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/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5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049" y="71438"/>
            <a:ext cx="8823287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200" b="1">
                <a:solidFill>
                  <a:srgbClr val="185CA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5449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381000" y="6143626"/>
            <a:ext cx="4191000" cy="5000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0"/>
            <a:ext cx="12192000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61067" y="1214439"/>
            <a:ext cx="8669867" cy="157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3714753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49EAD6-705D-4ABA-B5BF-B3A7BBD787F4}" type="datetimeFigureOut">
              <a:rPr lang="ru-RU"/>
              <a:pPr>
                <a:defRPr/>
              </a:pPr>
              <a:t>10.09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A515B28-8E61-4FFF-A14E-EF4D8FF2940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81294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5857183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7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496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</a:t>
            </a:r>
            <a:r>
              <a:rPr lang="ru-RU" sz="800" baseline="0" dirty="0">
                <a:solidFill>
                  <a:srgbClr val="FFFFFF"/>
                </a:solidFill>
              </a:rPr>
              <a:t>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142272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470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kumimoji="0" lang="ru-RU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/>
              <a:t>‹#›</a:t>
            </a:fld>
            <a:endParaRPr lang="ru-RU" sz="1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865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679" r:id="rId2"/>
    <p:sldLayoutId id="2147483710" r:id="rId3"/>
    <p:sldLayoutId id="2147483717" r:id="rId4"/>
    <p:sldLayoutId id="2147483687" r:id="rId5"/>
    <p:sldLayoutId id="2147483716" r:id="rId6"/>
    <p:sldLayoutId id="2147483711" r:id="rId7"/>
    <p:sldLayoutId id="2147483714" r:id="rId8"/>
    <p:sldLayoutId id="2147483715" r:id="rId9"/>
    <p:sldLayoutId id="2147483719" r:id="rId10"/>
    <p:sldLayoutId id="2147483720" r:id="rId11"/>
    <p:sldLayoutId id="2147483722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+mn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13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3.xml"/><Relationship Id="rId7" Type="http://schemas.openxmlformats.org/officeDocument/2006/relationships/image" Target="../media/image19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hyperlink" Target="consultantplus://offline/ref=023F1AA214D26817B12CB4FA9E7841BF1033FC79494C63860BC92254B20E14627274D6A79B1FFC6EF3559FE3DC9D5B385BBF45BA274E40BBtFUCO" TargetMode="External"/><Relationship Id="rId5" Type="http://schemas.openxmlformats.org/officeDocument/2006/relationships/notesSlide" Target="../notesSlides/notesSlide8.xml"/><Relationship Id="rId10" Type="http://schemas.openxmlformats.org/officeDocument/2006/relationships/hyperlink" Target="consultantplus://offline/ref=023F1AA214D26817B12CB4FA9E7841BF133BFB7F434963860BC92254B20E14627274D6A79B1FFC6EF5559FE3DC9D5B385BBF45BA274E40BBtFUCO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consultantplus://offline/ref=023F1AA214D26817B12CAAF49A7841BF103EF87C404B63860BC92254B20E146260748EAB9A1BE26FF240C9B299tCU1O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25.xml"/><Relationship Id="rId7" Type="http://schemas.openxmlformats.org/officeDocument/2006/relationships/image" Target="../media/image4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27.xml"/><Relationship Id="rId7" Type="http://schemas.openxmlformats.org/officeDocument/2006/relationships/image" Target="../media/image8.emf"/><Relationship Id="rId12" Type="http://schemas.openxmlformats.org/officeDocument/2006/relationships/image" Target="../media/image5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51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29.xml"/><Relationship Id="rId7" Type="http://schemas.openxmlformats.org/officeDocument/2006/relationships/image" Target="../media/image19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31.xml"/><Relationship Id="rId7" Type="http://schemas.openxmlformats.org/officeDocument/2006/relationships/image" Target="../media/image55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58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33.xml"/><Relationship Id="rId7" Type="http://schemas.openxmlformats.org/officeDocument/2006/relationships/image" Target="../media/image55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56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6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35.xml"/><Relationship Id="rId7" Type="http://schemas.openxmlformats.org/officeDocument/2006/relationships/image" Target="../media/image55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3.xml"/><Relationship Id="rId10" Type="http://schemas.openxmlformats.org/officeDocument/2006/relationships/image" Target="../media/image56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12" Type="http://schemas.openxmlformats.org/officeDocument/2006/relationships/image" Target="../media/image67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11" Type="http://schemas.openxmlformats.org/officeDocument/2006/relationships/image" Target="../media/image66.jpe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65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39.xml"/><Relationship Id="rId7" Type="http://schemas.openxmlformats.org/officeDocument/2006/relationships/image" Target="../media/image8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70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69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tags" Target="../tags/tag41.xml"/><Relationship Id="rId7" Type="http://schemas.openxmlformats.org/officeDocument/2006/relationships/image" Target="../media/image19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15.xml"/><Relationship Id="rId7" Type="http://schemas.openxmlformats.org/officeDocument/2006/relationships/image" Target="../media/image1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22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tags" Target="../tags/tag43.xml"/><Relationship Id="rId7" Type="http://schemas.openxmlformats.org/officeDocument/2006/relationships/image" Target="../media/image55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11" Type="http://schemas.openxmlformats.org/officeDocument/2006/relationships/image" Target="../media/image75.png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7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tags" Target="../tags/tag45.xml"/><Relationship Id="rId7" Type="http://schemas.openxmlformats.org/officeDocument/2006/relationships/image" Target="../media/image55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77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7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tags" Target="../tags/tag47.xml"/><Relationship Id="rId7" Type="http://schemas.openxmlformats.org/officeDocument/2006/relationships/image" Target="../media/image55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7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79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tags" Target="../tags/tag49.xml"/><Relationship Id="rId7" Type="http://schemas.openxmlformats.org/officeDocument/2006/relationships/image" Target="../media/image55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20.xml"/><Relationship Id="rId10" Type="http://schemas.openxmlformats.org/officeDocument/2006/relationships/image" Target="../media/image81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8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tags" Target="../tags/tag51.xml"/><Relationship Id="rId7" Type="http://schemas.openxmlformats.org/officeDocument/2006/relationships/image" Target="../media/image55.emf"/><Relationship Id="rId2" Type="http://schemas.openxmlformats.org/officeDocument/2006/relationships/tags" Target="../tags/tag5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8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5.xml"/><Relationship Id="rId7" Type="http://schemas.openxmlformats.org/officeDocument/2006/relationships/image" Target="../media/image8.emf"/><Relationship Id="rId2" Type="http://schemas.openxmlformats.org/officeDocument/2006/relationships/tags" Target="../tags/tag54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84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7.xml"/><Relationship Id="rId7" Type="http://schemas.openxmlformats.org/officeDocument/2006/relationships/image" Target="../media/image19.emf"/><Relationship Id="rId2" Type="http://schemas.openxmlformats.org/officeDocument/2006/relationships/tags" Target="../tags/tag56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eg"/><Relationship Id="rId3" Type="http://schemas.openxmlformats.org/officeDocument/2006/relationships/tags" Target="../tags/tag59.xml"/><Relationship Id="rId7" Type="http://schemas.openxmlformats.org/officeDocument/2006/relationships/image" Target="../media/image19.emf"/><Relationship Id="rId2" Type="http://schemas.openxmlformats.org/officeDocument/2006/relationships/tags" Target="../tags/tag58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88.jpeg"/><Relationship Id="rId5" Type="http://schemas.openxmlformats.org/officeDocument/2006/relationships/notesSlide" Target="../notesSlides/notesSlide24.xml"/><Relationship Id="rId10" Type="http://schemas.openxmlformats.org/officeDocument/2006/relationships/image" Target="../media/image87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86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tags" Target="../tags/tag61.xml"/><Relationship Id="rId7" Type="http://schemas.openxmlformats.org/officeDocument/2006/relationships/image" Target="../media/image19.emf"/><Relationship Id="rId12" Type="http://schemas.openxmlformats.org/officeDocument/2006/relationships/image" Target="../media/image93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11" Type="http://schemas.openxmlformats.org/officeDocument/2006/relationships/image" Target="../media/image92.png"/><Relationship Id="rId5" Type="http://schemas.openxmlformats.org/officeDocument/2006/relationships/notesSlide" Target="../notesSlides/notesSlide25.xml"/><Relationship Id="rId10" Type="http://schemas.openxmlformats.org/officeDocument/2006/relationships/image" Target="../media/image91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9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17.xml"/><Relationship Id="rId7" Type="http://schemas.openxmlformats.org/officeDocument/2006/relationships/image" Target="../media/image19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hyperlink" Target="consultantplus://offline/ref=7424E31B6B8D8C3D1885DB16ABD741EC47AC1315D752174188F7DAE0E3045560D1763AAC5CDB1A294C7D598C8FUBJDO" TargetMode="Externa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tags" Target="../tags/tag63.xml"/><Relationship Id="rId7" Type="http://schemas.openxmlformats.org/officeDocument/2006/relationships/image" Target="../media/image2.emf"/><Relationship Id="rId2" Type="http://schemas.openxmlformats.org/officeDocument/2006/relationships/tags" Target="../tags/tag62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9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3" Type="http://schemas.openxmlformats.org/officeDocument/2006/relationships/tags" Target="../tags/tag65.xml"/><Relationship Id="rId7" Type="http://schemas.openxmlformats.org/officeDocument/2006/relationships/image" Target="../media/image19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27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96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tags" Target="../tags/tag67.xml"/><Relationship Id="rId7" Type="http://schemas.openxmlformats.org/officeDocument/2006/relationships/image" Target="../media/image97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tags" Target="../tags/tag69.xml"/><Relationship Id="rId7" Type="http://schemas.openxmlformats.org/officeDocument/2006/relationships/image" Target="../media/image99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101.png"/><Relationship Id="rId2" Type="http://schemas.openxmlformats.org/officeDocument/2006/relationships/tags" Target="../tags/tag7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tags" Target="../tags/tag73.xml"/><Relationship Id="rId7" Type="http://schemas.openxmlformats.org/officeDocument/2006/relationships/image" Target="../media/image101.png"/><Relationship Id="rId2" Type="http://schemas.openxmlformats.org/officeDocument/2006/relationships/tags" Target="../tags/tag7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103.png"/><Relationship Id="rId2" Type="http://schemas.openxmlformats.org/officeDocument/2006/relationships/tags" Target="../tags/tag7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png"/><Relationship Id="rId2" Type="http://schemas.openxmlformats.org/officeDocument/2006/relationships/tags" Target="../tags/tag7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3.png"/><Relationship Id="rId11" Type="http://schemas.openxmlformats.org/officeDocument/2006/relationships/image" Target="../media/image10.png"/><Relationship Id="rId5" Type="http://schemas.openxmlformats.org/officeDocument/2006/relationships/image" Target="../media/image105.emf"/><Relationship Id="rId10" Type="http://schemas.openxmlformats.org/officeDocument/2006/relationships/image" Target="../media/image106.jpeg"/><Relationship Id="rId4" Type="http://schemas.openxmlformats.org/officeDocument/2006/relationships/oleObject" Target="../embeddings/oleObject43.bin"/><Relationship Id="rId9" Type="http://schemas.openxmlformats.org/officeDocument/2006/relationships/image" Target="../media/image2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107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jpeg"/><Relationship Id="rId3" Type="http://schemas.openxmlformats.org/officeDocument/2006/relationships/tags" Target="../tags/tag80.xml"/><Relationship Id="rId7" Type="http://schemas.openxmlformats.org/officeDocument/2006/relationships/image" Target="../media/image108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10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tags" Target="../tags/tag84.xml"/><Relationship Id="rId7" Type="http://schemas.openxmlformats.org/officeDocument/2006/relationships/image" Target="../media/image111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13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17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15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116.jpe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tags" Target="../tags/tag88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11" Type="http://schemas.openxmlformats.org/officeDocument/2006/relationships/image" Target="../media/image122.emf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21.emf"/><Relationship Id="rId4" Type="http://schemas.openxmlformats.org/officeDocument/2006/relationships/tags" Target="../tags/tag90.xml"/><Relationship Id="rId9" Type="http://schemas.openxmlformats.org/officeDocument/2006/relationships/image" Target="../media/image120.emf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emf"/><Relationship Id="rId13" Type="http://schemas.openxmlformats.org/officeDocument/2006/relationships/image" Target="../media/image128.emf"/><Relationship Id="rId3" Type="http://schemas.openxmlformats.org/officeDocument/2006/relationships/tags" Target="../tags/tag92.xml"/><Relationship Id="rId7" Type="http://schemas.openxmlformats.org/officeDocument/2006/relationships/image" Target="../media/image119.png"/><Relationship Id="rId12" Type="http://schemas.openxmlformats.org/officeDocument/2006/relationships/image" Target="../media/image127.emf"/><Relationship Id="rId2" Type="http://schemas.openxmlformats.org/officeDocument/2006/relationships/tags" Target="../tags/tag9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11" Type="http://schemas.openxmlformats.org/officeDocument/2006/relationships/image" Target="../media/image126.emf"/><Relationship Id="rId5" Type="http://schemas.openxmlformats.org/officeDocument/2006/relationships/oleObject" Target="../embeddings/oleObject51.bin"/><Relationship Id="rId10" Type="http://schemas.openxmlformats.org/officeDocument/2006/relationships/image" Target="../media/image125.emf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24.emf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png"/><Relationship Id="rId3" Type="http://schemas.openxmlformats.org/officeDocument/2006/relationships/tags" Target="../tags/tag94.xml"/><Relationship Id="rId7" Type="http://schemas.openxmlformats.org/officeDocument/2006/relationships/image" Target="../media/image2.emf"/><Relationship Id="rId2" Type="http://schemas.openxmlformats.org/officeDocument/2006/relationships/tags" Target="../tags/tag93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image" Target="../media/image129.png"/><Relationship Id="rId10" Type="http://schemas.openxmlformats.org/officeDocument/2006/relationships/image" Target="../media/image132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31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jpeg"/><Relationship Id="rId3" Type="http://schemas.openxmlformats.org/officeDocument/2006/relationships/tags" Target="../tags/tag96.xml"/><Relationship Id="rId7" Type="http://schemas.openxmlformats.org/officeDocument/2006/relationships/image" Target="../media/image115.emf"/><Relationship Id="rId2" Type="http://schemas.openxmlformats.org/officeDocument/2006/relationships/tags" Target="../tags/tag95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53.bin"/><Relationship Id="rId5" Type="http://schemas.openxmlformats.org/officeDocument/2006/relationships/notesSlide" Target="../notesSlides/notesSlide29.xml"/><Relationship Id="rId10" Type="http://schemas.openxmlformats.org/officeDocument/2006/relationships/image" Target="../media/image135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5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jpeg"/><Relationship Id="rId3" Type="http://schemas.openxmlformats.org/officeDocument/2006/relationships/tags" Target="../tags/tag98.xml"/><Relationship Id="rId7" Type="http://schemas.openxmlformats.org/officeDocument/2006/relationships/image" Target="../media/image115.emf"/><Relationship Id="rId2" Type="http://schemas.openxmlformats.org/officeDocument/2006/relationships/tags" Target="../tags/tag97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notesSlide" Target="../notesSlides/notesSlide30.xml"/><Relationship Id="rId10" Type="http://schemas.openxmlformats.org/officeDocument/2006/relationships/image" Target="../media/image133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37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39.png"/><Relationship Id="rId5" Type="http://schemas.openxmlformats.org/officeDocument/2006/relationships/image" Target="../media/image138.emf"/><Relationship Id="rId4" Type="http://schemas.openxmlformats.org/officeDocument/2006/relationships/oleObject" Target="../embeddings/oleObject55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40.emf"/><Relationship Id="rId5" Type="http://schemas.openxmlformats.org/officeDocument/2006/relationships/image" Target="../media/image138.emf"/><Relationship Id="rId4" Type="http://schemas.openxmlformats.org/officeDocument/2006/relationships/oleObject" Target="../embeddings/oleObject56.bin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2.emf"/><Relationship Id="rId12" Type="http://schemas.openxmlformats.org/officeDocument/2006/relationships/image" Target="../media/image147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41.png"/><Relationship Id="rId11" Type="http://schemas.openxmlformats.org/officeDocument/2006/relationships/image" Target="../media/image146.emf"/><Relationship Id="rId5" Type="http://schemas.openxmlformats.org/officeDocument/2006/relationships/image" Target="../media/image138.emf"/><Relationship Id="rId10" Type="http://schemas.openxmlformats.org/officeDocument/2006/relationships/image" Target="../media/image145.png"/><Relationship Id="rId4" Type="http://schemas.openxmlformats.org/officeDocument/2006/relationships/oleObject" Target="../embeddings/oleObject57.bin"/><Relationship Id="rId9" Type="http://schemas.openxmlformats.org/officeDocument/2006/relationships/image" Target="../media/image144.emf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3.png"/><Relationship Id="rId12" Type="http://schemas.openxmlformats.org/officeDocument/2006/relationships/image" Target="../media/image150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42.emf"/><Relationship Id="rId11" Type="http://schemas.openxmlformats.org/officeDocument/2006/relationships/image" Target="../media/image149.png"/><Relationship Id="rId5" Type="http://schemas.openxmlformats.org/officeDocument/2006/relationships/image" Target="../media/image138.emf"/><Relationship Id="rId10" Type="http://schemas.openxmlformats.org/officeDocument/2006/relationships/image" Target="../media/image148.png"/><Relationship Id="rId4" Type="http://schemas.openxmlformats.org/officeDocument/2006/relationships/oleObject" Target="../embeddings/oleObject58.bin"/><Relationship Id="rId9" Type="http://schemas.openxmlformats.org/officeDocument/2006/relationships/image" Target="../media/image14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05.emf"/><Relationship Id="rId5" Type="http://schemas.openxmlformats.org/officeDocument/2006/relationships/oleObject" Target="../embeddings/oleObject59.bin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1.xml"/><Relationship Id="rId7" Type="http://schemas.openxmlformats.org/officeDocument/2006/relationships/image" Target="../media/image19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Relationship Id="rId9" Type="http://schemas.openxmlformats.org/officeDocument/2006/relationships/hyperlink" Target="consultantplus://offline/ref=7424E31B6B8D8C3D1885DB16ABD741EC47AC1315D752174188F7DAE0E3045560D1763AAC5CDB1A294C7D598C8FUBJDO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2257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8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Заголовок 4"/>
          <p:cNvSpPr>
            <a:spLocks noGrp="1"/>
          </p:cNvSpPr>
          <p:nvPr>
            <p:ph type="ctrTitle"/>
          </p:nvPr>
        </p:nvSpPr>
        <p:spPr>
          <a:xfrm>
            <a:off x="4284134" y="480186"/>
            <a:ext cx="7692713" cy="1556405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2800" dirty="0" smtClean="0">
                <a:latin typeface="+mn-lt"/>
              </a:rPr>
              <a:t>НОВЫЕ УЧЕБНЫЕ ПОСОБИЯ ПО ТЕХНОЛОГИИ КАК СРЕДСТВО РЕАЛИЗАЦИИ КОНЦЕПЦИИ ПРЕПОДАВАНИЯ ТЕХНОЛОГИИ</a:t>
            </a:r>
            <a:r>
              <a:rPr lang="ru-RU" sz="4400" dirty="0" smtClean="0">
                <a:latin typeface="+mn-lt"/>
              </a:rPr>
              <a:t/>
            </a:r>
            <a:br>
              <a:rPr lang="ru-RU" sz="4400" dirty="0" smtClean="0">
                <a:latin typeface="+mn-lt"/>
              </a:rPr>
            </a:br>
            <a:endParaRPr lang="ru-RU" sz="1400" dirty="0">
              <a:latin typeface="+mn-lt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0" y="6611925"/>
            <a:ext cx="12191999" cy="246075"/>
            <a:chOff x="0" y="6617108"/>
            <a:chExt cx="9144000" cy="287867"/>
          </a:xfrm>
          <a:solidFill>
            <a:srgbClr val="2D3494"/>
          </a:solidFill>
        </p:grpSpPr>
        <p:sp>
          <p:nvSpPr>
            <p:cNvPr id="26" name="Rectangle 28"/>
            <p:cNvSpPr>
              <a:spLocks noChangeArrowheads="1"/>
            </p:cNvSpPr>
            <p:nvPr/>
          </p:nvSpPr>
          <p:spPr bwMode="auto">
            <a:xfrm>
              <a:off x="0" y="6617108"/>
              <a:ext cx="9144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57114" y="6680262"/>
              <a:ext cx="3600000" cy="164148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US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 </a:t>
              </a:r>
              <a:r>
                <a:rPr lang="ru-RU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порация «Российский учебник»</a:t>
              </a:r>
            </a:p>
          </p:txBody>
        </p:sp>
      </p:grpSp>
      <p:pic>
        <p:nvPicPr>
          <p:cNvPr id="33" name="Picture 2" descr="1344_100"/>
          <p:cNvPicPr>
            <a:picLocks noGrp="1" noChangeAspect="1" noChangeArrowheads="1"/>
          </p:cNvPicPr>
          <p:nvPr>
            <p:ph type="body" idx="4294967295"/>
          </p:nvPr>
        </p:nvPicPr>
        <p:blipFill>
          <a:blip r:embed="rId7" cstate="print"/>
          <a:srcRect/>
          <a:stretch>
            <a:fillRect/>
          </a:stretch>
        </p:blipFill>
        <p:spPr>
          <a:xfrm>
            <a:off x="10644381" y="4061462"/>
            <a:ext cx="1222310" cy="1630226"/>
          </a:xfr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631623" y="4061463"/>
            <a:ext cx="1218091" cy="1630225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926695" y="4059922"/>
            <a:ext cx="1193146" cy="163330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Picture 4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96822" y="4061362"/>
            <a:ext cx="1173752" cy="1630427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Picture 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447555" y="4061462"/>
            <a:ext cx="1119842" cy="163022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Подзаголовок 6"/>
          <p:cNvSpPr>
            <a:spLocks noGrp="1"/>
          </p:cNvSpPr>
          <p:nvPr>
            <p:ph type="subTitle" idx="1"/>
          </p:nvPr>
        </p:nvSpPr>
        <p:spPr>
          <a:xfrm>
            <a:off x="4347858" y="2386496"/>
            <a:ext cx="6000102" cy="584790"/>
          </a:xfrm>
        </p:spPr>
        <p:txBody>
          <a:bodyPr>
            <a:normAutofit/>
          </a:bodyPr>
          <a:lstStyle/>
          <a:p>
            <a:r>
              <a:rPr lang="ru-RU" dirty="0" err="1"/>
              <a:t>Гилева</a:t>
            </a:r>
            <a:r>
              <a:rPr lang="ru-RU" dirty="0"/>
              <a:t> </a:t>
            </a:r>
            <a:r>
              <a:rPr lang="ru-RU" dirty="0" smtClean="0"/>
              <a:t> Елена </a:t>
            </a:r>
            <a:r>
              <a:rPr lang="ru-RU" dirty="0" smtClean="0"/>
              <a:t>Анатольевна </a:t>
            </a:r>
            <a:r>
              <a:rPr lang="ru-RU" dirty="0" smtClean="0"/>
              <a:t>, </a:t>
            </a:r>
            <a:r>
              <a:rPr lang="ru-RU" dirty="0" err="1" smtClean="0"/>
              <a:t>к.п.н</a:t>
            </a:r>
            <a:r>
              <a:rPr lang="ru-RU" smtClean="0"/>
              <a:t>., методист </a:t>
            </a:r>
            <a:r>
              <a:rPr lang="ru-RU" dirty="0" smtClean="0"/>
              <a:t>по технологии</a:t>
            </a:r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10606281" y="5778034"/>
            <a:ext cx="133246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EB2049"/>
                </a:solidFill>
                <a:cs typeface="Times New Roman" panose="02020603050405020304" pitchFamily="18" charset="0"/>
              </a:rPr>
              <a:t>ФП № 2.2.8.2.2.1</a:t>
            </a:r>
            <a:endParaRPr lang="ru-RU" sz="1200" b="1" dirty="0">
              <a:solidFill>
                <a:srgbClr val="EB2049"/>
              </a:solidFill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299157" y="4061462"/>
            <a:ext cx="1255485" cy="1630226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06050" y="4059750"/>
            <a:ext cx="1257686" cy="1631593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640717" y="4059750"/>
            <a:ext cx="1251434" cy="1631593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2969132" y="4061462"/>
            <a:ext cx="1253044" cy="1630226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7600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358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3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37160" y="1935565"/>
            <a:ext cx="6441440" cy="3077612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5" name="Text Placeholder 1"/>
          <p:cNvSpPr txBox="1">
            <a:spLocks/>
          </p:cNvSpPr>
          <p:nvPr/>
        </p:nvSpPr>
        <p:spPr>
          <a:xfrm>
            <a:off x="227546" y="2099948"/>
            <a:ext cx="6351054" cy="2018220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chemeClr val="tx1"/>
                </a:solidFill>
                <a:latin typeface="+mn-lt"/>
              </a:rPr>
              <a:t>Статья </a:t>
            </a:r>
            <a:r>
              <a:rPr lang="ru-RU" sz="2000" b="1" dirty="0" smtClean="0">
                <a:solidFill>
                  <a:schemeClr val="tx1"/>
                </a:solidFill>
                <a:latin typeface="+mn-lt"/>
              </a:rPr>
              <a:t>35, </a:t>
            </a:r>
            <a:r>
              <a:rPr lang="ru-RU" sz="2000" b="1" dirty="0">
                <a:latin typeface="+mn-lt"/>
              </a:rPr>
              <a:t>пункт </a:t>
            </a:r>
            <a:r>
              <a:rPr lang="ru-RU" sz="2000" b="1" dirty="0" smtClean="0">
                <a:latin typeface="+mn-lt"/>
              </a:rPr>
              <a:t>2</a:t>
            </a:r>
            <a:r>
              <a:rPr lang="ru-RU" sz="2000" b="1" dirty="0" smtClean="0">
                <a:solidFill>
                  <a:schemeClr val="tx1"/>
                </a:solidFill>
                <a:latin typeface="+mn-lt"/>
              </a:rPr>
              <a:t> Федерального Закона </a:t>
            </a:r>
          </a:p>
          <a:p>
            <a:r>
              <a:rPr lang="ru-RU" sz="2000" b="1" dirty="0" smtClean="0">
                <a:solidFill>
                  <a:schemeClr val="tx1"/>
                </a:solidFill>
                <a:latin typeface="+mn-lt"/>
              </a:rPr>
              <a:t>«</a:t>
            </a:r>
            <a:r>
              <a:rPr lang="ru-RU" sz="2000" b="1" dirty="0">
                <a:solidFill>
                  <a:schemeClr val="tx1"/>
                </a:solidFill>
                <a:latin typeface="+mn-lt"/>
              </a:rPr>
              <a:t>Об образовании в Российской Федерации» №</a:t>
            </a:r>
            <a:r>
              <a:rPr lang="en-US" sz="2000" b="1" dirty="0">
                <a:solidFill>
                  <a:schemeClr val="tx1"/>
                </a:solidFill>
                <a:latin typeface="+mn-lt"/>
              </a:rPr>
              <a:t>273-</a:t>
            </a:r>
            <a:r>
              <a:rPr lang="ru-RU" sz="2000" b="1" dirty="0">
                <a:solidFill>
                  <a:schemeClr val="tx1"/>
                </a:solidFill>
                <a:latin typeface="+mn-lt"/>
              </a:rPr>
              <a:t>ФЗ:</a:t>
            </a:r>
          </a:p>
          <a:p>
            <a:r>
              <a:rPr lang="ru-RU" sz="1800" b="1" i="1" dirty="0" smtClean="0">
                <a:solidFill>
                  <a:srgbClr val="2D3494"/>
                </a:solidFill>
                <a:latin typeface="+mn-lt"/>
              </a:rPr>
              <a:t>Обеспечение </a:t>
            </a:r>
            <a:r>
              <a:rPr lang="ru-RU" sz="1800" i="1" dirty="0">
                <a:latin typeface="+mn-lt"/>
              </a:rPr>
              <a:t>учебниками</a:t>
            </a:r>
            <a:r>
              <a:rPr lang="ru-RU" sz="1800" b="1" i="1" dirty="0">
                <a:solidFill>
                  <a:srgbClr val="2D3494"/>
                </a:solidFill>
                <a:latin typeface="+mn-lt"/>
              </a:rPr>
              <a:t> </a:t>
            </a:r>
            <a:r>
              <a:rPr lang="ru-RU" sz="1800" i="1" dirty="0">
                <a:latin typeface="+mn-lt"/>
              </a:rPr>
              <a:t>и</a:t>
            </a:r>
            <a:r>
              <a:rPr lang="ru-RU" sz="1800" b="1" i="1" dirty="0">
                <a:solidFill>
                  <a:srgbClr val="2D3494"/>
                </a:solidFill>
                <a:latin typeface="+mn-lt"/>
              </a:rPr>
              <a:t> учебными пособиями</a:t>
            </a:r>
            <a:r>
              <a:rPr lang="ru-RU" sz="1800" i="1" dirty="0">
                <a:solidFill>
                  <a:srgbClr val="2D3494"/>
                </a:solidFill>
                <a:latin typeface="+mn-lt"/>
              </a:rPr>
              <a:t>… </a:t>
            </a:r>
            <a:r>
              <a:rPr lang="ru-RU" sz="1800" b="1" i="1" dirty="0">
                <a:solidFill>
                  <a:srgbClr val="2D3494"/>
                </a:solidFill>
                <a:latin typeface="+mn-lt"/>
              </a:rPr>
              <a:t>осуществляется за счет бюджетных ассигнований</a:t>
            </a:r>
            <a:r>
              <a:rPr lang="ru-RU" sz="1800" i="1" dirty="0">
                <a:latin typeface="+mn-lt"/>
              </a:rPr>
              <a:t> федерального бюджета, бюджетов субъектов Российской Федерации и местных </a:t>
            </a:r>
            <a:r>
              <a:rPr lang="ru-RU" sz="1800" i="1" dirty="0" smtClean="0">
                <a:latin typeface="+mn-lt"/>
              </a:rPr>
              <a:t>бюджетов.</a:t>
            </a:r>
            <a:endParaRPr lang="ru-RU" sz="1800" i="1" dirty="0">
              <a:latin typeface="+mn-lt"/>
            </a:endParaRPr>
          </a:p>
        </p:txBody>
      </p:sp>
      <p:sp>
        <p:nvSpPr>
          <p:cNvPr id="18" name="Freeform 48"/>
          <p:cNvSpPr>
            <a:spLocks/>
          </p:cNvSpPr>
          <p:nvPr/>
        </p:nvSpPr>
        <p:spPr bwMode="auto">
          <a:xfrm rot="5751609" flipH="1">
            <a:off x="5058706" y="353086"/>
            <a:ext cx="684355" cy="2254043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4" name="Овал 12"/>
          <p:cNvSpPr/>
          <p:nvPr/>
        </p:nvSpPr>
        <p:spPr>
          <a:xfrm>
            <a:off x="227546" y="144390"/>
            <a:ext cx="599305" cy="59930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20" name="Рисунок 1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20053" y="236414"/>
            <a:ext cx="445306" cy="422130"/>
          </a:xfrm>
          <a:prstGeom prst="rect">
            <a:avLst/>
          </a:prstGeom>
        </p:spPr>
      </p:pic>
      <p:sp>
        <p:nvSpPr>
          <p:cNvPr id="26" name="Title 2"/>
          <p:cNvSpPr txBox="1">
            <a:spLocks/>
          </p:cNvSpPr>
          <p:nvPr/>
        </p:nvSpPr>
        <p:spPr>
          <a:xfrm>
            <a:off x="919358" y="31763"/>
            <a:ext cx="10174923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НО МАЛО КТО ЗНАЕТ, ЧТО ЗАКОН ТАКЖЕ РАЗРЕШАЕТ </a:t>
            </a:r>
            <a:r>
              <a:rPr lang="ru-RU" sz="2400" dirty="0">
                <a:latin typeface="+mj-lt"/>
              </a:rPr>
              <a:t>ЗАКУПАТЬ УЧЕБНЫЕ ПОСОБИЯ </a:t>
            </a:r>
            <a:r>
              <a:rPr lang="ru-RU" sz="2400" dirty="0" smtClean="0">
                <a:solidFill>
                  <a:srgbClr val="EB2049"/>
                </a:solidFill>
                <a:latin typeface="+mj-lt"/>
              </a:rPr>
              <a:t>ЗА </a:t>
            </a:r>
            <a:r>
              <a:rPr lang="ru-RU" sz="2400" dirty="0">
                <a:solidFill>
                  <a:srgbClr val="EB2049"/>
                </a:solidFill>
                <a:latin typeface="+mj-lt"/>
              </a:rPr>
              <a:t>БЮДЖЕТНЫЕ </a:t>
            </a:r>
            <a:r>
              <a:rPr lang="ru-RU" sz="2400" dirty="0" smtClean="0">
                <a:solidFill>
                  <a:srgbClr val="EB2049"/>
                </a:solidFill>
                <a:latin typeface="+mj-lt"/>
              </a:rPr>
              <a:t>СРЕДСТВА</a:t>
            </a:r>
            <a:endParaRPr lang="ru-RU" sz="2400" dirty="0">
              <a:solidFill>
                <a:srgbClr val="EB2049"/>
              </a:solidFill>
              <a:latin typeface="+mj-lt"/>
            </a:endParaRPr>
          </a:p>
        </p:txBody>
      </p: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6578600" y="1612760"/>
            <a:ext cx="5397500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4290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Статья 35. Пользование учебниками, учебными пособиями, средствами обучения и воспитания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1. Обучающимся, осваивающим основные образовательные программы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за счет бюджетных ассигнований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федерального бюджета, бюджетов субъектов Российской Федерации и местных бюджетов в пределах федеральных государственных образовательных 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9"/>
              </a:rPr>
              <a:t>стандартов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образовательных стандартов, организациями, осуществляющими образовательную деятельность, 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10"/>
              </a:rPr>
              <a:t>бесплатно предоставляются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в пользование на время получения образования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учебники и учебные пособия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а также учебно-методические материалы, 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11"/>
              </a:rPr>
              <a:t>средства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обучения и воспитания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2. Обеспечение учебниками и учебными пособиями, а также учебно-методическими материалами, средствами обучения и воспитания организаций, осуществляющих образовательную деятельность по основным образовательным программам, в пределах федеральных государственных образовательных стандартов, образовательных стандартов осуществляется за счет бюджетных ассигнований федерального бюджета, бюджетов субъектов Российской Федерации и местных бюджетов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3. Пользование учебниками и учебными пособиями обучающимися, осваивающими учебные предметы, курсы, дисциплины (модули) за пределами федеральных государственных образовательных стандартов, образовательных стандартов и (или) получающими платные образовательные услуги, осуществляется в порядке, установленном организацией, осуществляющей образовательную деятельность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5760" y="5210123"/>
            <a:ext cx="11425645" cy="638732"/>
          </a:xfrm>
          <a:prstGeom prst="rect">
            <a:avLst/>
          </a:prstGeom>
          <a:solidFill>
            <a:schemeClr val="bg1"/>
          </a:solidFill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600" b="1" dirty="0" smtClean="0">
                <a:solidFill>
                  <a:srgbClr val="EB2049"/>
                </a:solidFill>
              </a:rPr>
              <a:t>В соответствии с Приказом </a:t>
            </a:r>
            <a:r>
              <a:rPr lang="ru-RU" sz="1600" b="1" dirty="0" err="1">
                <a:solidFill>
                  <a:srgbClr val="EB2049"/>
                </a:solidFill>
              </a:rPr>
              <a:t>Минобрнауки</a:t>
            </a:r>
            <a:r>
              <a:rPr lang="ru-RU" sz="1600" b="1" dirty="0">
                <a:solidFill>
                  <a:srgbClr val="EB2049"/>
                </a:solidFill>
              </a:rPr>
              <a:t> России от 09.06.2016 </a:t>
            </a:r>
            <a:r>
              <a:rPr lang="ru-RU" sz="1600" b="1" dirty="0" err="1">
                <a:solidFill>
                  <a:srgbClr val="EB2049"/>
                </a:solidFill>
              </a:rPr>
              <a:t>N</a:t>
            </a:r>
            <a:r>
              <a:rPr lang="ru-RU" sz="1600" b="1" dirty="0">
                <a:solidFill>
                  <a:srgbClr val="EB2049"/>
                </a:solidFill>
              </a:rPr>
              <a:t> </a:t>
            </a:r>
            <a:r>
              <a:rPr lang="ru-RU" sz="1600" b="1" dirty="0" smtClean="0">
                <a:solidFill>
                  <a:srgbClr val="EB2049"/>
                </a:solidFill>
              </a:rPr>
              <a:t>699 «Дрофа», «</a:t>
            </a:r>
            <a:r>
              <a:rPr lang="ru-RU" sz="1600" b="1" dirty="0" err="1" smtClean="0">
                <a:solidFill>
                  <a:srgbClr val="EB2049"/>
                </a:solidFill>
              </a:rPr>
              <a:t>Вентана</a:t>
            </a:r>
            <a:r>
              <a:rPr lang="ru-RU" sz="1600" b="1" dirty="0" smtClean="0">
                <a:solidFill>
                  <a:srgbClr val="EB2049"/>
                </a:solidFill>
              </a:rPr>
              <a:t>-граф» и «</a:t>
            </a:r>
            <a:r>
              <a:rPr lang="ru-RU" sz="1600" b="1" dirty="0" err="1" smtClean="0">
                <a:solidFill>
                  <a:srgbClr val="EB2049"/>
                </a:solidFill>
              </a:rPr>
              <a:t>Астрель</a:t>
            </a:r>
            <a:r>
              <a:rPr lang="ru-RU" sz="1600" b="1" dirty="0" smtClean="0">
                <a:solidFill>
                  <a:srgbClr val="EB2049"/>
                </a:solidFill>
              </a:rPr>
              <a:t>» входят в перечень организаций, выпускающих учебные пособия, которые можно использовать в школе и закупать за бюджетные средства.    </a:t>
            </a:r>
          </a:p>
        </p:txBody>
      </p:sp>
    </p:spTree>
    <p:extLst>
      <p:ext uri="{BB962C8B-B14F-4D97-AF65-F5344CB8AC3E}">
        <p14:creationId xmlns:p14="http://schemas.microsoft.com/office/powerpoint/2010/main" val="3681136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627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47889" y="1237992"/>
            <a:ext cx="2673024" cy="3434316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44155" y="1204126"/>
            <a:ext cx="2647286" cy="3434316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ОВЫЕ УЧЕБНЫЕ ПОСОБИЯ ПО ТЕХНОЛОГИИ </a:t>
            </a:r>
            <a:endParaRPr lang="ru-RU" dirty="0"/>
          </a:p>
        </p:txBody>
      </p:sp>
      <p:sp>
        <p:nvSpPr>
          <p:cNvPr id="9" name="Text Placeholder 3"/>
          <p:cNvSpPr txBox="1">
            <a:spLocks/>
          </p:cNvSpPr>
          <p:nvPr/>
        </p:nvSpPr>
        <p:spPr>
          <a:xfrm>
            <a:off x="651039" y="4773908"/>
            <a:ext cx="3003177" cy="1033152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ts val="1400"/>
              </a:lnSpc>
            </a:pPr>
            <a:r>
              <a:rPr lang="ru-RU" sz="1600" dirty="0" smtClean="0"/>
              <a:t>УМК «Технология» 5-9 классы.</a:t>
            </a:r>
          </a:p>
          <a:p>
            <a:pPr algn="ctr">
              <a:lnSpc>
                <a:spcPts val="1400"/>
              </a:lnSpc>
            </a:pPr>
            <a:r>
              <a:rPr lang="ru-RU" sz="1600" dirty="0" smtClean="0"/>
              <a:t> А.Т. Тищенко, Н.В. Синица</a:t>
            </a:r>
          </a:p>
        </p:txBody>
      </p:sp>
      <p:sp>
        <p:nvSpPr>
          <p:cNvPr id="10" name="Text Placeholder 3"/>
          <p:cNvSpPr txBox="1">
            <a:spLocks/>
          </p:cNvSpPr>
          <p:nvPr/>
        </p:nvSpPr>
        <p:spPr>
          <a:xfrm>
            <a:off x="7063190" y="4780549"/>
            <a:ext cx="4453246" cy="1268681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>
              <a:lnSpc>
                <a:spcPts val="1400"/>
              </a:lnSpc>
            </a:pPr>
            <a:r>
              <a:rPr lang="ru-RU" sz="1600" dirty="0" smtClean="0"/>
              <a:t>УМК «Технология» 5-9 классы. </a:t>
            </a:r>
          </a:p>
          <a:p>
            <a:pPr algn="ctr">
              <a:lnSpc>
                <a:spcPts val="1400"/>
              </a:lnSpc>
            </a:pPr>
            <a:r>
              <a:rPr lang="ru-RU" sz="1600" dirty="0" smtClean="0"/>
              <a:t>Е.С. </a:t>
            </a:r>
            <a:r>
              <a:rPr lang="ru-RU" sz="1600" dirty="0" err="1" smtClean="0"/>
              <a:t>Глозман</a:t>
            </a:r>
            <a:r>
              <a:rPr lang="ru-RU" sz="1600" dirty="0" smtClean="0"/>
              <a:t>, О.А. Кожина, </a:t>
            </a:r>
            <a:endParaRPr lang="en-US" sz="1600" dirty="0" smtClean="0"/>
          </a:p>
          <a:p>
            <a:pPr algn="ctr">
              <a:lnSpc>
                <a:spcPts val="1400"/>
              </a:lnSpc>
            </a:pPr>
            <a:r>
              <a:rPr lang="ru-RU" sz="1600" dirty="0" smtClean="0"/>
              <a:t>Ю. Л. </a:t>
            </a:r>
            <a:r>
              <a:rPr lang="ru-RU" sz="1600" dirty="0" err="1" smtClean="0"/>
              <a:t>Хотунцев</a:t>
            </a:r>
            <a:r>
              <a:rPr lang="ru-RU" sz="1600" dirty="0" smtClean="0"/>
              <a:t>  и др.</a:t>
            </a:r>
          </a:p>
        </p:txBody>
      </p:sp>
      <p:sp>
        <p:nvSpPr>
          <p:cNvPr id="11" name="Текст 14"/>
          <p:cNvSpPr txBox="1">
            <a:spLocks/>
          </p:cNvSpPr>
          <p:nvPr/>
        </p:nvSpPr>
        <p:spPr>
          <a:xfrm>
            <a:off x="3714044" y="1465039"/>
            <a:ext cx="3736623" cy="2607619"/>
          </a:xfrm>
          <a:prstGeom prst="rect">
            <a:avLst/>
          </a:prstGeom>
        </p:spPr>
        <p:txBody>
          <a:bodyPr vert="horz" wrap="square" lIns="72000" tIns="72000" rIns="36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В УМК по технологии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входит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учебник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ЭФУ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рабочая </a:t>
            </a:r>
            <a:r>
              <a:rPr lang="ru-RU" sz="2000" b="1" i="1" dirty="0" err="1" smtClean="0">
                <a:cs typeface="Times New Roman" pitchFamily="18" charset="0"/>
              </a:rPr>
              <a:t>п</a:t>
            </a:r>
            <a:r>
              <a:rPr kumimoji="0" lang="ru-RU" sz="2000" b="1" i="1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рограмма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2D3494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методическое пособие для учителей</a:t>
            </a:r>
            <a:r>
              <a:rPr lang="ru-RU" sz="2000" dirty="0" smtClean="0">
                <a:cs typeface="Times New Roman" pitchFamily="18" charset="0"/>
              </a:rPr>
              <a:t>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10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531799"/>
              </p:ext>
            </p:ext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5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90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Times New Roman" panose="02020603050405020304" pitchFamily="18" charset="0"/>
              <a:sym typeface="Calibri" panose="020F0502020204030204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46201" y="1653635"/>
            <a:ext cx="1643232" cy="2500330"/>
          </a:xfrm>
          <a:prstGeom prst="rect">
            <a:avLst/>
          </a:prstGeom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Прямоугольник 12"/>
          <p:cNvSpPr/>
          <p:nvPr/>
        </p:nvSpPr>
        <p:spPr>
          <a:xfrm>
            <a:off x="144339" y="5637629"/>
            <a:ext cx="68367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cs typeface="Times New Roman" pitchFamily="18" charset="0"/>
              </a:rPr>
              <a:t>rosuchebnik.ru/material/tekhnologiya-5-9-klassyrabochaya-programma/</a:t>
            </a:r>
            <a:endParaRPr lang="ru-RU" sz="1600" dirty="0">
              <a:cs typeface="Times New Roman" pitchFamily="18" charset="0"/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3372926" y="4608186"/>
            <a:ext cx="189781" cy="655608"/>
          </a:xfrm>
          <a:prstGeom prst="downArrow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МК «ТЕХНОЛОГИЯ»</a:t>
            </a:r>
            <a:br>
              <a:rPr lang="ru-RU" dirty="0" smtClean="0"/>
            </a:br>
            <a:r>
              <a:rPr lang="ru-RU" dirty="0" smtClean="0">
                <a:cs typeface="Times New Roman" pitchFamily="18" charset="0"/>
              </a:rPr>
              <a:t>ТИЩЕНКО А. Т. , СИНИЦА Н. В.</a:t>
            </a:r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647924" y="3107846"/>
            <a:ext cx="1810859" cy="235136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634981" y="552431"/>
            <a:ext cx="1812514" cy="235136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646543" y="545589"/>
            <a:ext cx="1812514" cy="236311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7632102" y="3089978"/>
            <a:ext cx="1821071" cy="2369237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0908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44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75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484882" y="6155703"/>
            <a:ext cx="4694549" cy="63159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433" y="129440"/>
            <a:ext cx="8415867" cy="648642"/>
          </a:xfrm>
        </p:spPr>
        <p:txBody>
          <a:bodyPr/>
          <a:lstStyle/>
          <a:p>
            <a:r>
              <a:rPr lang="ru-RU" dirty="0" smtClean="0"/>
              <a:t>СОДЕРЖАНИЕ УЧЕБНИКОВ: 5-9 КЛАССЫ</a:t>
            </a:r>
            <a:endParaRPr lang="ru-RU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668000" y="186639"/>
            <a:ext cx="1158060" cy="1527861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32"/>
          <p:cNvPicPr>
            <a:picLocks noChangeAspect="1" noChangeArrowheads="1"/>
          </p:cNvPicPr>
          <p:nvPr/>
        </p:nvPicPr>
        <p:blipFill>
          <a:blip r:embed="rId9" cstate="print"/>
          <a:srcRect l="13479" t="16566" r="12429" b="6175"/>
          <a:stretch>
            <a:fillRect/>
          </a:stretch>
        </p:blipFill>
        <p:spPr bwMode="auto">
          <a:xfrm>
            <a:off x="3380739" y="1103642"/>
            <a:ext cx="6056196" cy="556385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45276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110699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8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</a:t>
            </a:r>
            <a:r>
              <a:rPr lang="ru-RU" dirty="0" smtClean="0"/>
              <a:t>УЧЕБНИКОВ - 5 КЛАСС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0756900" y="186640"/>
            <a:ext cx="1166833" cy="140086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3090" y="1104900"/>
            <a:ext cx="4597346" cy="5244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259" y="1104900"/>
            <a:ext cx="4141171" cy="5244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5944287" y="6349789"/>
            <a:ext cx="266822" cy="38279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404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166479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>
          <a:xfrm>
            <a:off x="1925730" y="1003300"/>
            <a:ext cx="3958639" cy="535882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16104" y="1003300"/>
            <a:ext cx="3990418" cy="535882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</a:t>
            </a:r>
            <a:r>
              <a:rPr lang="ru-RU" dirty="0" smtClean="0"/>
              <a:t>УЧЕБНИКОВ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0820400" y="186640"/>
            <a:ext cx="1206500" cy="150246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1566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78463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4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21164" y="912469"/>
            <a:ext cx="3971386" cy="550346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6041" y="912469"/>
            <a:ext cx="3962945" cy="550346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</a:t>
            </a:r>
            <a:r>
              <a:rPr lang="ru-RU" dirty="0" smtClean="0"/>
              <a:t>УЧЕБНИКОВ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0769600" y="186640"/>
            <a:ext cx="1154133" cy="145166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676342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8305576"/>
              </p:ext>
            </p:ext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90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Times New Roman" panose="02020603050405020304" pitchFamily="18" charset="0"/>
              <a:sym typeface="Calibri" panose="020F0502020204030204" pitchFamily="34" charset="0"/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3467815" y="4982021"/>
            <a:ext cx="189781" cy="655608"/>
          </a:xfrm>
          <a:prstGeom prst="downArrow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ВАРИАТИВНЫЙ МОДУЛЬ</a:t>
            </a:r>
            <a:br>
              <a:rPr lang="ru-RU" dirty="0"/>
            </a:b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«СЕЛЬСКОХОЗЯЙСТВЕННЫЕ ТЕХНОЛОГИИ» </a:t>
            </a:r>
          </a:p>
        </p:txBody>
      </p:sp>
      <p:pic>
        <p:nvPicPr>
          <p:cNvPr id="12" name="Picture 2" descr="F:\04-CEH-2017\16394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8260" y="485523"/>
            <a:ext cx="1809448" cy="2492345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38" t="24150" r="28601" b="22301"/>
          <a:stretch>
            <a:fillRect/>
          </a:stretch>
        </p:blipFill>
        <p:spPr bwMode="auto">
          <a:xfrm>
            <a:off x="9647924" y="485523"/>
            <a:ext cx="1810859" cy="249234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1" descr="E:\USERS\ostahovaoa\Pictures\untitl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135" y="3082252"/>
            <a:ext cx="1849573" cy="242710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0" descr="E:\USERS\ostahovaoa\Pictures\cover1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7924" y="3082253"/>
            <a:ext cx="1810859" cy="242710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763403" y="1108037"/>
            <a:ext cx="30331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002060"/>
                </a:solidFill>
              </a:rPr>
              <a:t>Синица Н.В., Ковальчук Е.М.</a:t>
            </a:r>
            <a:endParaRPr lang="ru-RU" b="1" spc="300" dirty="0">
              <a:solidFill>
                <a:srgbClr val="002060"/>
              </a:solidFill>
            </a:endParaRPr>
          </a:p>
        </p:txBody>
      </p:sp>
      <p:pic>
        <p:nvPicPr>
          <p:cNvPr id="407555" name="Picture 3" descr="C:\Users\Елена\Application Data\Desktop\Безымянный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874" y="1616803"/>
            <a:ext cx="2202946" cy="3132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367645" y="5858462"/>
            <a:ext cx="69569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https://rosuchebnik.ru/material/selskokhozyaystvennye-tekhnologii-5-8-klassy-rabochaya-programma/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22480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2162874"/>
              </p:ext>
            </p:ext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1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90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6" name="ЧТО ОКРУЖАЕТ УЧИТЕЛЯ СЕГОДНЯ?"/>
          <p:cNvSpPr txBox="1"/>
          <p:nvPr/>
        </p:nvSpPr>
        <p:spPr>
          <a:xfrm>
            <a:off x="435935" y="1530378"/>
            <a:ext cx="6701240" cy="15304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Авторы: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</a:t>
            </a:r>
          </a:p>
          <a:p>
            <a:r>
              <a:rPr lang="ru-RU" sz="16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Глозман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Е.С., Кожина О.А., </a:t>
            </a:r>
            <a:r>
              <a:rPr lang="ru-RU" sz="16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Хотунцев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Ю.Л., </a:t>
            </a:r>
            <a:r>
              <a:rPr lang="ru-RU" sz="16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Глозман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А.Е., </a:t>
            </a:r>
            <a:r>
              <a:rPr lang="ru-RU" sz="16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Груненков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А.А., </a:t>
            </a:r>
            <a:r>
              <a:rPr lang="ru-RU" sz="16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Кудакова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Е.Н.,</a:t>
            </a:r>
            <a:r>
              <a:rPr lang="ru-RU" sz="1600" b="1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</a:t>
            </a:r>
            <a:r>
              <a:rPr lang="ru-RU" sz="1600" b="1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Маркуцкая</a:t>
            </a:r>
            <a:r>
              <a:rPr lang="ru-RU" sz="16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С.Э., Новикова Л.Э.</a:t>
            </a:r>
          </a:p>
          <a:p>
            <a:pPr algn="l"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endParaRPr sz="4000" b="1" dirty="0">
              <a:solidFill>
                <a:schemeClr val="tx1">
                  <a:lumMod val="90000"/>
                  <a:lumOff val="10000"/>
                </a:schemeClr>
              </a:solidFill>
              <a:ea typeface="Helvetica Neue Condensed" panose="02000503000000020004" pitchFamily="2" charset="0"/>
              <a:cs typeface="Calibri" panose="020F0502020204030204" pitchFamily="34" charset="0"/>
              <a:sym typeface="HeliosCompressed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99564" y="5462005"/>
            <a:ext cx="75443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cs typeface="Times New Roman" pitchFamily="18" charset="0"/>
              </a:rPr>
              <a:t>rosuchebnik.ru/material/tekhnologiya-5-9-klassy-rabochaya-programma</a:t>
            </a:r>
            <a:r>
              <a:rPr lang="en-US" sz="1600" dirty="0" smtClean="0">
                <a:cs typeface="Times New Roman" pitchFamily="18" charset="0"/>
              </a:rPr>
              <a:t>/</a:t>
            </a:r>
            <a:endParaRPr lang="ru-RU" sz="1600" dirty="0">
              <a:cs typeface="Times New Roman" pitchFamily="18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60257" y="329609"/>
            <a:ext cx="1951576" cy="250928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704906" y="329609"/>
            <a:ext cx="1890891" cy="252466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67181" y="2952021"/>
            <a:ext cx="1944652" cy="250998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704906" y="2952021"/>
            <a:ext cx="1890891" cy="2509984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Стрелка вниз 10"/>
          <p:cNvSpPr/>
          <p:nvPr/>
        </p:nvSpPr>
        <p:spPr>
          <a:xfrm>
            <a:off x="3881137" y="4029940"/>
            <a:ext cx="181155" cy="1052423"/>
          </a:xfrm>
          <a:prstGeom prst="downArrow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117036" y="3231917"/>
            <a:ext cx="37093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РАБОЧАЯ ПРОГРАММА</a:t>
            </a:r>
            <a:endParaRPr lang="ru-RU" sz="2000" dirty="0">
              <a:solidFill>
                <a:schemeClr val="tx1">
                  <a:lumMod val="90000"/>
                  <a:lumOff val="10000"/>
                </a:schemeClr>
              </a:solidFill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МК «ТЕХНОЛОГИЯ»</a:t>
            </a:r>
            <a:br>
              <a:rPr lang="ru-RU" dirty="0" smtClean="0"/>
            </a:br>
            <a:r>
              <a:rPr lang="ru-RU" dirty="0" smtClean="0"/>
              <a:t>5-9 КЛАСС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074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9402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43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484882" y="6155703"/>
            <a:ext cx="4694549" cy="63159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 cstate="print"/>
          <a:srcRect l="23271" t="16542" r="21999" b="5499"/>
          <a:stretch>
            <a:fillRect/>
          </a:stretch>
        </p:blipFill>
        <p:spPr>
          <a:xfrm>
            <a:off x="6007100" y="419100"/>
            <a:ext cx="6057900" cy="6112779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Прямоугольник 14"/>
          <p:cNvSpPr/>
          <p:nvPr/>
        </p:nvSpPr>
        <p:spPr>
          <a:xfrm flipH="1">
            <a:off x="172439" y="1307402"/>
            <a:ext cx="5731175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cs typeface="Times New Roman" pitchFamily="18" charset="0"/>
              </a:rPr>
              <a:t>Авторы УМК предлагают два варианта реализации содержания технологического образования. </a:t>
            </a:r>
          </a:p>
          <a:p>
            <a:endParaRPr lang="ru-RU" dirty="0" smtClean="0">
              <a:cs typeface="Times New Roman" pitchFamily="18" charset="0"/>
            </a:endParaRPr>
          </a:p>
          <a:p>
            <a:r>
              <a:rPr lang="ru-RU" dirty="0" smtClean="0">
                <a:cs typeface="Times New Roman" pitchFamily="18" charset="0"/>
              </a:rPr>
              <a:t>- </a:t>
            </a:r>
            <a:r>
              <a:rPr lang="ru-RU" b="1" dirty="0" smtClean="0">
                <a:solidFill>
                  <a:srgbClr val="2D3494"/>
                </a:solidFill>
                <a:cs typeface="Times New Roman" pitchFamily="18" charset="0"/>
              </a:rPr>
              <a:t>Вариант А</a:t>
            </a:r>
            <a:r>
              <a:rPr lang="ru-RU" dirty="0" smtClean="0">
                <a:cs typeface="Times New Roman" pitchFamily="18" charset="0"/>
              </a:rPr>
              <a:t> направлен на более подробное изучение техно­логии получения и преобразования древесины и искусствен­ных древесных материалов, технологии получения и преобразования металлов и искусственных материалов, технологии художественной обработки древесины, электротехники и авто­матики. </a:t>
            </a:r>
          </a:p>
          <a:p>
            <a:endParaRPr lang="ru-RU" dirty="0" smtClean="0">
              <a:cs typeface="Times New Roman" pitchFamily="18" charset="0"/>
            </a:endParaRPr>
          </a:p>
          <a:p>
            <a:r>
              <a:rPr lang="ru-RU" dirty="0" smtClean="0">
                <a:cs typeface="Times New Roman" pitchFamily="18" charset="0"/>
              </a:rPr>
              <a:t>- </a:t>
            </a:r>
            <a:r>
              <a:rPr lang="ru-RU" b="1" dirty="0" smtClean="0">
                <a:solidFill>
                  <a:srgbClr val="2D3494"/>
                </a:solidFill>
                <a:cs typeface="Times New Roman" pitchFamily="18" charset="0"/>
              </a:rPr>
              <a:t>Вариант Б</a:t>
            </a:r>
            <a:r>
              <a:rPr lang="ru-RU" dirty="0" smtClean="0">
                <a:solidFill>
                  <a:srgbClr val="2D3494"/>
                </a:solidFill>
                <a:cs typeface="Times New Roman" pitchFamily="18" charset="0"/>
              </a:rPr>
              <a:t> </a:t>
            </a:r>
            <a:r>
              <a:rPr lang="ru-RU" dirty="0" smtClean="0">
                <a:cs typeface="Times New Roman" pitchFamily="18" charset="0"/>
              </a:rPr>
              <a:t>нацелен на более подробное изучение технологии получения и преобразования текстильных материалов, тех­нологии художественной обработки ткани, виды рукоделия (вязание спицами и крючком, валяние и макраме).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 УЧЕБНИКОВ: 5-9 КЛАСС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9001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814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02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b="1" dirty="0" err="1" smtClean="0">
              <a:solidFill>
                <a:schemeClr val="bg1"/>
              </a:solidFill>
              <a:latin typeface="Calibri" panose="020F0502020204030204" pitchFamily="34" charset="0"/>
              <a:cs typeface="Times New Roman" panose="02020603050405020304" pitchFamily="18" charset="0"/>
              <a:sym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124450"/>
            <a:ext cx="12192000" cy="100965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1800" dirty="0" smtClean="0">
                <a:latin typeface="+mn-lt"/>
                <a:cs typeface="Times New Roman" panose="02020603050405020304" pitchFamily="18" charset="0"/>
              </a:rPr>
              <a:t>КОНЦЕПЦИЯ ПРЕПОДАВАНИЯ ПРЕДМЕТНОЙ ОБЛАСТИ «ТЕХНОЛОГИЯ» В ОБЩЕОБРАЗОВАТЕЛЬНЫХ ОРГАНИЗАЦИЯХ РОССИЙСКОЙ ФЕДЕРАЦИИ, РЕАЛИЗУЮЩИХ ОСНОВНЫЕ ОБЩЕОБРАЗОВАТЕЛЬНЫЕ ПРОГРАММЫ</a:t>
            </a:r>
            <a:r>
              <a:rPr lang="ru-RU" sz="2000" dirty="0" smtClean="0">
                <a:latin typeface="+mn-lt"/>
                <a:cs typeface="Times New Roman" panose="02020603050405020304" pitchFamily="18" charset="0"/>
              </a:rPr>
              <a:t/>
            </a:r>
            <a:br>
              <a:rPr lang="ru-RU" sz="2000" dirty="0" smtClean="0">
                <a:latin typeface="+mn-lt"/>
                <a:cs typeface="Times New Roman" panose="02020603050405020304" pitchFamily="18" charset="0"/>
              </a:rPr>
            </a:br>
            <a:endParaRPr lang="ru-RU" sz="1800" dirty="0">
              <a:latin typeface="+mn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0" y="5213776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Настоящая Концепция представляет собой систему взглядов на основные проблемы, базовые принципы, цели, задачи и направления развития предметной области «Технология» как важнейшего элемента овладением компетенциями, навыками XXI века, в рамках освоения основных общеобразовательных программ в образовательных организациях.</a:t>
            </a:r>
            <a:endParaRPr lang="ru-RU" sz="16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8" name="Pentagon 5"/>
          <p:cNvSpPr/>
          <p:nvPr/>
        </p:nvSpPr>
        <p:spPr>
          <a:xfrm>
            <a:off x="2701612" y="1382920"/>
            <a:ext cx="9394283" cy="1238250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6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Технологическое образование является необходимым компонентом общего образования, предоставляя обучающимся возможность применять на практике знания основ наук, осваивать общие принципы и конкретные навыки преобразующей деятельности человека, различные формы информационной и материальной культуры, а также создания новых продуктов и услуг. </a:t>
            </a:r>
          </a:p>
        </p:txBody>
      </p:sp>
      <p:sp>
        <p:nvSpPr>
          <p:cNvPr id="20" name="Pentagon 7"/>
          <p:cNvSpPr/>
          <p:nvPr/>
        </p:nvSpPr>
        <p:spPr>
          <a:xfrm>
            <a:off x="2701613" y="2706629"/>
            <a:ext cx="9310496" cy="742951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6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Целью Концепции является создание условий для формирования технологической грамотности и компетенций обучающихся, необходимых для перехода к новым приоритетам научно-технологического развития Российской Федерации.</a:t>
            </a:r>
            <a:endParaRPr lang="ru-RU" sz="160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1" name="Pentagon 7"/>
          <p:cNvSpPr/>
          <p:nvPr/>
        </p:nvSpPr>
        <p:spPr>
          <a:xfrm>
            <a:off x="2701613" y="3755086"/>
            <a:ext cx="9310496" cy="1104900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6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В рамках освоения предметной области «Технология» происходит приобретение базовых навыков работы с современным технологичным оборудованием, освоение современных технологий, знакомство с миром профессий, самоопределение и ориентация обучающихся на деятельность в различных социальных сферах;</a:t>
            </a:r>
            <a:r>
              <a:rPr lang="en-US" sz="16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обеспечивается преемственность перехода обучающихся от общего образования к среднему профессиональному, высшему образованию </a:t>
            </a:r>
            <a:r>
              <a:rPr lang="ru-RU" sz="1600" b="1" dirty="0" smtClean="0">
                <a:cs typeface="Times New Roman" panose="02020603050405020304" pitchFamily="18" charset="0"/>
              </a:rPr>
              <a:t>и трудовой деятельности. </a:t>
            </a:r>
            <a:endParaRPr lang="ru-RU" sz="1600" b="1" dirty="0">
              <a:cs typeface="Times New Roman" panose="02020603050405020304" pitchFamily="18" charset="0"/>
            </a:endParaRPr>
          </a:p>
        </p:txBody>
      </p:sp>
      <p:pic>
        <p:nvPicPr>
          <p:cNvPr id="17" name="Picture 7" descr="C:\Users\Elena\Desktop\мир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2277" y="1442762"/>
            <a:ext cx="1258923" cy="1064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" descr="http://zexler.ru/sites/default/files/image/blog-komandy/udalenie-negativnyh-otzyvov-ne-panaceya-zapusk-laviny-negativa/namingl.png"/>
          <p:cNvPicPr/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4" t="4045" r="7209" b="10756"/>
          <a:stretch/>
        </p:blipFill>
        <p:spPr bwMode="auto">
          <a:xfrm>
            <a:off x="722277" y="4008258"/>
            <a:ext cx="1258923" cy="66443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5" name="Рисунок 4119" descr="https://image.slidesharecdn.com/leanincartoon-150426070518-conversion-gate02/95/-1-638.jpg?cb=143003204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9" t="23466" r="1199" b="2399"/>
          <a:stretch>
            <a:fillRect/>
          </a:stretch>
        </p:blipFill>
        <p:spPr bwMode="auto">
          <a:xfrm>
            <a:off x="722277" y="2706629"/>
            <a:ext cx="1258923" cy="849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3"/>
          <p:cNvSpPr txBox="1">
            <a:spLocks/>
          </p:cNvSpPr>
          <p:nvPr/>
        </p:nvSpPr>
        <p:spPr>
          <a:xfrm>
            <a:off x="334433" y="1053364"/>
            <a:ext cx="11426316" cy="3849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ru-RU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Times New Roman" panose="02020603050405020304" pitchFamily="18" charset="0"/>
              </a:rPr>
              <a:t>(</a:t>
            </a:r>
            <a:r>
              <a:rPr lang="ru-RU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Times New Roman" panose="02020603050405020304" pitchFamily="18" charset="0"/>
              </a:rPr>
              <a:t>Утверждена Министерством Просвещения Р</a:t>
            </a:r>
            <a:r>
              <a:rPr lang="ru-RU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Times New Roman" panose="02020603050405020304" pitchFamily="18" charset="0"/>
              </a:rPr>
              <a:t>Ф</a:t>
            </a:r>
            <a:r>
              <a:rPr lang="ru-RU" sz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Times New Roman" panose="02020603050405020304" pitchFamily="18" charset="0"/>
              </a:rPr>
              <a:t> 24.12.2018 г.)  </a:t>
            </a:r>
            <a:endParaRPr lang="ru-RU" sz="180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2717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0790409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433" y="129440"/>
            <a:ext cx="9088967" cy="648642"/>
          </a:xfrm>
        </p:spPr>
        <p:txBody>
          <a:bodyPr/>
          <a:lstStyle/>
          <a:p>
            <a:r>
              <a:rPr lang="ru-RU" dirty="0" smtClean="0"/>
              <a:t>УМК ПО ТЕХНОЛОГИИ - 5 КЛАСС</a:t>
            </a:r>
            <a:endParaRPr lang="ru-RU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105262" y="0"/>
            <a:ext cx="941131" cy="121008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85056" name="Picture 32"/>
          <p:cNvPicPr>
            <a:picLocks noChangeAspect="1" noChangeArrowheads="1"/>
          </p:cNvPicPr>
          <p:nvPr/>
        </p:nvPicPr>
        <p:blipFill>
          <a:blip r:embed="rId9" cstate="print"/>
          <a:srcRect l="8341"/>
          <a:stretch>
            <a:fillRect/>
          </a:stretch>
        </p:blipFill>
        <p:spPr bwMode="auto">
          <a:xfrm>
            <a:off x="511399" y="1350010"/>
            <a:ext cx="3799300" cy="488061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pic>
        <p:nvPicPr>
          <p:cNvPr id="385057" name="Picture 33"/>
          <p:cNvPicPr>
            <a:picLocks noChangeAspect="1" noChangeArrowheads="1"/>
          </p:cNvPicPr>
          <p:nvPr/>
        </p:nvPicPr>
        <p:blipFill>
          <a:blip r:embed="rId10" cstate="print"/>
          <a:srcRect r="14096"/>
          <a:stretch>
            <a:fillRect/>
          </a:stretch>
        </p:blipFill>
        <p:spPr bwMode="auto">
          <a:xfrm>
            <a:off x="4310699" y="1328420"/>
            <a:ext cx="3730941" cy="49022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pic>
        <p:nvPicPr>
          <p:cNvPr id="385058" name="Picture 34"/>
          <p:cNvPicPr>
            <a:picLocks noChangeAspect="1" noChangeArrowheads="1"/>
          </p:cNvPicPr>
          <p:nvPr/>
        </p:nvPicPr>
        <p:blipFill>
          <a:blip r:embed="rId11" cstate="print"/>
          <a:srcRect l="6912"/>
          <a:stretch>
            <a:fillRect/>
          </a:stretch>
        </p:blipFill>
        <p:spPr bwMode="auto">
          <a:xfrm>
            <a:off x="8041640" y="1328420"/>
            <a:ext cx="3828305" cy="49022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18054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252298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</a:t>
            </a:r>
            <a:r>
              <a:rPr lang="ru-RU" dirty="0" smtClean="0"/>
              <a:t>УЧЕБНИКОВ</a:t>
            </a:r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990962" y="186640"/>
            <a:ext cx="1086738" cy="135006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31900" y="1196034"/>
            <a:ext cx="4539573" cy="511866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496" y="1191696"/>
            <a:ext cx="4377904" cy="511866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1735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4228122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1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8" cstate="print"/>
          <a:srcRect l="29297" t="10254" r="29688" b="23828"/>
          <a:stretch>
            <a:fillRect/>
          </a:stretch>
        </p:blipFill>
        <p:spPr bwMode="auto">
          <a:xfrm>
            <a:off x="1333501" y="1200372"/>
            <a:ext cx="4437972" cy="5131647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3" descr="F:\22-AB-2017\170045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15496" y="1200372"/>
            <a:ext cx="4365204" cy="510999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</a:t>
            </a:r>
            <a:r>
              <a:rPr lang="ru-RU" dirty="0" smtClean="0"/>
              <a:t>УЧЕБНИКОВ</a:t>
            </a:r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990962" y="186640"/>
            <a:ext cx="1112138" cy="138816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59738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392403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</a:t>
            </a:r>
            <a:r>
              <a:rPr lang="ru-RU" dirty="0" smtClean="0"/>
              <a:t>УЧЕБНИКОВ</a:t>
            </a:r>
            <a:endParaRPr lang="ru-RU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990962" y="186640"/>
            <a:ext cx="1099438" cy="136276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9" cstate="print"/>
          <a:srcRect l="29883" t="10254" r="29688" b="23828"/>
          <a:stretch>
            <a:fillRect/>
          </a:stretch>
        </p:blipFill>
        <p:spPr bwMode="auto">
          <a:xfrm>
            <a:off x="1168401" y="1171332"/>
            <a:ext cx="4603072" cy="516068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10" cstate="print"/>
          <a:srcRect l="29477" t="9920" r="29709" b="23691"/>
          <a:stretch>
            <a:fillRect/>
          </a:stretch>
        </p:blipFill>
        <p:spPr bwMode="auto">
          <a:xfrm>
            <a:off x="6315496" y="1200373"/>
            <a:ext cx="4428704" cy="5109992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28945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231045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1" y="0"/>
            <a:ext cx="119063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8" cstate="print"/>
          <a:srcRect t="3914" b="1969"/>
          <a:stretch>
            <a:fillRect/>
          </a:stretch>
        </p:blipFill>
        <p:spPr bwMode="auto">
          <a:xfrm>
            <a:off x="499533" y="1145398"/>
            <a:ext cx="4843304" cy="554750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Прямоугольник 11"/>
          <p:cNvSpPr/>
          <p:nvPr/>
        </p:nvSpPr>
        <p:spPr>
          <a:xfrm>
            <a:off x="5562600" y="5209231"/>
            <a:ext cx="63372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rosuchebnik.ru/material/tekhnologiya-6-klass-metodicheskoe-posobie-2/</a:t>
            </a:r>
            <a:endParaRPr lang="ru-RU" sz="1600" dirty="0"/>
          </a:p>
        </p:txBody>
      </p:sp>
      <p:sp>
        <p:nvSpPr>
          <p:cNvPr id="8" name="Стрелка вниз 7"/>
          <p:cNvSpPr/>
          <p:nvPr/>
        </p:nvSpPr>
        <p:spPr>
          <a:xfrm>
            <a:off x="8535683" y="3837434"/>
            <a:ext cx="172528" cy="940280"/>
          </a:xfrm>
          <a:prstGeom prst="downArrow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ЕТОДИЧЕСКОЕ ПОСОБИЕ «ТЕХНОЛОГИЯ. 6 КЛАСС». </a:t>
            </a:r>
            <a:br>
              <a:rPr lang="ru-RU" dirty="0" smtClean="0"/>
            </a:br>
            <a:r>
              <a:rPr lang="ru-RU" dirty="0" smtClean="0"/>
              <a:t>АВТОРЫ ГЛОЗМАН Е.С., КУДАКОВА Е.Н. </a:t>
            </a:r>
            <a:endParaRPr lang="ru-RU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416801" y="965200"/>
            <a:ext cx="2311400" cy="26670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08957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7379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Подзаголовок 6"/>
          <p:cNvSpPr>
            <a:spLocks noGrp="1"/>
          </p:cNvSpPr>
          <p:nvPr>
            <p:ph type="subTitle" idx="4294967295"/>
          </p:nvPr>
        </p:nvSpPr>
        <p:spPr>
          <a:xfrm>
            <a:off x="5033433" y="908127"/>
            <a:ext cx="5156200" cy="585788"/>
          </a:xfrm>
        </p:spPr>
        <p:txBody>
          <a:bodyPr/>
          <a:lstStyle/>
          <a:p>
            <a:pPr marL="0" indent="0">
              <a:buNone/>
            </a:pPr>
            <a:r>
              <a:rPr lang="ru-RU" sz="2000" b="1" dirty="0" smtClean="0"/>
              <a:t>Предметная область «Технология»   </a:t>
            </a:r>
            <a:endParaRPr lang="ru-RU" sz="2000" b="1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294967295"/>
          </p:nvPr>
        </p:nvSpPr>
        <p:spPr>
          <a:xfrm>
            <a:off x="309033" y="1454180"/>
            <a:ext cx="11514667" cy="4481740"/>
          </a:xfrm>
        </p:spPr>
        <p:txBody>
          <a:bodyPr/>
          <a:lstStyle/>
          <a:p>
            <a:pPr marL="0" indent="0">
              <a:spcBef>
                <a:spcPts val="1200"/>
              </a:spcBef>
              <a:buNone/>
            </a:pPr>
            <a:r>
              <a:rPr lang="ru-RU" i="1" dirty="0"/>
              <a:t>П</a:t>
            </a:r>
            <a:r>
              <a:rPr lang="ru-RU" i="1" dirty="0" smtClean="0"/>
              <a:t>ланируемые </a:t>
            </a:r>
            <a:r>
              <a:rPr lang="ru-RU" i="1" dirty="0"/>
              <a:t>результаты освоения </a:t>
            </a:r>
            <a:r>
              <a:rPr lang="ru-RU" i="1" dirty="0" smtClean="0"/>
              <a:t>технологической подготовки обучающихся в основной школе  отражают :</a:t>
            </a:r>
          </a:p>
          <a:p>
            <a:pPr lvl="0">
              <a:spcBef>
                <a:spcPts val="1200"/>
              </a:spcBef>
            </a:pPr>
            <a:r>
              <a:rPr lang="ru-RU" sz="1600" dirty="0" smtClean="0"/>
              <a:t>овладение </a:t>
            </a:r>
            <a:r>
              <a:rPr lang="ru-RU" sz="1600" dirty="0"/>
              <a:t>средствами и формами графического отображения объектов </a:t>
            </a:r>
            <a:r>
              <a:rPr lang="ru-RU" sz="1600" dirty="0" smtClean="0"/>
              <a:t>или </a:t>
            </a:r>
            <a:r>
              <a:rPr lang="ru-RU" sz="1600" dirty="0"/>
              <a:t>процессов, </a:t>
            </a:r>
            <a:r>
              <a:rPr lang="ru-RU" sz="1600" dirty="0" smtClean="0"/>
              <a:t>правилами </a:t>
            </a:r>
            <a:r>
              <a:rPr lang="ru-RU" sz="1600" dirty="0"/>
              <a:t>выполнения графической документации; </a:t>
            </a:r>
          </a:p>
          <a:p>
            <a:pPr lvl="1">
              <a:spcBef>
                <a:spcPts val="1200"/>
              </a:spcBef>
            </a:pPr>
            <a:r>
              <a:rPr lang="ru-RU" sz="1600" dirty="0" smtClean="0"/>
              <a:t>   умение </a:t>
            </a:r>
            <a:r>
              <a:rPr lang="ru-RU" sz="1600" dirty="0"/>
              <a:t>описывать технологическое решение с помощью текста, </a:t>
            </a:r>
            <a:r>
              <a:rPr lang="ru-RU" sz="1600" dirty="0" smtClean="0"/>
              <a:t>рисунков,</a:t>
            </a:r>
          </a:p>
          <a:p>
            <a:pPr lvl="1">
              <a:spcBef>
                <a:spcPts val="1200"/>
              </a:spcBef>
              <a:buClr>
                <a:schemeClr val="bg2"/>
              </a:buClr>
              <a:buNone/>
            </a:pPr>
            <a:r>
              <a:rPr lang="ru-RU" sz="1600" dirty="0" smtClean="0"/>
              <a:t>       графического  изображения</a:t>
            </a:r>
            <a:r>
              <a:rPr lang="ru-RU" sz="1600" dirty="0"/>
              <a:t>;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ru-RU" i="1" dirty="0" smtClean="0"/>
              <a:t>Обеспечивают формирование познавательных УУД:</a:t>
            </a:r>
          </a:p>
          <a:p>
            <a:pPr>
              <a:spcBef>
                <a:spcPts val="1200"/>
              </a:spcBef>
            </a:pPr>
            <a:r>
              <a:rPr lang="ru-RU" sz="1600" dirty="0" smtClean="0"/>
              <a:t>умение </a:t>
            </a:r>
            <a:r>
              <a:rPr lang="ru-RU" sz="1600" dirty="0"/>
              <a:t>создавать, применять и преобразовывать знаки и символы, модели и схемы </a:t>
            </a:r>
            <a:endParaRPr lang="ru-RU" sz="1600" dirty="0" smtClean="0"/>
          </a:p>
          <a:p>
            <a:pPr>
              <a:spcBef>
                <a:spcPts val="1200"/>
              </a:spcBef>
            </a:pPr>
            <a:r>
              <a:rPr lang="ru-RU" sz="1600" dirty="0" smtClean="0"/>
              <a:t>для </a:t>
            </a:r>
            <a:r>
              <a:rPr lang="ru-RU" sz="1600" dirty="0"/>
              <a:t>решения учебных и познавательных </a:t>
            </a:r>
            <a:r>
              <a:rPr lang="ru-RU" sz="1600" dirty="0" smtClean="0"/>
              <a:t>задач;</a:t>
            </a:r>
          </a:p>
          <a:p>
            <a:pPr lvl="0">
              <a:spcBef>
                <a:spcPts val="1200"/>
              </a:spcBef>
            </a:pPr>
            <a:r>
              <a:rPr lang="ru-RU" sz="1600" dirty="0"/>
              <a:t>переводить сложную по составу (многоаспектную) информацию из графического или формализованного (символьного) представления в текстовое, и </a:t>
            </a:r>
            <a:r>
              <a:rPr lang="ru-RU" sz="1600" dirty="0" smtClean="0"/>
              <a:t>наоборот</a:t>
            </a:r>
            <a:endParaRPr lang="ru-RU" sz="1600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МК «ЧЕРЧЕНИЕ»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0602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498297"/>
              </p:ext>
            </p:ext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90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2" descr="1344_10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>
          <a:xfrm>
            <a:off x="6021073" y="1358036"/>
            <a:ext cx="2725947" cy="3623095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>
            <a:off x="5953339" y="5599289"/>
            <a:ext cx="2725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EB2049"/>
                </a:solidFill>
                <a:cs typeface="Times New Roman" panose="02020603050405020304" pitchFamily="18" charset="0"/>
              </a:rPr>
              <a:t>ФП № 2.2.8.2.2.1</a:t>
            </a:r>
            <a:endParaRPr lang="ru-RU" sz="2400" b="1" dirty="0">
              <a:solidFill>
                <a:srgbClr val="EB2049"/>
              </a:solidFill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032363" y="5031303"/>
            <a:ext cx="27259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реображенская Н.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Г.</a:t>
            </a:r>
          </a:p>
          <a:p>
            <a:pPr algn="ctr"/>
            <a:r>
              <a:rPr lang="ru-RU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Кодукова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И.</a:t>
            </a: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В.</a:t>
            </a:r>
            <a:endParaRPr lang="ru-RU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МК «ЧЕРЧЕНИЕ»</a:t>
            </a:r>
            <a:endParaRPr lang="ru-RU" dirty="0"/>
          </a:p>
        </p:txBody>
      </p:sp>
      <p:pic>
        <p:nvPicPr>
          <p:cNvPr id="9" name="Picture 4" descr="http://www.ast.ru/upload/iblock/726/726fa0eccb8cdeef81f822743c63d86c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365603" y="1263107"/>
            <a:ext cx="2540352" cy="37538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Прямоугольник 10"/>
          <p:cNvSpPr/>
          <p:nvPr/>
        </p:nvSpPr>
        <p:spPr>
          <a:xfrm>
            <a:off x="146756" y="5145136"/>
            <a:ext cx="466231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cs typeface="Times New Roman" pitchFamily="18" charset="0"/>
              </a:rPr>
              <a:t>Ботвинников</a:t>
            </a:r>
            <a:r>
              <a:rPr lang="en-US" dirty="0" smtClean="0">
                <a:cs typeface="Times New Roman" pitchFamily="18" charset="0"/>
              </a:rPr>
              <a:t> </a:t>
            </a:r>
            <a:r>
              <a:rPr lang="ru-RU" dirty="0" smtClean="0">
                <a:cs typeface="Times New Roman" pitchFamily="18" charset="0"/>
              </a:rPr>
              <a:t>А.Д. , Виноградов</a:t>
            </a:r>
            <a:r>
              <a:rPr lang="en-US" dirty="0" smtClean="0">
                <a:cs typeface="Times New Roman" pitchFamily="18" charset="0"/>
              </a:rPr>
              <a:t> </a:t>
            </a:r>
            <a:r>
              <a:rPr lang="ru-RU" dirty="0" smtClean="0">
                <a:cs typeface="Times New Roman" pitchFamily="18" charset="0"/>
              </a:rPr>
              <a:t>В.Н.,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err="1" smtClean="0">
                <a:cs typeface="Times New Roman" pitchFamily="18" charset="0"/>
              </a:rPr>
              <a:t>Вышнепольский</a:t>
            </a:r>
            <a:r>
              <a:rPr lang="en-US" dirty="0" smtClean="0">
                <a:cs typeface="Times New Roman" pitchFamily="18" charset="0"/>
              </a:rPr>
              <a:t> </a:t>
            </a:r>
            <a:r>
              <a:rPr lang="ru-RU" dirty="0" smtClean="0">
                <a:cs typeface="Times New Roman" pitchFamily="18" charset="0"/>
              </a:rPr>
              <a:t>И.С. </a:t>
            </a:r>
          </a:p>
          <a:p>
            <a:pPr algn="ctr"/>
            <a:r>
              <a:rPr lang="ru-RU" sz="2400" b="1" dirty="0" smtClean="0">
                <a:solidFill>
                  <a:srgbClr val="FC0652"/>
                </a:solidFill>
              </a:rPr>
              <a:t>ФП № </a:t>
            </a:r>
            <a:r>
              <a:rPr lang="ru-RU" sz="2400" b="1" dirty="0" smtClean="0">
                <a:solidFill>
                  <a:srgbClr val="EB2049"/>
                </a:solidFill>
                <a:cs typeface="Times New Roman" panose="02020603050405020304" pitchFamily="18" charset="0"/>
              </a:rPr>
              <a:t>2.2.8.2.</a:t>
            </a:r>
            <a:r>
              <a:rPr lang="en-US" sz="2400" b="1" dirty="0" smtClean="0">
                <a:solidFill>
                  <a:srgbClr val="EB2049"/>
                </a:solidFill>
                <a:cs typeface="Times New Roman" panose="02020603050405020304" pitchFamily="18" charset="0"/>
              </a:rPr>
              <a:t>1</a:t>
            </a:r>
            <a:r>
              <a:rPr lang="ru-RU" sz="2400" b="1" dirty="0" smtClean="0">
                <a:solidFill>
                  <a:srgbClr val="EB2049"/>
                </a:solidFill>
                <a:cs typeface="Times New Roman" panose="02020603050405020304" pitchFamily="18" charset="0"/>
              </a:rPr>
              <a:t>.1</a:t>
            </a:r>
          </a:p>
        </p:txBody>
      </p:sp>
    </p:spTree>
    <p:extLst>
      <p:ext uri="{BB962C8B-B14F-4D97-AF65-F5344CB8AC3E}">
        <p14:creationId xmlns:p14="http://schemas.microsoft.com/office/powerpoint/2010/main" val="190855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219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57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УКТУРА УМК ПО ЧЕРЧЕНИЮ</a:t>
            </a:r>
            <a:br>
              <a:rPr lang="ru-RU" dirty="0" smtClean="0"/>
            </a:br>
            <a:r>
              <a:rPr lang="ru-RU" dirty="0" smtClean="0"/>
              <a:t>9 КЛАСС</a:t>
            </a:r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4294967295"/>
          </p:nvPr>
        </p:nvSpPr>
        <p:spPr>
          <a:xfrm>
            <a:off x="370428" y="1442461"/>
            <a:ext cx="7627938" cy="22998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fontAlgn="auto">
              <a:spcBef>
                <a:spcPts val="1200"/>
              </a:spcBef>
              <a:spcAft>
                <a:spcPts val="0"/>
              </a:spcAft>
              <a:buNone/>
              <a:defRPr/>
            </a:pPr>
            <a:r>
              <a:rPr lang="ru-RU" sz="2000" b="1" dirty="0">
                <a:cs typeface="Times New Roman" pitchFamily="18" charset="0"/>
              </a:rPr>
              <a:t>В УМК по черчению для 9 класса входит:</a:t>
            </a:r>
          </a:p>
          <a:p>
            <a:pPr fontAlgn="auto">
              <a:spcBef>
                <a:spcPts val="1200"/>
              </a:spcBef>
              <a:spcAft>
                <a:spcPts val="0"/>
              </a:spcAft>
              <a:defRPr/>
            </a:pPr>
            <a:r>
              <a:rPr lang="ru-RU" sz="2000" b="1" i="1" dirty="0" smtClean="0">
                <a:cs typeface="Times New Roman" pitchFamily="18" charset="0"/>
              </a:rPr>
              <a:t>учебник</a:t>
            </a:r>
            <a:r>
              <a:rPr lang="ru-RU" sz="2000" b="1" i="1" dirty="0">
                <a:cs typeface="Times New Roman" pitchFamily="18" charset="0"/>
              </a:rPr>
              <a:t>;</a:t>
            </a:r>
          </a:p>
          <a:p>
            <a:pPr fontAlgn="auto">
              <a:spcBef>
                <a:spcPts val="1200"/>
              </a:spcBef>
              <a:spcAft>
                <a:spcPts val="0"/>
              </a:spcAft>
              <a:defRPr/>
            </a:pPr>
            <a:r>
              <a:rPr lang="ru-RU" sz="2000" b="1" i="1" dirty="0" smtClean="0">
                <a:cs typeface="Times New Roman" pitchFamily="18" charset="0"/>
              </a:rPr>
              <a:t>ЭФУ</a:t>
            </a:r>
            <a:endParaRPr lang="ru-RU" sz="2000" b="1" i="1" dirty="0">
              <a:cs typeface="Times New Roman" pitchFamily="18" charset="0"/>
            </a:endParaRPr>
          </a:p>
          <a:p>
            <a:pPr fontAlgn="auto">
              <a:spcBef>
                <a:spcPts val="1200"/>
              </a:spcBef>
              <a:spcAft>
                <a:spcPts val="0"/>
              </a:spcAft>
              <a:defRPr/>
            </a:pPr>
            <a:r>
              <a:rPr lang="ru-RU" sz="2000" b="1" i="1" dirty="0" smtClean="0">
                <a:cs typeface="Times New Roman" pitchFamily="18" charset="0"/>
              </a:rPr>
              <a:t>9 рабочих тетрадей</a:t>
            </a:r>
            <a:endParaRPr lang="ru-RU" sz="2000" b="1" i="1" dirty="0">
              <a:cs typeface="Times New Roman" pitchFamily="18" charset="0"/>
            </a:endParaRPr>
          </a:p>
          <a:p>
            <a:pPr fontAlgn="auto">
              <a:spcBef>
                <a:spcPts val="1200"/>
              </a:spcBef>
              <a:spcAft>
                <a:spcPts val="0"/>
              </a:spcAft>
              <a:defRPr/>
            </a:pPr>
            <a:r>
              <a:rPr lang="ru-RU" sz="2000" b="1" i="1" dirty="0" smtClean="0">
                <a:cs typeface="Times New Roman" pitchFamily="18" charset="0"/>
              </a:rPr>
              <a:t>методическое </a:t>
            </a:r>
            <a:r>
              <a:rPr lang="ru-RU" sz="2000" b="1" i="1" dirty="0">
                <a:cs typeface="Times New Roman" pitchFamily="18" charset="0"/>
              </a:rPr>
              <a:t>пособие для учителей</a:t>
            </a:r>
            <a:r>
              <a:rPr lang="ru-RU" sz="2000" dirty="0" smtClean="0">
                <a:cs typeface="Times New Roman" pitchFamily="18" charset="0"/>
              </a:rPr>
              <a:t>:</a:t>
            </a:r>
            <a:endParaRPr lang="ru-RU" sz="2000" dirty="0">
              <a:cs typeface="Times New Roman" pitchFamily="18" charset="0"/>
            </a:endParaRPr>
          </a:p>
        </p:txBody>
      </p:sp>
      <p:pic>
        <p:nvPicPr>
          <p:cNvPr id="12" name="Picture 2" descr="1344_10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>
          <a:xfrm>
            <a:off x="8941483" y="988337"/>
            <a:ext cx="2412742" cy="3374007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Прямоугольник 16"/>
          <p:cNvSpPr/>
          <p:nvPr/>
        </p:nvSpPr>
        <p:spPr>
          <a:xfrm>
            <a:off x="9128183" y="5090597"/>
            <a:ext cx="203934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EB2049"/>
                </a:solidFill>
                <a:cs typeface="Times New Roman" panose="02020603050405020304" pitchFamily="18" charset="0"/>
              </a:rPr>
              <a:t>ФП № 2.2.8.2.2.1</a:t>
            </a:r>
            <a:endParaRPr lang="ru-RU" sz="2000" b="1" dirty="0">
              <a:solidFill>
                <a:srgbClr val="EB2049"/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941483" y="4403135"/>
            <a:ext cx="2412742" cy="72765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реображенская 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Н.Г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. </a:t>
            </a:r>
            <a:endParaRPr lang="en-US" sz="1600" dirty="0" smtClean="0">
              <a:solidFill>
                <a:schemeClr val="tx1">
                  <a:lumMod val="90000"/>
                  <a:lumOff val="10000"/>
                </a:schemeClr>
              </a:solidFill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Кодукова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И.В.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cs typeface="Times New Roman" pitchFamily="18" charset="0"/>
            </a:endParaRPr>
          </a:p>
        </p:txBody>
      </p:sp>
      <p:sp>
        <p:nvSpPr>
          <p:cNvPr id="20" name="Текст 14"/>
          <p:cNvSpPr txBox="1">
            <a:spLocks/>
          </p:cNvSpPr>
          <p:nvPr/>
        </p:nvSpPr>
        <p:spPr>
          <a:xfrm>
            <a:off x="477795" y="3742303"/>
            <a:ext cx="7809389" cy="1376513"/>
          </a:xfrm>
          <a:prstGeom prst="rect">
            <a:avLst/>
          </a:prstGeom>
        </p:spPr>
        <p:txBody>
          <a:bodyPr vert="horz" wrap="square" lIns="72000" tIns="72000" rIns="36000" bIns="72000" rtlCol="0">
            <a:spAutoFit/>
          </a:bodyPr>
          <a:lstStyle>
            <a:lvl1pPr marL="285750" indent="-28575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ru-RU" sz="1600" dirty="0" smtClean="0">
                <a:cs typeface="Times New Roman" pitchFamily="18" charset="0"/>
              </a:rPr>
              <a:t>- рабочая программа по предмету;</a:t>
            </a:r>
            <a:r>
              <a:rPr lang="en-US" sz="1600" dirty="0" smtClean="0">
                <a:cs typeface="Times New Roman" pitchFamily="18" charset="0"/>
              </a:rPr>
              <a:t> </a:t>
            </a:r>
          </a:p>
          <a:p>
            <a:pPr marL="0" indent="0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ru-RU" sz="1600" dirty="0" smtClean="0">
                <a:cs typeface="Times New Roman" pitchFamily="18" charset="0"/>
              </a:rPr>
              <a:t>- тематическое и поурочное планирование по курсу;</a:t>
            </a:r>
            <a:r>
              <a:rPr lang="en-US" sz="1600" dirty="0" smtClean="0">
                <a:cs typeface="Times New Roman" pitchFamily="18" charset="0"/>
              </a:rPr>
              <a:t> </a:t>
            </a:r>
          </a:p>
          <a:p>
            <a:pPr marL="0" indent="0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ru-RU" sz="1600" dirty="0" smtClean="0">
                <a:cs typeface="Times New Roman" pitchFamily="18" charset="0"/>
              </a:rPr>
              <a:t>- дополнительные упражнения, чертежи, схемы,</a:t>
            </a:r>
            <a:r>
              <a:rPr lang="en-US" sz="1600" dirty="0" smtClean="0">
                <a:cs typeface="Times New Roman" pitchFamily="18" charset="0"/>
              </a:rPr>
              <a:t> </a:t>
            </a:r>
            <a:r>
              <a:rPr lang="ru-RU" sz="1600" dirty="0" smtClean="0">
                <a:cs typeface="Times New Roman" pitchFamily="18" charset="0"/>
              </a:rPr>
              <a:t>ссылки на</a:t>
            </a:r>
            <a:r>
              <a:rPr lang="en-US" sz="1600" dirty="0" smtClean="0">
                <a:cs typeface="Times New Roman" pitchFamily="18" charset="0"/>
              </a:rPr>
              <a:t> </a:t>
            </a:r>
            <a:r>
              <a:rPr lang="ru-RU" sz="1600" dirty="0" smtClean="0">
                <a:cs typeface="Times New Roman" pitchFamily="18" charset="0"/>
              </a:rPr>
              <a:t>использование электронного приложения;</a:t>
            </a:r>
            <a:r>
              <a:rPr lang="en-US" sz="1600" dirty="0" smtClean="0">
                <a:cs typeface="Times New Roman" pitchFamily="18" charset="0"/>
              </a:rPr>
              <a:t> </a:t>
            </a:r>
          </a:p>
          <a:p>
            <a:pPr marL="0" indent="0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ru-RU" sz="1600" dirty="0" smtClean="0">
                <a:cs typeface="Times New Roman" pitchFamily="18" charset="0"/>
              </a:rPr>
              <a:t>- подробное изучение компьютерной графики на примере программы Компас – 3</a:t>
            </a:r>
            <a:r>
              <a:rPr lang="en-US" sz="1600" dirty="0" smtClean="0">
                <a:cs typeface="Times New Roman" pitchFamily="18" charset="0"/>
              </a:rPr>
              <a:t>D</a:t>
            </a:r>
            <a:r>
              <a:rPr lang="ru-RU" sz="1600" dirty="0" smtClean="0">
                <a:cs typeface="Times New Roman" pitchFamily="18" charset="0"/>
              </a:rPr>
              <a:t>.</a:t>
            </a:r>
            <a:endParaRPr lang="ru-RU" sz="160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4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1958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07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Times New Roman" panose="02020603050405020304" pitchFamily="18" charset="0"/>
              <a:sym typeface="Calibri" panose="020F0502020204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4236" y="1158341"/>
            <a:ext cx="296487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ru-RU" altLang="ru-RU" sz="1400" b="1" dirty="0">
                <a:solidFill>
                  <a:srgbClr val="2D3494"/>
                </a:solidFill>
                <a:cs typeface="Times New Roman" pitchFamily="18" charset="0"/>
              </a:rPr>
              <a:t>ТЕТРАДЬ</a:t>
            </a:r>
            <a:r>
              <a:rPr lang="ru-RU" altLang="ru-RU" sz="1400" b="1" i="1" dirty="0">
                <a:solidFill>
                  <a:srgbClr val="2D3494"/>
                </a:solidFill>
                <a:cs typeface="Times New Roman" pitchFamily="18" charset="0"/>
              </a:rPr>
              <a:t> </a:t>
            </a:r>
            <a:r>
              <a:rPr lang="ru-RU" altLang="ru-RU" sz="1400" b="1" dirty="0">
                <a:solidFill>
                  <a:srgbClr val="2D3494"/>
                </a:solidFill>
                <a:cs typeface="Times New Roman" pitchFamily="18" charset="0"/>
              </a:rPr>
              <a:t>№1 </a:t>
            </a:r>
            <a:endParaRPr lang="en-US" altLang="ru-RU" sz="1400" b="1" dirty="0" smtClean="0">
              <a:solidFill>
                <a:srgbClr val="2D3494"/>
              </a:solidFill>
              <a:cs typeface="Times New Roman" pitchFamily="18" charset="0"/>
            </a:endParaRPr>
          </a:p>
          <a:p>
            <a:pPr>
              <a:spcBef>
                <a:spcPct val="0"/>
              </a:spcBef>
            </a:pP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содержит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материал </a:t>
            </a:r>
            <a:endParaRPr lang="ru-RU" altLang="ru-RU" sz="1400" dirty="0" smtClean="0">
              <a:solidFill>
                <a:schemeClr val="tx1">
                  <a:lumMod val="90000"/>
                  <a:lumOff val="10000"/>
                </a:schemeClr>
              </a:solidFill>
              <a:cs typeface="Times New Roman" pitchFamily="18" charset="0"/>
            </a:endParaRPr>
          </a:p>
          <a:p>
            <a:pPr>
              <a:spcBef>
                <a:spcPct val="0"/>
              </a:spcBef>
            </a:pP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о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анализу геометрической формы объемных предметов, алгоритму построения чертежа плоской детали, нанесению размеров и правилам обводки чертежа.</a:t>
            </a:r>
          </a:p>
        </p:txBody>
      </p:sp>
      <p:sp>
        <p:nvSpPr>
          <p:cNvPr id="12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 smtClean="0">
                <a:latin typeface="+mn-lt"/>
                <a:cs typeface="Times New Roman" pitchFamily="18" charset="0"/>
              </a:rPr>
              <a:t>ЧЕРЧЕНИЕ. РАБОЧИЕ ТЕТРАДИ</a:t>
            </a:r>
            <a:endParaRPr lang="ru-RU" sz="2400" dirty="0">
              <a:latin typeface="+mn-lt"/>
              <a:cs typeface="Times New Roman" pitchFamily="18" charset="0"/>
            </a:endParaRPr>
          </a:p>
        </p:txBody>
      </p:sp>
      <p:pic>
        <p:nvPicPr>
          <p:cNvPr id="23" name="Picture 3" descr="438_[112]-10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43179" y="3317591"/>
            <a:ext cx="1972276" cy="257694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3061856" y="1158341"/>
            <a:ext cx="305828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07F09"/>
              </a:buClr>
              <a:buSzPct val="80000"/>
            </a:pPr>
            <a:r>
              <a:rPr lang="ru-RU" altLang="ru-RU" sz="1400" b="1" dirty="0" smtClean="0">
                <a:solidFill>
                  <a:srgbClr val="2D3494"/>
                </a:solidFill>
                <a:cs typeface="Times New Roman" pitchFamily="18" charset="0"/>
              </a:rPr>
              <a:t>ТЕТРАДЬ №</a:t>
            </a:r>
            <a:r>
              <a:rPr lang="ru-RU" altLang="ru-RU" sz="1400" b="1" dirty="0">
                <a:solidFill>
                  <a:srgbClr val="2D3494"/>
                </a:solidFill>
                <a:cs typeface="Times New Roman" pitchFamily="18" charset="0"/>
              </a:rPr>
              <a:t>2 </a:t>
            </a:r>
            <a:endParaRPr lang="en-US" altLang="ru-RU" sz="1400" b="1" dirty="0" smtClean="0">
              <a:solidFill>
                <a:srgbClr val="2D3494"/>
              </a:solidFill>
              <a:cs typeface="Times New Roman" pitchFamily="18" charset="0"/>
            </a:endParaRPr>
          </a:p>
          <a:p>
            <a:pPr>
              <a:buClr>
                <a:srgbClr val="F07F09"/>
              </a:buClr>
              <a:buSzPct val="80000"/>
            </a:pP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оможет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овладеть графическими умениями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в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роцессе изучения приемов построения чертежей "плоской" несимметричной детали, содержащей сопряжения, и деления окружностей на равные части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237838" y="1158341"/>
            <a:ext cx="359929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b="1" dirty="0" smtClean="0">
                <a:solidFill>
                  <a:srgbClr val="2D3494"/>
                </a:solidFill>
                <a:cs typeface="Times New Roman" pitchFamily="18" charset="0"/>
              </a:rPr>
              <a:t>ТЕТРАДЬ </a:t>
            </a:r>
            <a:r>
              <a:rPr lang="ru-RU" altLang="ru-RU" sz="1400" b="1" dirty="0">
                <a:solidFill>
                  <a:srgbClr val="2D3494"/>
                </a:solidFill>
                <a:cs typeface="Times New Roman" pitchFamily="18" charset="0"/>
              </a:rPr>
              <a:t>№3</a:t>
            </a:r>
            <a:r>
              <a:rPr lang="ru-RU" altLang="ru-RU" sz="1400" dirty="0">
                <a:solidFill>
                  <a:srgbClr val="2D3494"/>
                </a:solidFill>
                <a:cs typeface="Times New Roman" pitchFamily="18" charset="0"/>
              </a:rPr>
              <a:t> </a:t>
            </a:r>
            <a:endParaRPr lang="en-US" altLang="ru-RU" sz="1400" dirty="0" smtClean="0">
              <a:solidFill>
                <a:srgbClr val="2D3494"/>
              </a:solidFill>
              <a:cs typeface="Times New Roman" pitchFamily="18" charset="0"/>
            </a:endParaRPr>
          </a:p>
          <a:p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озволяет овладеть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умениями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остроения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комплексных чертежей по алгоритму,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научиться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строить по двум видам детали третий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вид, 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решать задачи по исправлению ошибок в чертежах, а также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освоить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риемы контроля и самоконтроля за качеством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риобретенных графических знаний и умений.</a:t>
            </a:r>
            <a:endParaRPr lang="ru-RU" altLang="ru-RU" sz="1400" dirty="0">
              <a:solidFill>
                <a:schemeClr val="tx1">
                  <a:lumMod val="90000"/>
                  <a:lumOff val="10000"/>
                </a:schemeClr>
              </a:solidFill>
              <a:cs typeface="Times New Roman" pitchFamily="18" charset="0"/>
            </a:endParaRPr>
          </a:p>
        </p:txBody>
      </p:sp>
      <p:pic>
        <p:nvPicPr>
          <p:cNvPr id="24" name="Picture 3" descr="333_10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19104" y="3286932"/>
            <a:ext cx="1972276" cy="263826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Picture 3" descr="332_10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405501" y="3312176"/>
            <a:ext cx="1972276" cy="258777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Picture 3" descr="340_10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881014" y="3292345"/>
            <a:ext cx="1972276" cy="262743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9837137" y="1158341"/>
            <a:ext cx="205047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07F09"/>
              </a:buClr>
              <a:buSzPct val="80000"/>
            </a:pPr>
            <a:r>
              <a:rPr lang="ru-RU" altLang="ru-RU" sz="1400" b="1" dirty="0">
                <a:solidFill>
                  <a:srgbClr val="2D3494"/>
                </a:solidFill>
                <a:cs typeface="Times New Roman" pitchFamily="18" charset="0"/>
              </a:rPr>
              <a:t>ТЕТРАДЬ №4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редусматривает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изучение </a:t>
            </a:r>
            <a:r>
              <a:rPr lang="ru-RU" altLang="ru-RU" sz="1400" dirty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процесса образования сечений, их выполнение и обозначение на чертежах.</a:t>
            </a:r>
          </a:p>
        </p:txBody>
      </p:sp>
    </p:spTree>
    <p:extLst>
      <p:ext uri="{BB962C8B-B14F-4D97-AF65-F5344CB8AC3E}">
        <p14:creationId xmlns:p14="http://schemas.microsoft.com/office/powerpoint/2010/main" val="3472656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855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30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060936"/>
            <a:ext cx="12192000" cy="784291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41315" y="5129917"/>
            <a:ext cx="116741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cs typeface="Calibri" panose="020F0502020204030204" pitchFamily="34" charset="0"/>
              </a:rPr>
              <a:t>Использование рабочих тетрадей на уроках черчения позволяет обеспечивать 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  <a:cs typeface="Calibri" panose="020F0502020204030204" pitchFamily="34" charset="0"/>
              </a:rPr>
              <a:t>индивидуально-дифференцированный подход в обучении</a:t>
            </a:r>
            <a:endParaRPr lang="ru-RU" b="1" dirty="0">
              <a:solidFill>
                <a:schemeClr val="bg1"/>
              </a:solidFill>
              <a:cs typeface="Calibri" panose="020F0502020204030204" pitchFamily="34" charset="0"/>
              <a:sym typeface="Helios-Cond-Light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25177" y="1376734"/>
            <a:ext cx="1748680" cy="2353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Rectangle 2"/>
          <p:cNvSpPr txBox="1">
            <a:spLocks/>
          </p:cNvSpPr>
          <p:nvPr/>
        </p:nvSpPr>
        <p:spPr bwMode="auto">
          <a:xfrm>
            <a:off x="526210" y="3929879"/>
            <a:ext cx="1647647" cy="477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altLang="ru-RU" sz="1400" b="1" u="none" strike="noStrike" kern="1200" cap="none" spc="0" normalizeH="0" baseline="0" noProof="0" dirty="0" smtClean="0">
                <a:ln>
                  <a:noFill/>
                </a:ln>
                <a:solidFill>
                  <a:srgbClr val="2D3494"/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ТЕТРАДЬ №5</a:t>
            </a:r>
            <a:r>
              <a:rPr kumimoji="0" lang="ru-RU" altLang="ru-RU" sz="140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. Сечения.  </a:t>
            </a:r>
          </a:p>
        </p:txBody>
      </p: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840236" y="1376735"/>
            <a:ext cx="1714512" cy="2353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tangle 2"/>
          <p:cNvSpPr txBox="1">
            <a:spLocks/>
          </p:cNvSpPr>
          <p:nvPr/>
        </p:nvSpPr>
        <p:spPr bwMode="auto">
          <a:xfrm>
            <a:off x="2903706" y="3972218"/>
            <a:ext cx="1587571" cy="47755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t"/>
          <a:lstStyle/>
          <a:p>
            <a:pPr>
              <a:lnSpc>
                <a:spcPct val="90000"/>
              </a:lnSpc>
              <a:buClr>
                <a:srgbClr val="F07F09"/>
              </a:buClr>
              <a:buSzPct val="80000"/>
            </a:pPr>
            <a:r>
              <a:rPr lang="ru-RU" altLang="ru-RU" sz="1400" b="1" dirty="0">
                <a:solidFill>
                  <a:srgbClr val="2D3494"/>
                </a:solidFill>
                <a:cs typeface="Times New Roman" pitchFamily="18" charset="0"/>
              </a:rPr>
              <a:t>ТЕТРАДЬ </a:t>
            </a:r>
            <a:r>
              <a:rPr lang="ru-RU" altLang="ru-RU" sz="1400" b="1" dirty="0" smtClean="0">
                <a:solidFill>
                  <a:srgbClr val="2D3494"/>
                </a:solidFill>
                <a:cs typeface="Times New Roman" pitchFamily="18" charset="0"/>
              </a:rPr>
              <a:t>№6</a:t>
            </a:r>
            <a:r>
              <a:rPr lang="ru-RU" alt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.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Разрезы</a:t>
            </a:r>
            <a:endParaRPr lang="ru-RU" altLang="ru-RU" sz="1400" dirty="0">
              <a:solidFill>
                <a:schemeClr val="tx1">
                  <a:lumMod val="90000"/>
                  <a:lumOff val="10000"/>
                </a:schemeClr>
              </a:solidFill>
              <a:cs typeface="Times New Roman" pitchFamily="18" charset="0"/>
            </a:endParaRPr>
          </a:p>
        </p:txBody>
      </p:sp>
      <p:pic>
        <p:nvPicPr>
          <p:cNvPr id="28" name="Picture 4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221127" y="1376734"/>
            <a:ext cx="1714512" cy="2353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Rectangle 2"/>
          <p:cNvSpPr txBox="1">
            <a:spLocks/>
          </p:cNvSpPr>
          <p:nvPr/>
        </p:nvSpPr>
        <p:spPr bwMode="auto">
          <a:xfrm>
            <a:off x="5133846" y="3929879"/>
            <a:ext cx="1988965" cy="632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>
              <a:lnSpc>
                <a:spcPct val="90000"/>
              </a:lnSpc>
            </a:pPr>
            <a:r>
              <a:rPr lang="ru-RU" altLang="ru-RU" sz="1400" b="1" dirty="0" smtClean="0">
                <a:solidFill>
                  <a:srgbClr val="2D3494"/>
                </a:solidFill>
                <a:cs typeface="Times New Roman" pitchFamily="18" charset="0"/>
              </a:rPr>
              <a:t>ТЕТРАДЬ №7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. Чертежи типовых деталей </a:t>
            </a:r>
            <a:endParaRPr lang="ru-RU" altLang="ru-RU" sz="1400" dirty="0">
              <a:solidFill>
                <a:schemeClr val="tx1">
                  <a:lumMod val="90000"/>
                  <a:lumOff val="10000"/>
                </a:schemeClr>
              </a:solidFill>
              <a:cs typeface="Times New Roman" pitchFamily="18" charset="0"/>
            </a:endParaRPr>
          </a:p>
        </p:txBody>
      </p:sp>
      <p:pic>
        <p:nvPicPr>
          <p:cNvPr id="31" name="Picture 5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602018" y="1376734"/>
            <a:ext cx="1714512" cy="2353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2" name="Rectangle 2"/>
          <p:cNvSpPr txBox="1">
            <a:spLocks/>
          </p:cNvSpPr>
          <p:nvPr/>
        </p:nvSpPr>
        <p:spPr bwMode="auto">
          <a:xfrm>
            <a:off x="7612947" y="3969491"/>
            <a:ext cx="2272146" cy="7683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t"/>
          <a:lstStyle/>
          <a:p>
            <a:pPr>
              <a:lnSpc>
                <a:spcPct val="90000"/>
              </a:lnSpc>
              <a:buClr>
                <a:srgbClr val="F07F09"/>
              </a:buClr>
              <a:buSzPct val="80000"/>
            </a:pPr>
            <a:r>
              <a:rPr lang="ru-RU" altLang="ru-RU" sz="1400" b="1" dirty="0">
                <a:solidFill>
                  <a:srgbClr val="2D3494"/>
                </a:solidFill>
                <a:cs typeface="Times New Roman" pitchFamily="18" charset="0"/>
              </a:rPr>
              <a:t>ТЕТРАДЬ </a:t>
            </a:r>
            <a:r>
              <a:rPr lang="ru-RU" altLang="ru-RU" sz="1400" b="1" dirty="0" smtClean="0">
                <a:solidFill>
                  <a:srgbClr val="2D3494"/>
                </a:solidFill>
                <a:cs typeface="Times New Roman" pitchFamily="18" charset="0"/>
              </a:rPr>
              <a:t>№8</a:t>
            </a:r>
            <a:r>
              <a:rPr lang="ru-RU" alt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.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Чтение </a:t>
            </a:r>
          </a:p>
          <a:p>
            <a:pPr>
              <a:lnSpc>
                <a:spcPct val="90000"/>
              </a:lnSpc>
              <a:buClr>
                <a:srgbClr val="F07F09"/>
              </a:buClr>
              <a:buSzPct val="80000"/>
            </a:pP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и </a:t>
            </a:r>
            <a:r>
              <a:rPr lang="ru-RU" altLang="ru-RU" sz="1400" dirty="0" err="1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деталирование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 сборочных чертежей</a:t>
            </a:r>
            <a:endParaRPr lang="ru-RU" altLang="ru-RU" sz="1400" dirty="0">
              <a:solidFill>
                <a:schemeClr val="tx1">
                  <a:lumMod val="90000"/>
                  <a:lumOff val="10000"/>
                </a:schemeClr>
              </a:solidFill>
              <a:cs typeface="Times New Roman" pitchFamily="18" charset="0"/>
            </a:endParaRPr>
          </a:p>
        </p:txBody>
      </p:sp>
      <p:pic>
        <p:nvPicPr>
          <p:cNvPr id="33" name="Picture 6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9982907" y="1376733"/>
            <a:ext cx="1714512" cy="2353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Rectangle 2"/>
          <p:cNvSpPr txBox="1">
            <a:spLocks/>
          </p:cNvSpPr>
          <p:nvPr/>
        </p:nvSpPr>
        <p:spPr>
          <a:xfrm flipH="1">
            <a:off x="9935546" y="3925392"/>
            <a:ext cx="1875149" cy="915929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altLang="ru-RU" sz="1400" b="1" dirty="0" smtClean="0">
                <a:solidFill>
                  <a:srgbClr val="2D3494"/>
                </a:solidFill>
                <a:cs typeface="Times New Roman" pitchFamily="18" charset="0"/>
              </a:rPr>
              <a:t>ТЕТРАДЬ №9</a:t>
            </a:r>
            <a:r>
              <a:rPr lang="ru-RU" altLang="ru-RU" sz="14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. </a:t>
            </a:r>
            <a:r>
              <a:rPr lang="ru-RU" altLang="ru-RU" sz="1400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itchFamily="18" charset="0"/>
              </a:rPr>
              <a:t>Архитектурно-строительное  черчение  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ЕРЧЕНИЕ. ДОПОЛНИТЕЛЬНЫЕ РАБОЧИЕ ТЕТРАД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3665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198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363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27001" y="1663386"/>
            <a:ext cx="6247166" cy="4354952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ru-RU" sz="2000" b="1" dirty="0">
                <a:latin typeface="+mn-lt"/>
              </a:rPr>
              <a:t>Статья </a:t>
            </a:r>
            <a:r>
              <a:rPr lang="ru-RU" sz="2000" b="1" dirty="0" smtClean="0">
                <a:latin typeface="+mn-lt"/>
              </a:rPr>
              <a:t>18, пункт 4 Федерального Закона </a:t>
            </a:r>
          </a:p>
          <a:p>
            <a:pPr marL="0" indent="0">
              <a:buNone/>
            </a:pPr>
            <a:r>
              <a:rPr lang="ru-RU" sz="2000" b="1" dirty="0" smtClean="0">
                <a:latin typeface="+mn-lt"/>
              </a:rPr>
              <a:t>«</a:t>
            </a:r>
            <a:r>
              <a:rPr lang="ru-RU" sz="2000" b="1" dirty="0">
                <a:latin typeface="+mn-lt"/>
              </a:rPr>
              <a:t>Об образовании в Российской Федерации» №</a:t>
            </a:r>
            <a:r>
              <a:rPr lang="en-US" sz="2000" b="1" dirty="0">
                <a:latin typeface="+mn-lt"/>
              </a:rPr>
              <a:t>273-</a:t>
            </a:r>
            <a:r>
              <a:rPr lang="ru-RU" sz="2000" b="1" dirty="0">
                <a:latin typeface="+mn-lt"/>
              </a:rPr>
              <a:t>ФЗ:</a:t>
            </a:r>
          </a:p>
          <a:p>
            <a:r>
              <a:rPr lang="ru-RU" b="1" i="1" dirty="0" smtClean="0">
                <a:solidFill>
                  <a:srgbClr val="2D3494"/>
                </a:solidFill>
                <a:latin typeface="+mn-lt"/>
              </a:rPr>
              <a:t>Организации</a:t>
            </a:r>
            <a:r>
              <a:rPr lang="ru-RU" i="1" dirty="0">
                <a:latin typeface="+mn-lt"/>
              </a:rPr>
              <a:t>, осуществляющие образовательную </a:t>
            </a:r>
            <a:r>
              <a:rPr lang="ru-RU" i="1" dirty="0" smtClean="0">
                <a:latin typeface="+mn-lt"/>
              </a:rPr>
              <a:t>деятельность…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для использования </a:t>
            </a:r>
            <a:r>
              <a:rPr lang="ru-RU" i="1" dirty="0">
                <a:latin typeface="+mn-lt"/>
              </a:rPr>
              <a:t>при реализации указанных образовательных программ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выбирают</a:t>
            </a:r>
            <a:r>
              <a:rPr lang="ru-RU" i="1" dirty="0">
                <a:latin typeface="+mn-lt"/>
              </a:rPr>
              <a:t>:</a:t>
            </a:r>
          </a:p>
          <a:p>
            <a:pPr marL="628650" indent="-342900">
              <a:buFont typeface="+mj-lt"/>
              <a:buAutoNum type="arabicParenR"/>
            </a:pPr>
            <a:r>
              <a:rPr lang="ru-RU" i="1" dirty="0">
                <a:latin typeface="+mn-lt"/>
              </a:rPr>
              <a:t>учебники из числа входящих в федеральный перечень </a:t>
            </a:r>
            <a:r>
              <a:rPr lang="ru-RU" i="1" dirty="0" smtClean="0">
                <a:latin typeface="+mn-lt"/>
              </a:rPr>
              <a:t>учебников… ;</a:t>
            </a:r>
            <a:endParaRPr lang="ru-RU" i="1" dirty="0">
              <a:latin typeface="+mn-lt"/>
            </a:endParaRPr>
          </a:p>
          <a:p>
            <a:pPr marL="628650" indent="-342900">
              <a:buFont typeface="+mj-lt"/>
              <a:buAutoNum type="arabicParenR"/>
            </a:pPr>
            <a:r>
              <a:rPr lang="ru-RU" b="1" i="1" dirty="0">
                <a:solidFill>
                  <a:srgbClr val="2D3494"/>
                </a:solidFill>
                <a:latin typeface="+mn-lt"/>
              </a:rPr>
              <a:t>учебные пособия</a:t>
            </a:r>
            <a:r>
              <a:rPr lang="ru-RU" i="1" dirty="0">
                <a:latin typeface="+mn-lt"/>
              </a:rPr>
              <a:t>, выпущенные организациями, входящими в перечень организаций, осуществляющих выпуск учебных </a:t>
            </a:r>
            <a:r>
              <a:rPr lang="ru-RU" i="1" dirty="0" smtClean="0">
                <a:latin typeface="+mn-lt"/>
              </a:rPr>
              <a:t>пособий…</a:t>
            </a:r>
            <a:endParaRPr lang="ru-RU" i="1" dirty="0">
              <a:latin typeface="+mn-lt"/>
            </a:endParaRPr>
          </a:p>
        </p:txBody>
      </p:sp>
      <p:sp>
        <p:nvSpPr>
          <p:cNvPr id="18" name="Freeform 48"/>
          <p:cNvSpPr>
            <a:spLocks/>
          </p:cNvSpPr>
          <p:nvPr/>
        </p:nvSpPr>
        <p:spPr bwMode="auto">
          <a:xfrm rot="16415696" flipV="1">
            <a:off x="5730416" y="229290"/>
            <a:ext cx="460707" cy="2254043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9" name="Овал 12"/>
          <p:cNvSpPr/>
          <p:nvPr/>
        </p:nvSpPr>
        <p:spPr>
          <a:xfrm>
            <a:off x="227546" y="144390"/>
            <a:ext cx="599305" cy="59930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20" name="Рисунок 1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20053" y="236414"/>
            <a:ext cx="445306" cy="42213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6168008" y="1656883"/>
            <a:ext cx="206159" cy="2038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2" name="Title 2"/>
          <p:cNvSpPr txBox="1">
            <a:spLocks/>
          </p:cNvSpPr>
          <p:nvPr/>
        </p:nvSpPr>
        <p:spPr>
          <a:xfrm>
            <a:off x="919358" y="31763"/>
            <a:ext cx="10174923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ВСЕМ ИЗВЕСТНО, ЧТО ЗАКОН </a:t>
            </a:r>
            <a:r>
              <a:rPr lang="ru-RU" sz="2400" dirty="0">
                <a:latin typeface="+mj-lt"/>
              </a:rPr>
              <a:t>ПОЗВОЛЯЕТ </a:t>
            </a:r>
            <a:r>
              <a:rPr lang="ru-RU" sz="2400" dirty="0" smtClean="0">
                <a:solidFill>
                  <a:srgbClr val="EB2049"/>
                </a:solidFill>
                <a:latin typeface="+mj-lt"/>
              </a:rPr>
              <a:t>ИСПОЛЬЗОВАТЬ </a:t>
            </a:r>
            <a:r>
              <a:rPr lang="ru-RU" sz="2400" dirty="0">
                <a:solidFill>
                  <a:srgbClr val="EB2049"/>
                </a:solidFill>
                <a:latin typeface="+mj-lt"/>
              </a:rPr>
              <a:t>УЧЕБНЫЕ ПОСОБИЯ</a:t>
            </a:r>
            <a:r>
              <a:rPr lang="ru-RU" sz="2400" dirty="0">
                <a:latin typeface="+mj-lt"/>
              </a:rPr>
              <a:t> </a:t>
            </a:r>
            <a:r>
              <a:rPr lang="ru-RU" sz="2400" dirty="0" smtClean="0">
                <a:latin typeface="+mj-lt"/>
              </a:rPr>
              <a:t>В ОБРАЗОВАТЕЛЬНОМ ПРОЦЕССЕ</a:t>
            </a:r>
            <a:endParaRPr lang="ru-RU" sz="2400" dirty="0">
              <a:latin typeface="+mj-lt"/>
            </a:endParaRPr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6271086" y="1741850"/>
            <a:ext cx="5476413" cy="433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4290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Статья 18. Печатные и электронные образовательные и информационные ресурсы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1. В организациях, осуществляющих образовательную деятельность, в целях обеспечения реализации образовательных программ формируются библиотеки, в том числе цифровые (электронные) библиотеки, обеспечивающие доступ к профессиональным базам данных, информационным справочным и поисковым системам, а также иным информационным ресурсам.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Библиотечный фонд должен быть укомплектован печатными и (или) электронными учебными изданиями (включая учебники и учебные пособия)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методическими и периодическими изданиями по всем входящим в реализуемые основные образовательные программы учебным предметам, курсам, дисциплинам (модулям)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2. Нормы обеспеченности образовательной деятельности учебными изданиями в расчете на одного обучающегося по основной образовательной программе устанавливаются соответствующими федеральными государственными образовательными 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9"/>
              </a:rPr>
              <a:t>стандартами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Arial" pitchFamily="34" charset="0"/>
              </a:rPr>
              <a:t>…………………………………………………………………………………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4. Организации, осуществляющие образовательную деятельность по имеющим государственную аккредитацию образовательным программам начального общего, основного общего, среднего общего образования, для использования при реализации указанных образовательных программ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выбирают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: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1)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учебники из числа входящих в федеральный перечень учебников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рекомендуем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;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2)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учебные пособия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выпущенные организациями, входящими в перечень организаций, осуществляющих выпуск учебных пособий, которые допускаются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.</a:t>
            </a: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800" dirty="0" smtClean="0">
                <a:latin typeface="Arial" pitchFamily="34" charset="0"/>
                <a:cs typeface="Arial" pitchFamily="34" charset="0"/>
              </a:rPr>
              <a:t>…………………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394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803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8" name="Picture 9" descr="D:\Липецк\Точечный рисунок.bmp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74320" y="1504283"/>
            <a:ext cx="5383530" cy="4004978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5888716" y="2274494"/>
            <a:ext cx="610033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cs typeface="Times New Roman" panose="02020603050405020304" pitchFamily="18" charset="0"/>
              </a:rPr>
              <a:t>В учебнике реализованы современные дидактические подходы:</a:t>
            </a:r>
          </a:p>
          <a:p>
            <a:pPr>
              <a:buFontTx/>
              <a:buChar char="-"/>
            </a:pPr>
            <a:r>
              <a:rPr lang="ru-RU" dirty="0" smtClean="0">
                <a:cs typeface="Times New Roman" panose="02020603050405020304" pitchFamily="18" charset="0"/>
              </a:rPr>
              <a:t> представлены материалы по изучению компьютерной графики;  </a:t>
            </a:r>
          </a:p>
          <a:p>
            <a:pPr>
              <a:buFontTx/>
              <a:buChar char="-"/>
            </a:pPr>
            <a:r>
              <a:rPr lang="ru-RU" dirty="0" smtClean="0">
                <a:cs typeface="Times New Roman" panose="02020603050405020304" pitchFamily="18" charset="0"/>
              </a:rPr>
              <a:t> после изучения каждой учебной темы предложены дифференцированные задания для контроля качества обучения;  </a:t>
            </a:r>
          </a:p>
          <a:p>
            <a:pPr>
              <a:buFontTx/>
              <a:buChar char="-"/>
            </a:pPr>
            <a:r>
              <a:rPr lang="ru-RU" dirty="0" smtClean="0">
                <a:cs typeface="Times New Roman" panose="02020603050405020304" pitchFamily="18" charset="0"/>
              </a:rPr>
              <a:t> предложены примеры алгоритмов выполнения практических работ;  </a:t>
            </a:r>
          </a:p>
          <a:p>
            <a:pPr>
              <a:buFontTx/>
              <a:buChar char="-"/>
            </a:pPr>
            <a:r>
              <a:rPr lang="ru-RU" dirty="0" smtClean="0">
                <a:cs typeface="Times New Roman" panose="02020603050405020304" pitchFamily="18" charset="0"/>
              </a:rPr>
              <a:t> в тексте обозначены материалы, требующие особого внимания в процессе обучения.</a:t>
            </a:r>
            <a:endParaRPr lang="ru-RU" dirty="0">
              <a:ea typeface="Helios-Cond-Light"/>
              <a:cs typeface="Times New Roman" panose="02020603050405020304" pitchFamily="18" charset="0"/>
              <a:sym typeface="Helios-Cond-Light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ПРЕИМУЩЕСТВА УМК ПО ЧЕРЧЕНИЮ</a:t>
            </a:r>
            <a:endParaRPr lang="ru-RU" dirty="0"/>
          </a:p>
        </p:txBody>
      </p:sp>
      <p:pic>
        <p:nvPicPr>
          <p:cNvPr id="10" name="Picture 2" descr="1344_10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>
          <a:xfrm>
            <a:off x="10990963" y="186640"/>
            <a:ext cx="941130" cy="1210081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Прямоугольник 10"/>
          <p:cNvSpPr/>
          <p:nvPr/>
        </p:nvSpPr>
        <p:spPr>
          <a:xfrm>
            <a:off x="10855433" y="1453921"/>
            <a:ext cx="121219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EB2049"/>
                </a:solidFill>
                <a:cs typeface="Times New Roman" panose="02020603050405020304" pitchFamily="18" charset="0"/>
              </a:rPr>
              <a:t>ФП № 2.2.8.2.2.1</a:t>
            </a:r>
            <a:endParaRPr lang="ru-RU" sz="1100" b="1" dirty="0">
              <a:solidFill>
                <a:srgbClr val="EB2049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71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82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00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УКТУРА УМК ПО ЧЕРЧЕНИЮ</a:t>
            </a:r>
            <a:br>
              <a:rPr lang="ru-RU" dirty="0" smtClean="0"/>
            </a:br>
            <a:r>
              <a:rPr lang="ru-RU" dirty="0" smtClean="0"/>
              <a:t>9 КЛАСС</a:t>
            </a:r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4294967295"/>
          </p:nvPr>
        </p:nvSpPr>
        <p:spPr>
          <a:xfrm>
            <a:off x="88900" y="1144150"/>
            <a:ext cx="6715125" cy="41465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fontAlgn="auto">
              <a:spcBef>
                <a:spcPts val="0"/>
              </a:spcBef>
              <a:buNone/>
              <a:defRPr/>
            </a:pPr>
            <a:r>
              <a:rPr lang="ru-RU" sz="2000" b="1" dirty="0" smtClean="0">
                <a:cs typeface="Times New Roman" pitchFamily="18" charset="0"/>
              </a:rPr>
              <a:t>В УМК по черчению для 9 класса входит:</a:t>
            </a:r>
          </a:p>
          <a:p>
            <a:pPr fontAlgn="auto">
              <a:spcBef>
                <a:spcPts val="0"/>
              </a:spcBef>
              <a:defRPr/>
            </a:pPr>
            <a:r>
              <a:rPr lang="ru-RU" sz="2000" b="1" i="1" dirty="0" smtClean="0">
                <a:cs typeface="Times New Roman" pitchFamily="18" charset="0"/>
              </a:rPr>
              <a:t>учебник;</a:t>
            </a:r>
          </a:p>
          <a:p>
            <a:pPr fontAlgn="auto">
              <a:spcBef>
                <a:spcPts val="0"/>
              </a:spcBef>
              <a:defRPr/>
            </a:pPr>
            <a:r>
              <a:rPr lang="ru-RU" sz="2000" b="1" i="1" dirty="0" smtClean="0">
                <a:cs typeface="Times New Roman" pitchFamily="18" charset="0"/>
              </a:rPr>
              <a:t>ЭФУ</a:t>
            </a:r>
          </a:p>
          <a:p>
            <a:pPr fontAlgn="auto">
              <a:spcBef>
                <a:spcPts val="0"/>
              </a:spcBef>
              <a:defRPr/>
            </a:pPr>
            <a:r>
              <a:rPr lang="ru-RU" sz="2000" b="1" i="1" dirty="0" smtClean="0">
                <a:cs typeface="Times New Roman" pitchFamily="18" charset="0"/>
              </a:rPr>
              <a:t>рабочие тетради</a:t>
            </a:r>
          </a:p>
          <a:p>
            <a:pPr fontAlgn="auto">
              <a:spcBef>
                <a:spcPts val="0"/>
              </a:spcBef>
              <a:defRPr/>
            </a:pPr>
            <a:r>
              <a:rPr lang="ru-RU" sz="2000" b="1" i="1" dirty="0" smtClean="0">
                <a:cs typeface="Times New Roman" pitchFamily="18" charset="0"/>
              </a:rPr>
              <a:t>методическое пособие для учителей</a:t>
            </a:r>
            <a:r>
              <a:rPr lang="ru-RU" sz="2000" dirty="0" smtClean="0">
                <a:cs typeface="Times New Roman" pitchFamily="18" charset="0"/>
              </a:rPr>
              <a:t>:</a:t>
            </a:r>
          </a:p>
          <a:p>
            <a:pPr>
              <a:spcBef>
                <a:spcPts val="0"/>
              </a:spcBef>
              <a:defRPr/>
            </a:pPr>
            <a:r>
              <a:rPr lang="ru-RU" sz="2000" dirty="0">
                <a:solidFill>
                  <a:srgbClr val="002060"/>
                </a:solidFill>
                <a:cs typeface="Times New Roman" pitchFamily="18" charset="0"/>
              </a:rPr>
              <a:t> авторская программа по предмету;</a:t>
            </a:r>
            <a:br>
              <a:rPr lang="ru-RU" sz="2000" dirty="0">
                <a:solidFill>
                  <a:srgbClr val="002060"/>
                </a:solidFill>
                <a:cs typeface="Times New Roman" pitchFamily="18" charset="0"/>
              </a:rPr>
            </a:br>
            <a:r>
              <a:rPr lang="ru-RU" sz="2000" dirty="0">
                <a:solidFill>
                  <a:srgbClr val="002060"/>
                </a:solidFill>
                <a:cs typeface="Times New Roman" pitchFamily="18" charset="0"/>
              </a:rPr>
              <a:t>- тематическое планирование по курсу;</a:t>
            </a:r>
            <a:br>
              <a:rPr lang="ru-RU" sz="2000" dirty="0">
                <a:solidFill>
                  <a:srgbClr val="002060"/>
                </a:solidFill>
                <a:cs typeface="Times New Roman" pitchFamily="18" charset="0"/>
              </a:rPr>
            </a:br>
            <a:r>
              <a:rPr lang="ru-RU" sz="2000" dirty="0">
                <a:solidFill>
                  <a:srgbClr val="002060"/>
                </a:solidFill>
                <a:cs typeface="Times New Roman" pitchFamily="18" charset="0"/>
              </a:rPr>
              <a:t>- подробное поурочное планирование как для одногодичного курса обучения, так и для двухгодичного;</a:t>
            </a:r>
            <a:br>
              <a:rPr lang="ru-RU" sz="2000" dirty="0">
                <a:solidFill>
                  <a:srgbClr val="002060"/>
                </a:solidFill>
                <a:cs typeface="Times New Roman" pitchFamily="18" charset="0"/>
              </a:rPr>
            </a:br>
            <a:r>
              <a:rPr lang="ru-RU" sz="2000" dirty="0">
                <a:solidFill>
                  <a:srgbClr val="002060"/>
                </a:solidFill>
                <a:cs typeface="Times New Roman" pitchFamily="18" charset="0"/>
              </a:rPr>
              <a:t>- дополнительные упражнения, чертежи, схемы, ссылки на использование электронного приложения;</a:t>
            </a:r>
            <a:br>
              <a:rPr lang="ru-RU" sz="2000" dirty="0">
                <a:solidFill>
                  <a:srgbClr val="002060"/>
                </a:solidFill>
                <a:cs typeface="Times New Roman" pitchFamily="18" charset="0"/>
              </a:rPr>
            </a:br>
            <a:r>
              <a:rPr lang="ru-RU" sz="2000" dirty="0">
                <a:solidFill>
                  <a:srgbClr val="002060"/>
                </a:solidFill>
                <a:cs typeface="Times New Roman" pitchFamily="18" charset="0"/>
              </a:rPr>
              <a:t>-  методические рекомендации по проведению отдельных уроков</a:t>
            </a:r>
            <a:r>
              <a:rPr lang="ru-RU" sz="2000" dirty="0" smtClean="0">
                <a:solidFill>
                  <a:srgbClr val="002060"/>
                </a:solidFill>
                <a:cs typeface="Times New Roman" pitchFamily="18" charset="0"/>
              </a:rPr>
              <a:t>.</a:t>
            </a:r>
            <a:endParaRPr lang="ru-RU" sz="2000" dirty="0" smtClean="0"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795869" y="4690487"/>
            <a:ext cx="203934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EB2049"/>
                </a:solidFill>
                <a:cs typeface="Times New Roman" panose="02020603050405020304" pitchFamily="18" charset="0"/>
              </a:rPr>
              <a:t>ФП № 2.2.8.2.1.1</a:t>
            </a:r>
            <a:endParaRPr lang="ru-RU" sz="2000" b="1" dirty="0">
              <a:solidFill>
                <a:srgbClr val="EB2049"/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056590" y="4047535"/>
            <a:ext cx="3517900" cy="72765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.Д. Ботвинников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В.Н. Виноградов, </a:t>
            </a: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.С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шнепольский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Picture 4" descr="http://www.ast.ru/upload/iblock/726/726fa0eccb8cdeef81f822743c63d86c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984999" y="914400"/>
            <a:ext cx="2143183" cy="2870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2" descr="http://www.ast.ru/upload/iblock/ed5/ed549bf5b787c8c5df6034c0f6d34360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407496" y="914400"/>
            <a:ext cx="2327304" cy="2870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Прямоугольник 17"/>
          <p:cNvSpPr/>
          <p:nvPr/>
        </p:nvSpPr>
        <p:spPr>
          <a:xfrm>
            <a:off x="88901" y="5490707"/>
            <a:ext cx="100589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рограмм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https://rosuchebnik.ru/metodicheskaja-pomosch/materialy/umk-liniya-umk-a-d-botvinnikovacherchenie-9_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err="1" smtClean="0">
                <a:latin typeface="Times New Roman" pitchFamily="18" charset="0"/>
                <a:cs typeface="Times New Roman" pitchFamily="18" charset="0"/>
              </a:rPr>
              <a:t>predmet-cherchenie_type-rabochaya-programma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/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027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284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0" name="Прямоугольник 39"/>
          <p:cNvSpPr>
            <a:spLocks/>
          </p:cNvSpPr>
          <p:nvPr/>
        </p:nvSpPr>
        <p:spPr>
          <a:xfrm>
            <a:off x="5263167" y="374155"/>
            <a:ext cx="6751033" cy="9848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825479">
              <a:spcBef>
                <a:spcPts val="600"/>
              </a:spcBef>
              <a:buClr>
                <a:srgbClr val="2D3494"/>
              </a:buClr>
            </a:pPr>
            <a:r>
              <a:rPr lang="ru-RU" sz="2000" b="1" spc="3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ТЕХНОЛОГИЧЕСКИЕ КАРТЫ</a:t>
            </a:r>
            <a:br>
              <a:rPr lang="ru-RU" sz="2000" b="1" spc="3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Синица Н.В., Тищенко А.Т.</a:t>
            </a:r>
            <a:endParaRPr lang="ru-RU" spc="300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28600" indent="-228600" algn="ctr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2F3696"/>
                </a:solidFill>
              </a:rPr>
              <a:t>Учебно-методические материалы</a:t>
            </a:r>
            <a:endParaRPr lang="ru-RU" dirty="0">
              <a:solidFill>
                <a:srgbClr val="2F3696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 cstate="print"/>
          <a:srcRect l="39482" t="24040" r="28424" b="22377"/>
          <a:stretch>
            <a:fillRect/>
          </a:stretch>
        </p:blipFill>
        <p:spPr>
          <a:xfrm>
            <a:off x="1484286" y="1429318"/>
            <a:ext cx="3369601" cy="4500594"/>
          </a:xfrm>
          <a:prstGeom prst="rect">
            <a:avLst/>
          </a:prstGeom>
          <a:ln w="28575">
            <a:solidFill>
              <a:srgbClr val="0070C0"/>
            </a:solidFill>
          </a:ln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8" cstate="print"/>
          <a:srcRect l="8641" t="40067" r="68265" b="20880"/>
          <a:stretch>
            <a:fillRect/>
          </a:stretch>
        </p:blipFill>
        <p:spPr>
          <a:xfrm>
            <a:off x="5741991" y="1429318"/>
            <a:ext cx="3326485" cy="4500000"/>
          </a:xfrm>
          <a:prstGeom prst="rect">
            <a:avLst/>
          </a:prstGeom>
          <a:ln w="28575">
            <a:solidFill>
              <a:srgbClr val="0070C0"/>
            </a:solidFill>
          </a:ln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17550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252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825479">
              <a:spcBef>
                <a:spcPts val="600"/>
              </a:spcBef>
            </a:pPr>
            <a:r>
              <a:rPr lang="ru-RU" sz="2000" spc="300" dirty="0">
                <a:solidFill>
                  <a:srgbClr val="2F3696"/>
                </a:solidFill>
                <a:latin typeface="Times New Roman" pitchFamily="18" charset="0"/>
                <a:cs typeface="Times New Roman" pitchFamily="18" charset="0"/>
              </a:rPr>
              <a:t>ТЕХНОЛОГИЧЕСКИЕ КАРТЫ</a:t>
            </a:r>
            <a:br>
              <a:rPr lang="ru-RU" sz="2000" spc="300" dirty="0">
                <a:solidFill>
                  <a:srgbClr val="2F3696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иница Н.В., Тищенко А.Т.</a:t>
            </a:r>
            <a:endParaRPr lang="ru-RU" sz="2000" spc="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7" cstate="print"/>
          <a:srcRect t="6818"/>
          <a:stretch>
            <a:fillRect/>
          </a:stretch>
        </p:blipFill>
        <p:spPr>
          <a:xfrm>
            <a:off x="919162" y="1060448"/>
            <a:ext cx="10167938" cy="2613025"/>
          </a:xfrm>
          <a:prstGeom prst="rect">
            <a:avLst/>
          </a:prstGeom>
          <a:noFill/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8" cstate="print"/>
          <a:srcRect b="33144"/>
          <a:stretch>
            <a:fillRect/>
          </a:stretch>
        </p:blipFill>
        <p:spPr bwMode="auto">
          <a:xfrm>
            <a:off x="360362" y="3479800"/>
            <a:ext cx="11285538" cy="267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7344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284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9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2F3696"/>
                </a:solidFill>
              </a:rPr>
              <a:t>Электронные образовательные ресурсы </a:t>
            </a:r>
            <a:r>
              <a:rPr lang="ru-RU" altLang="ru-RU" dirty="0" smtClean="0">
                <a:solidFill>
                  <a:srgbClr val="2F3696"/>
                </a:solidFill>
              </a:rPr>
              <a:t>корпорации «Российский учебник» </a:t>
            </a:r>
            <a:br>
              <a:rPr lang="ru-RU" altLang="ru-RU" dirty="0" smtClean="0">
                <a:solidFill>
                  <a:srgbClr val="2F3696"/>
                </a:solidFill>
              </a:rPr>
            </a:br>
            <a:r>
              <a:rPr lang="ru-RU" altLang="ru-RU" dirty="0" smtClean="0">
                <a:solidFill>
                  <a:srgbClr val="2F3696"/>
                </a:solidFill>
              </a:rPr>
              <a:t/>
            </a:r>
            <a:br>
              <a:rPr lang="ru-RU" altLang="ru-RU" dirty="0" smtClean="0">
                <a:solidFill>
                  <a:srgbClr val="2F3696"/>
                </a:solidFill>
              </a:rPr>
            </a:br>
            <a:r>
              <a:rPr lang="ru-RU" altLang="ru-RU" dirty="0" smtClean="0">
                <a:solidFill>
                  <a:srgbClr val="2F3696"/>
                </a:solidFill>
              </a:rPr>
              <a:t/>
            </a:r>
            <a:br>
              <a:rPr lang="ru-RU" altLang="ru-RU" dirty="0" smtClean="0">
                <a:solidFill>
                  <a:srgbClr val="2F3696"/>
                </a:solidFill>
              </a:rPr>
            </a:br>
            <a:endParaRPr lang="ru-RU" dirty="0">
              <a:solidFill>
                <a:srgbClr val="2F3696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6157" y="1367288"/>
            <a:ext cx="10058401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17550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284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9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2F3696"/>
                </a:solidFill>
              </a:rPr>
              <a:t>Электронные образовательные ресурсы </a:t>
            </a:r>
            <a:r>
              <a:rPr lang="ru-RU" altLang="ru-RU" dirty="0" smtClean="0">
                <a:solidFill>
                  <a:srgbClr val="2F3696"/>
                </a:solidFill>
              </a:rPr>
              <a:t>корпорации «Российский учебник» </a:t>
            </a:r>
            <a:br>
              <a:rPr lang="ru-RU" altLang="ru-RU" dirty="0" smtClean="0">
                <a:solidFill>
                  <a:srgbClr val="2F3696"/>
                </a:solidFill>
              </a:rPr>
            </a:br>
            <a:r>
              <a:rPr lang="ru-RU" altLang="ru-RU" dirty="0" smtClean="0">
                <a:solidFill>
                  <a:srgbClr val="2F3696"/>
                </a:solidFill>
              </a:rPr>
              <a:t/>
            </a:r>
            <a:br>
              <a:rPr lang="ru-RU" altLang="ru-RU" dirty="0" smtClean="0">
                <a:solidFill>
                  <a:srgbClr val="2F3696"/>
                </a:solidFill>
              </a:rPr>
            </a:br>
            <a:r>
              <a:rPr lang="ru-RU" altLang="ru-RU" dirty="0" smtClean="0">
                <a:solidFill>
                  <a:srgbClr val="2F3696"/>
                </a:solidFill>
              </a:rPr>
              <a:t/>
            </a:r>
            <a:br>
              <a:rPr lang="ru-RU" altLang="ru-RU" dirty="0" smtClean="0">
                <a:solidFill>
                  <a:srgbClr val="2F3696"/>
                </a:solidFill>
              </a:rPr>
            </a:br>
            <a:endParaRPr lang="ru-RU" dirty="0">
              <a:solidFill>
                <a:srgbClr val="2F3696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6384" y="1367288"/>
            <a:ext cx="1064439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Рисунок 1"/>
          <p:cNvPicPr>
            <a:picLocks noChangeAspect="1"/>
          </p:cNvPicPr>
          <p:nvPr/>
        </p:nvPicPr>
        <p:blipFill>
          <a:blip r:embed="rId8" cstate="print"/>
          <a:srcRect l="945" t="10674" r="22984" b="11208"/>
          <a:stretch>
            <a:fillRect/>
          </a:stretch>
        </p:blipFill>
        <p:spPr bwMode="auto">
          <a:xfrm>
            <a:off x="465826" y="1130060"/>
            <a:ext cx="11291978" cy="4968815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7550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284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9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2F3696"/>
                </a:solidFill>
              </a:rPr>
              <a:t>Электронные образовательные ресурсы </a:t>
            </a:r>
            <a:r>
              <a:rPr lang="ru-RU" altLang="ru-RU" dirty="0" smtClean="0">
                <a:solidFill>
                  <a:srgbClr val="2F3696"/>
                </a:solidFill>
              </a:rPr>
              <a:t>корпорации «Российский учебник» </a:t>
            </a:r>
            <a:br>
              <a:rPr lang="ru-RU" altLang="ru-RU" dirty="0" smtClean="0">
                <a:solidFill>
                  <a:srgbClr val="2F3696"/>
                </a:solidFill>
              </a:rPr>
            </a:br>
            <a:r>
              <a:rPr lang="ru-RU" altLang="ru-RU" dirty="0" smtClean="0">
                <a:solidFill>
                  <a:srgbClr val="2F3696"/>
                </a:solidFill>
              </a:rPr>
              <a:t/>
            </a:r>
            <a:br>
              <a:rPr lang="ru-RU" altLang="ru-RU" dirty="0" smtClean="0">
                <a:solidFill>
                  <a:srgbClr val="2F3696"/>
                </a:solidFill>
              </a:rPr>
            </a:br>
            <a:r>
              <a:rPr lang="ru-RU" altLang="ru-RU" dirty="0" smtClean="0">
                <a:solidFill>
                  <a:srgbClr val="2F3696"/>
                </a:solidFill>
              </a:rPr>
              <a:t/>
            </a:r>
            <a:br>
              <a:rPr lang="ru-RU" altLang="ru-RU" dirty="0" smtClean="0">
                <a:solidFill>
                  <a:srgbClr val="2F3696"/>
                </a:solidFill>
              </a:rPr>
            </a:br>
            <a:endParaRPr lang="ru-RU" dirty="0">
              <a:solidFill>
                <a:srgbClr val="2F3696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/>
          <a:srcRect l="362" t="9325" r="16320" b="7563"/>
          <a:stretch>
            <a:fillRect/>
          </a:stretch>
        </p:blipFill>
        <p:spPr>
          <a:xfrm>
            <a:off x="1828799" y="1147313"/>
            <a:ext cx="9877245" cy="5546784"/>
          </a:xfrm>
          <a:prstGeom prst="rect">
            <a:avLst/>
          </a:prstGeom>
          <a:ln w="38100">
            <a:solidFill>
              <a:schemeClr val="accent4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75500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ЧТО ОКРУЖАЕТ УЧИТЕЛЯ СЕГОДНЯ?">
            <a:extLst>
              <a:ext uri="{FF2B5EF4-FFF2-40B4-BE49-F238E27FC236}">
                <a16:creationId xmlns:a16="http://schemas.microsoft.com/office/drawing/2014/main" xmlns="" id="{730CB329-53B8-0E48-BB1A-E579FB7AC5A7}"/>
              </a:ext>
            </a:extLst>
          </p:cNvPr>
          <p:cNvSpPr txBox="1"/>
          <p:nvPr/>
        </p:nvSpPr>
        <p:spPr>
          <a:xfrm>
            <a:off x="1988424" y="2886593"/>
            <a:ext cx="4545732" cy="11302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>
              <a:lnSpc>
                <a:spcPct val="80000"/>
              </a:lnSpc>
            </a:pPr>
            <a:r>
              <a:rPr lang="ru-RU" sz="4000" b="1" dirty="0">
                <a:solidFill>
                  <a:srgbClr val="2D3494"/>
                </a:solidFill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НАША</a:t>
            </a:r>
          </a:p>
          <a:p>
            <a:pPr>
              <a:lnSpc>
                <a:spcPct val="80000"/>
              </a:lnSpc>
            </a:pPr>
            <a:r>
              <a:rPr lang="ru-RU" sz="4000" b="1" dirty="0">
                <a:solidFill>
                  <a:srgbClr val="2D3494"/>
                </a:solidFill>
                <a:ea typeface="Helvetica Neue Condensed" panose="02000503000000020004" pitchFamily="2" charset="0"/>
                <a:cs typeface="Calibri" panose="020F0502020204030204" pitchFamily="34" charset="0"/>
                <a:sym typeface="HeliosCompressed"/>
              </a:rPr>
              <a:t>ПОДДЕРЖКА</a:t>
            </a:r>
          </a:p>
        </p:txBody>
      </p:sp>
      <p:pic>
        <p:nvPicPr>
          <p:cNvPr id="6" name="Изображение" descr="Изображение">
            <a:extLst>
              <a:ext uri="{FF2B5EF4-FFF2-40B4-BE49-F238E27FC236}">
                <a16:creationId xmlns="" xmlns:a16="http://schemas.microsoft.com/office/drawing/2014/main" id="{43CEEF2F-C701-0145-9D58-FC6EE7DDF96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004"/>
          <a:stretch/>
        </p:blipFill>
        <p:spPr>
          <a:xfrm>
            <a:off x="5799669" y="1081936"/>
            <a:ext cx="4064422" cy="4116597"/>
          </a:xfrm>
          <a:prstGeom prst="roundRect">
            <a:avLst>
              <a:gd name="adj" fmla="val 0"/>
            </a:avLst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257808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83127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38"/>
          <p:cNvGrpSpPr/>
          <p:nvPr/>
        </p:nvGrpSpPr>
        <p:grpSpPr>
          <a:xfrm>
            <a:off x="156521" y="1186249"/>
            <a:ext cx="10519718" cy="4143634"/>
            <a:chOff x="3743" y="1112838"/>
            <a:chExt cx="8816729" cy="5053012"/>
          </a:xfrm>
          <a:solidFill>
            <a:schemeClr val="tx1">
              <a:lumMod val="10000"/>
              <a:lumOff val="90000"/>
            </a:schemeClr>
          </a:solidFill>
        </p:grpSpPr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7393309" y="4364038"/>
              <a:ext cx="52388" cy="65087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0" y="89"/>
                </a:cxn>
                <a:cxn ang="0">
                  <a:pos x="4" y="93"/>
                </a:cxn>
                <a:cxn ang="0">
                  <a:pos x="7" y="97"/>
                </a:cxn>
                <a:cxn ang="0">
                  <a:pos x="7" y="102"/>
                </a:cxn>
                <a:cxn ang="0">
                  <a:pos x="7" y="108"/>
                </a:cxn>
                <a:cxn ang="0">
                  <a:pos x="4" y="121"/>
                </a:cxn>
                <a:cxn ang="0">
                  <a:pos x="0" y="132"/>
                </a:cxn>
                <a:cxn ang="0">
                  <a:pos x="108" y="132"/>
                </a:cxn>
                <a:cxn ang="0">
                  <a:pos x="67" y="0"/>
                </a:cxn>
              </a:cxnLst>
              <a:rect l="0" t="0" r="r" b="b"/>
              <a:pathLst>
                <a:path w="108" h="132">
                  <a:moveTo>
                    <a:pt x="67" y="0"/>
                  </a:moveTo>
                  <a:lnTo>
                    <a:pt x="0" y="89"/>
                  </a:lnTo>
                  <a:lnTo>
                    <a:pt x="4" y="93"/>
                  </a:lnTo>
                  <a:lnTo>
                    <a:pt x="7" y="97"/>
                  </a:lnTo>
                  <a:lnTo>
                    <a:pt x="7" y="102"/>
                  </a:lnTo>
                  <a:lnTo>
                    <a:pt x="7" y="108"/>
                  </a:lnTo>
                  <a:lnTo>
                    <a:pt x="4" y="121"/>
                  </a:lnTo>
                  <a:lnTo>
                    <a:pt x="0" y="132"/>
                  </a:lnTo>
                  <a:lnTo>
                    <a:pt x="108" y="132"/>
                  </a:lnTo>
                  <a:lnTo>
                    <a:pt x="67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7347272" y="4408488"/>
              <a:ext cx="20638" cy="31750"/>
            </a:xfrm>
            <a:custGeom>
              <a:avLst/>
              <a:gdLst/>
              <a:ahLst/>
              <a:cxnLst>
                <a:cxn ang="0">
                  <a:pos x="0" y="61"/>
                </a:cxn>
                <a:cxn ang="0">
                  <a:pos x="7" y="59"/>
                </a:cxn>
                <a:cxn ang="0">
                  <a:pos x="14" y="59"/>
                </a:cxn>
                <a:cxn ang="0">
                  <a:pos x="20" y="59"/>
                </a:cxn>
                <a:cxn ang="0">
                  <a:pos x="26" y="59"/>
                </a:cxn>
                <a:cxn ang="0">
                  <a:pos x="36" y="63"/>
                </a:cxn>
                <a:cxn ang="0">
                  <a:pos x="42" y="67"/>
                </a:cxn>
                <a:cxn ang="0">
                  <a:pos x="42" y="0"/>
                </a:cxn>
                <a:cxn ang="0">
                  <a:pos x="30" y="15"/>
                </a:cxn>
                <a:cxn ang="0">
                  <a:pos x="19" y="28"/>
                </a:cxn>
                <a:cxn ang="0">
                  <a:pos x="10" y="44"/>
                </a:cxn>
                <a:cxn ang="0">
                  <a:pos x="0" y="61"/>
                </a:cxn>
              </a:cxnLst>
              <a:rect l="0" t="0" r="r" b="b"/>
              <a:pathLst>
                <a:path w="42" h="67">
                  <a:moveTo>
                    <a:pt x="0" y="61"/>
                  </a:moveTo>
                  <a:lnTo>
                    <a:pt x="7" y="59"/>
                  </a:lnTo>
                  <a:lnTo>
                    <a:pt x="14" y="59"/>
                  </a:lnTo>
                  <a:lnTo>
                    <a:pt x="20" y="59"/>
                  </a:lnTo>
                  <a:lnTo>
                    <a:pt x="26" y="59"/>
                  </a:lnTo>
                  <a:lnTo>
                    <a:pt x="36" y="63"/>
                  </a:lnTo>
                  <a:lnTo>
                    <a:pt x="42" y="67"/>
                  </a:lnTo>
                  <a:lnTo>
                    <a:pt x="42" y="0"/>
                  </a:lnTo>
                  <a:lnTo>
                    <a:pt x="30" y="15"/>
                  </a:lnTo>
                  <a:lnTo>
                    <a:pt x="19" y="28"/>
                  </a:lnTo>
                  <a:lnTo>
                    <a:pt x="10" y="44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4440559" y="2135188"/>
              <a:ext cx="33338" cy="26987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23" y="0"/>
                </a:cxn>
                <a:cxn ang="0">
                  <a:pos x="11" y="1"/>
                </a:cxn>
                <a:cxn ang="0">
                  <a:pos x="7" y="4"/>
                </a:cxn>
                <a:cxn ang="0">
                  <a:pos x="3" y="6"/>
                </a:cxn>
                <a:cxn ang="0">
                  <a:pos x="0" y="12"/>
                </a:cxn>
                <a:cxn ang="0">
                  <a:pos x="0" y="17"/>
                </a:cxn>
                <a:cxn ang="0">
                  <a:pos x="0" y="26"/>
                </a:cxn>
                <a:cxn ang="0">
                  <a:pos x="3" y="33"/>
                </a:cxn>
                <a:cxn ang="0">
                  <a:pos x="5" y="40"/>
                </a:cxn>
                <a:cxn ang="0">
                  <a:pos x="9" y="45"/>
                </a:cxn>
                <a:cxn ang="0">
                  <a:pos x="13" y="49"/>
                </a:cxn>
                <a:cxn ang="0">
                  <a:pos x="20" y="52"/>
                </a:cxn>
                <a:cxn ang="0">
                  <a:pos x="28" y="53"/>
                </a:cxn>
                <a:cxn ang="0">
                  <a:pos x="36" y="53"/>
                </a:cxn>
                <a:cxn ang="0">
                  <a:pos x="41" y="53"/>
                </a:cxn>
                <a:cxn ang="0">
                  <a:pos x="47" y="50"/>
                </a:cxn>
                <a:cxn ang="0">
                  <a:pos x="51" y="48"/>
                </a:cxn>
                <a:cxn ang="0">
                  <a:pos x="53" y="44"/>
                </a:cxn>
                <a:cxn ang="0">
                  <a:pos x="59" y="36"/>
                </a:cxn>
                <a:cxn ang="0">
                  <a:pos x="67" y="29"/>
                </a:cxn>
                <a:cxn ang="0">
                  <a:pos x="47" y="10"/>
                </a:cxn>
                <a:cxn ang="0">
                  <a:pos x="36" y="0"/>
                </a:cxn>
              </a:cxnLst>
              <a:rect l="0" t="0" r="r" b="b"/>
              <a:pathLst>
                <a:path w="67" h="53">
                  <a:moveTo>
                    <a:pt x="36" y="0"/>
                  </a:moveTo>
                  <a:lnTo>
                    <a:pt x="23" y="0"/>
                  </a:lnTo>
                  <a:lnTo>
                    <a:pt x="11" y="1"/>
                  </a:lnTo>
                  <a:lnTo>
                    <a:pt x="7" y="4"/>
                  </a:lnTo>
                  <a:lnTo>
                    <a:pt x="3" y="6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3" y="33"/>
                  </a:lnTo>
                  <a:lnTo>
                    <a:pt x="5" y="40"/>
                  </a:lnTo>
                  <a:lnTo>
                    <a:pt x="9" y="45"/>
                  </a:lnTo>
                  <a:lnTo>
                    <a:pt x="13" y="49"/>
                  </a:lnTo>
                  <a:lnTo>
                    <a:pt x="20" y="52"/>
                  </a:lnTo>
                  <a:lnTo>
                    <a:pt x="28" y="53"/>
                  </a:lnTo>
                  <a:lnTo>
                    <a:pt x="36" y="53"/>
                  </a:lnTo>
                  <a:lnTo>
                    <a:pt x="41" y="53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4"/>
                  </a:lnTo>
                  <a:lnTo>
                    <a:pt x="59" y="36"/>
                  </a:lnTo>
                  <a:lnTo>
                    <a:pt x="67" y="29"/>
                  </a:lnTo>
                  <a:lnTo>
                    <a:pt x="47" y="1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4467547" y="2297113"/>
              <a:ext cx="60325" cy="57150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26" y="0"/>
                </a:cxn>
                <a:cxn ang="0">
                  <a:pos x="20" y="1"/>
                </a:cxn>
                <a:cxn ang="0">
                  <a:pos x="16" y="4"/>
                </a:cxn>
                <a:cxn ang="0">
                  <a:pos x="14" y="5"/>
                </a:cxn>
                <a:cxn ang="0">
                  <a:pos x="11" y="8"/>
                </a:cxn>
                <a:cxn ang="0">
                  <a:pos x="10" y="9"/>
                </a:cxn>
                <a:cxn ang="0">
                  <a:pos x="7" y="11"/>
                </a:cxn>
                <a:cxn ang="0">
                  <a:pos x="3" y="12"/>
                </a:cxn>
                <a:cxn ang="0">
                  <a:pos x="0" y="23"/>
                </a:cxn>
                <a:cxn ang="0">
                  <a:pos x="0" y="32"/>
                </a:cxn>
                <a:cxn ang="0">
                  <a:pos x="2" y="40"/>
                </a:cxn>
                <a:cxn ang="0">
                  <a:pos x="3" y="48"/>
                </a:cxn>
                <a:cxn ang="0">
                  <a:pos x="4" y="55"/>
                </a:cxn>
                <a:cxn ang="0">
                  <a:pos x="7" y="63"/>
                </a:cxn>
                <a:cxn ang="0">
                  <a:pos x="11" y="69"/>
                </a:cxn>
                <a:cxn ang="0">
                  <a:pos x="16" y="76"/>
                </a:cxn>
                <a:cxn ang="0">
                  <a:pos x="24" y="81"/>
                </a:cxn>
                <a:cxn ang="0">
                  <a:pos x="34" y="85"/>
                </a:cxn>
                <a:cxn ang="0">
                  <a:pos x="44" y="89"/>
                </a:cxn>
                <a:cxn ang="0">
                  <a:pos x="58" y="91"/>
                </a:cxn>
                <a:cxn ang="0">
                  <a:pos x="58" y="96"/>
                </a:cxn>
                <a:cxn ang="0">
                  <a:pos x="59" y="101"/>
                </a:cxn>
                <a:cxn ang="0">
                  <a:pos x="62" y="105"/>
                </a:cxn>
                <a:cxn ang="0">
                  <a:pos x="64" y="109"/>
                </a:cxn>
                <a:cxn ang="0">
                  <a:pos x="68" y="111"/>
                </a:cxn>
                <a:cxn ang="0">
                  <a:pos x="72" y="113"/>
                </a:cxn>
                <a:cxn ang="0">
                  <a:pos x="76" y="113"/>
                </a:cxn>
                <a:cxn ang="0">
                  <a:pos x="82" y="115"/>
                </a:cxn>
                <a:cxn ang="0">
                  <a:pos x="87" y="112"/>
                </a:cxn>
                <a:cxn ang="0">
                  <a:pos x="94" y="105"/>
                </a:cxn>
                <a:cxn ang="0">
                  <a:pos x="100" y="95"/>
                </a:cxn>
                <a:cxn ang="0">
                  <a:pos x="107" y="84"/>
                </a:cxn>
                <a:cxn ang="0">
                  <a:pos x="119" y="63"/>
                </a:cxn>
                <a:cxn ang="0">
                  <a:pos x="123" y="53"/>
                </a:cxn>
                <a:cxn ang="0">
                  <a:pos x="123" y="48"/>
                </a:cxn>
                <a:cxn ang="0">
                  <a:pos x="120" y="41"/>
                </a:cxn>
                <a:cxn ang="0">
                  <a:pos x="118" y="36"/>
                </a:cxn>
                <a:cxn ang="0">
                  <a:pos x="112" y="31"/>
                </a:cxn>
                <a:cxn ang="0">
                  <a:pos x="107" y="25"/>
                </a:cxn>
                <a:cxn ang="0">
                  <a:pos x="102" y="21"/>
                </a:cxn>
                <a:cxn ang="0">
                  <a:pos x="95" y="17"/>
                </a:cxn>
                <a:cxn ang="0">
                  <a:pos x="87" y="13"/>
                </a:cxn>
                <a:cxn ang="0">
                  <a:pos x="72" y="7"/>
                </a:cxn>
                <a:cxn ang="0">
                  <a:pos x="58" y="3"/>
                </a:cxn>
                <a:cxn ang="0">
                  <a:pos x="44" y="0"/>
                </a:cxn>
                <a:cxn ang="0">
                  <a:pos x="34" y="0"/>
                </a:cxn>
              </a:cxnLst>
              <a:rect l="0" t="0" r="r" b="b"/>
              <a:pathLst>
                <a:path w="123" h="115">
                  <a:moveTo>
                    <a:pt x="34" y="0"/>
                  </a:moveTo>
                  <a:lnTo>
                    <a:pt x="26" y="0"/>
                  </a:lnTo>
                  <a:lnTo>
                    <a:pt x="20" y="1"/>
                  </a:lnTo>
                  <a:lnTo>
                    <a:pt x="16" y="4"/>
                  </a:lnTo>
                  <a:lnTo>
                    <a:pt x="14" y="5"/>
                  </a:lnTo>
                  <a:lnTo>
                    <a:pt x="11" y="8"/>
                  </a:lnTo>
                  <a:lnTo>
                    <a:pt x="10" y="9"/>
                  </a:lnTo>
                  <a:lnTo>
                    <a:pt x="7" y="11"/>
                  </a:lnTo>
                  <a:lnTo>
                    <a:pt x="3" y="12"/>
                  </a:lnTo>
                  <a:lnTo>
                    <a:pt x="0" y="23"/>
                  </a:lnTo>
                  <a:lnTo>
                    <a:pt x="0" y="32"/>
                  </a:lnTo>
                  <a:lnTo>
                    <a:pt x="2" y="40"/>
                  </a:lnTo>
                  <a:lnTo>
                    <a:pt x="3" y="48"/>
                  </a:lnTo>
                  <a:lnTo>
                    <a:pt x="4" y="55"/>
                  </a:lnTo>
                  <a:lnTo>
                    <a:pt x="7" y="63"/>
                  </a:lnTo>
                  <a:lnTo>
                    <a:pt x="11" y="69"/>
                  </a:lnTo>
                  <a:lnTo>
                    <a:pt x="16" y="76"/>
                  </a:lnTo>
                  <a:lnTo>
                    <a:pt x="24" y="81"/>
                  </a:lnTo>
                  <a:lnTo>
                    <a:pt x="34" y="85"/>
                  </a:lnTo>
                  <a:lnTo>
                    <a:pt x="44" y="89"/>
                  </a:lnTo>
                  <a:lnTo>
                    <a:pt x="58" y="91"/>
                  </a:lnTo>
                  <a:lnTo>
                    <a:pt x="58" y="96"/>
                  </a:lnTo>
                  <a:lnTo>
                    <a:pt x="59" y="101"/>
                  </a:lnTo>
                  <a:lnTo>
                    <a:pt x="62" y="105"/>
                  </a:lnTo>
                  <a:lnTo>
                    <a:pt x="64" y="109"/>
                  </a:lnTo>
                  <a:lnTo>
                    <a:pt x="68" y="111"/>
                  </a:lnTo>
                  <a:lnTo>
                    <a:pt x="72" y="113"/>
                  </a:lnTo>
                  <a:lnTo>
                    <a:pt x="76" y="113"/>
                  </a:lnTo>
                  <a:lnTo>
                    <a:pt x="82" y="115"/>
                  </a:lnTo>
                  <a:lnTo>
                    <a:pt x="87" y="112"/>
                  </a:lnTo>
                  <a:lnTo>
                    <a:pt x="94" y="105"/>
                  </a:lnTo>
                  <a:lnTo>
                    <a:pt x="100" y="95"/>
                  </a:lnTo>
                  <a:lnTo>
                    <a:pt x="107" y="84"/>
                  </a:lnTo>
                  <a:lnTo>
                    <a:pt x="119" y="63"/>
                  </a:lnTo>
                  <a:lnTo>
                    <a:pt x="123" y="53"/>
                  </a:lnTo>
                  <a:lnTo>
                    <a:pt x="123" y="48"/>
                  </a:lnTo>
                  <a:lnTo>
                    <a:pt x="120" y="41"/>
                  </a:lnTo>
                  <a:lnTo>
                    <a:pt x="118" y="36"/>
                  </a:lnTo>
                  <a:lnTo>
                    <a:pt x="112" y="31"/>
                  </a:lnTo>
                  <a:lnTo>
                    <a:pt x="107" y="25"/>
                  </a:lnTo>
                  <a:lnTo>
                    <a:pt x="102" y="21"/>
                  </a:lnTo>
                  <a:lnTo>
                    <a:pt x="95" y="17"/>
                  </a:lnTo>
                  <a:lnTo>
                    <a:pt x="87" y="13"/>
                  </a:lnTo>
                  <a:lnTo>
                    <a:pt x="72" y="7"/>
                  </a:lnTo>
                  <a:lnTo>
                    <a:pt x="58" y="3"/>
                  </a:lnTo>
                  <a:lnTo>
                    <a:pt x="4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4473897" y="2127250"/>
              <a:ext cx="139700" cy="176212"/>
            </a:xfrm>
            <a:custGeom>
              <a:avLst/>
              <a:gdLst/>
              <a:ahLst/>
              <a:cxnLst>
                <a:cxn ang="0">
                  <a:pos x="231" y="87"/>
                </a:cxn>
                <a:cxn ang="0">
                  <a:pos x="217" y="63"/>
                </a:cxn>
                <a:cxn ang="0">
                  <a:pos x="193" y="15"/>
                </a:cxn>
                <a:cxn ang="0">
                  <a:pos x="180" y="1"/>
                </a:cxn>
                <a:cxn ang="0">
                  <a:pos x="164" y="3"/>
                </a:cxn>
                <a:cxn ang="0">
                  <a:pos x="156" y="19"/>
                </a:cxn>
                <a:cxn ang="0">
                  <a:pos x="137" y="40"/>
                </a:cxn>
                <a:cxn ang="0">
                  <a:pos x="105" y="61"/>
                </a:cxn>
                <a:cxn ang="0">
                  <a:pos x="73" y="79"/>
                </a:cxn>
                <a:cxn ang="0">
                  <a:pos x="52" y="101"/>
                </a:cxn>
                <a:cxn ang="0">
                  <a:pos x="48" y="115"/>
                </a:cxn>
                <a:cxn ang="0">
                  <a:pos x="57" y="136"/>
                </a:cxn>
                <a:cxn ang="0">
                  <a:pos x="73" y="148"/>
                </a:cxn>
                <a:cxn ang="0">
                  <a:pos x="76" y="168"/>
                </a:cxn>
                <a:cxn ang="0">
                  <a:pos x="61" y="204"/>
                </a:cxn>
                <a:cxn ang="0">
                  <a:pos x="40" y="225"/>
                </a:cxn>
                <a:cxn ang="0">
                  <a:pos x="24" y="229"/>
                </a:cxn>
                <a:cxn ang="0">
                  <a:pos x="14" y="257"/>
                </a:cxn>
                <a:cxn ang="0">
                  <a:pos x="0" y="271"/>
                </a:cxn>
                <a:cxn ang="0">
                  <a:pos x="2" y="283"/>
                </a:cxn>
                <a:cxn ang="0">
                  <a:pos x="18" y="293"/>
                </a:cxn>
                <a:cxn ang="0">
                  <a:pos x="56" y="309"/>
                </a:cxn>
                <a:cxn ang="0">
                  <a:pos x="73" y="341"/>
                </a:cxn>
                <a:cxn ang="0">
                  <a:pos x="90" y="363"/>
                </a:cxn>
                <a:cxn ang="0">
                  <a:pos x="108" y="368"/>
                </a:cxn>
                <a:cxn ang="0">
                  <a:pos x="130" y="364"/>
                </a:cxn>
                <a:cxn ang="0">
                  <a:pos x="157" y="345"/>
                </a:cxn>
                <a:cxn ang="0">
                  <a:pos x="180" y="323"/>
                </a:cxn>
                <a:cxn ang="0">
                  <a:pos x="198" y="313"/>
                </a:cxn>
                <a:cxn ang="0">
                  <a:pos x="259" y="297"/>
                </a:cxn>
                <a:cxn ang="0">
                  <a:pos x="277" y="287"/>
                </a:cxn>
                <a:cxn ang="0">
                  <a:pos x="287" y="272"/>
                </a:cxn>
                <a:cxn ang="0">
                  <a:pos x="286" y="257"/>
                </a:cxn>
                <a:cxn ang="0">
                  <a:pos x="274" y="244"/>
                </a:cxn>
                <a:cxn ang="0">
                  <a:pos x="253" y="224"/>
                </a:cxn>
                <a:cxn ang="0">
                  <a:pos x="246" y="211"/>
                </a:cxn>
                <a:cxn ang="0">
                  <a:pos x="247" y="197"/>
                </a:cxn>
                <a:cxn ang="0">
                  <a:pos x="259" y="183"/>
                </a:cxn>
                <a:cxn ang="0">
                  <a:pos x="281" y="161"/>
                </a:cxn>
                <a:cxn ang="0">
                  <a:pos x="287" y="145"/>
                </a:cxn>
                <a:cxn ang="0">
                  <a:pos x="283" y="119"/>
                </a:cxn>
                <a:cxn ang="0">
                  <a:pos x="266" y="97"/>
                </a:cxn>
                <a:cxn ang="0">
                  <a:pos x="239" y="91"/>
                </a:cxn>
              </a:cxnLst>
              <a:rect l="0" t="0" r="r" b="b"/>
              <a:pathLst>
                <a:path w="287" h="368">
                  <a:moveTo>
                    <a:pt x="239" y="91"/>
                  </a:moveTo>
                  <a:lnTo>
                    <a:pt x="235" y="89"/>
                  </a:lnTo>
                  <a:lnTo>
                    <a:pt x="231" y="87"/>
                  </a:lnTo>
                  <a:lnTo>
                    <a:pt x="228" y="83"/>
                  </a:lnTo>
                  <a:lnTo>
                    <a:pt x="224" y="76"/>
                  </a:lnTo>
                  <a:lnTo>
                    <a:pt x="217" y="63"/>
                  </a:lnTo>
                  <a:lnTo>
                    <a:pt x="209" y="45"/>
                  </a:lnTo>
                  <a:lnTo>
                    <a:pt x="201" y="29"/>
                  </a:lnTo>
                  <a:lnTo>
                    <a:pt x="193" y="15"/>
                  </a:lnTo>
                  <a:lnTo>
                    <a:pt x="189" y="8"/>
                  </a:lnTo>
                  <a:lnTo>
                    <a:pt x="184" y="4"/>
                  </a:lnTo>
                  <a:lnTo>
                    <a:pt x="180" y="1"/>
                  </a:lnTo>
                  <a:lnTo>
                    <a:pt x="174" y="0"/>
                  </a:lnTo>
                  <a:lnTo>
                    <a:pt x="168" y="1"/>
                  </a:lnTo>
                  <a:lnTo>
                    <a:pt x="164" y="3"/>
                  </a:lnTo>
                  <a:lnTo>
                    <a:pt x="160" y="7"/>
                  </a:lnTo>
                  <a:lnTo>
                    <a:pt x="158" y="11"/>
                  </a:lnTo>
                  <a:lnTo>
                    <a:pt x="156" y="19"/>
                  </a:lnTo>
                  <a:lnTo>
                    <a:pt x="156" y="24"/>
                  </a:lnTo>
                  <a:lnTo>
                    <a:pt x="150" y="29"/>
                  </a:lnTo>
                  <a:lnTo>
                    <a:pt x="137" y="40"/>
                  </a:lnTo>
                  <a:lnTo>
                    <a:pt x="122" y="52"/>
                  </a:lnTo>
                  <a:lnTo>
                    <a:pt x="113" y="60"/>
                  </a:lnTo>
                  <a:lnTo>
                    <a:pt x="105" y="61"/>
                  </a:lnTo>
                  <a:lnTo>
                    <a:pt x="96" y="65"/>
                  </a:lnTo>
                  <a:lnTo>
                    <a:pt x="85" y="71"/>
                  </a:lnTo>
                  <a:lnTo>
                    <a:pt x="73" y="79"/>
                  </a:lnTo>
                  <a:lnTo>
                    <a:pt x="64" y="87"/>
                  </a:lnTo>
                  <a:lnTo>
                    <a:pt x="56" y="96"/>
                  </a:lnTo>
                  <a:lnTo>
                    <a:pt x="52" y="101"/>
                  </a:lnTo>
                  <a:lnTo>
                    <a:pt x="49" y="105"/>
                  </a:lnTo>
                  <a:lnTo>
                    <a:pt x="48" y="111"/>
                  </a:lnTo>
                  <a:lnTo>
                    <a:pt x="48" y="115"/>
                  </a:lnTo>
                  <a:lnTo>
                    <a:pt x="49" y="123"/>
                  </a:lnTo>
                  <a:lnTo>
                    <a:pt x="52" y="129"/>
                  </a:lnTo>
                  <a:lnTo>
                    <a:pt x="57" y="136"/>
                  </a:lnTo>
                  <a:lnTo>
                    <a:pt x="62" y="140"/>
                  </a:lnTo>
                  <a:lnTo>
                    <a:pt x="68" y="144"/>
                  </a:lnTo>
                  <a:lnTo>
                    <a:pt x="73" y="148"/>
                  </a:lnTo>
                  <a:lnTo>
                    <a:pt x="76" y="152"/>
                  </a:lnTo>
                  <a:lnTo>
                    <a:pt x="77" y="157"/>
                  </a:lnTo>
                  <a:lnTo>
                    <a:pt x="76" y="168"/>
                  </a:lnTo>
                  <a:lnTo>
                    <a:pt x="73" y="181"/>
                  </a:lnTo>
                  <a:lnTo>
                    <a:pt x="68" y="193"/>
                  </a:lnTo>
                  <a:lnTo>
                    <a:pt x="61" y="204"/>
                  </a:lnTo>
                  <a:lnTo>
                    <a:pt x="53" y="215"/>
                  </a:lnTo>
                  <a:lnTo>
                    <a:pt x="45" y="223"/>
                  </a:lnTo>
                  <a:lnTo>
                    <a:pt x="40" y="225"/>
                  </a:lnTo>
                  <a:lnTo>
                    <a:pt x="34" y="227"/>
                  </a:lnTo>
                  <a:lnTo>
                    <a:pt x="29" y="229"/>
                  </a:lnTo>
                  <a:lnTo>
                    <a:pt x="24" y="229"/>
                  </a:lnTo>
                  <a:lnTo>
                    <a:pt x="24" y="244"/>
                  </a:lnTo>
                  <a:lnTo>
                    <a:pt x="24" y="253"/>
                  </a:lnTo>
                  <a:lnTo>
                    <a:pt x="14" y="257"/>
                  </a:lnTo>
                  <a:lnTo>
                    <a:pt x="6" y="263"/>
                  </a:lnTo>
                  <a:lnTo>
                    <a:pt x="1" y="267"/>
                  </a:lnTo>
                  <a:lnTo>
                    <a:pt x="0" y="271"/>
                  </a:lnTo>
                  <a:lnTo>
                    <a:pt x="0" y="276"/>
                  </a:lnTo>
                  <a:lnTo>
                    <a:pt x="1" y="279"/>
                  </a:lnTo>
                  <a:lnTo>
                    <a:pt x="2" y="283"/>
                  </a:lnTo>
                  <a:lnTo>
                    <a:pt x="5" y="285"/>
                  </a:lnTo>
                  <a:lnTo>
                    <a:pt x="12" y="289"/>
                  </a:lnTo>
                  <a:lnTo>
                    <a:pt x="18" y="293"/>
                  </a:lnTo>
                  <a:lnTo>
                    <a:pt x="34" y="297"/>
                  </a:lnTo>
                  <a:lnTo>
                    <a:pt x="48" y="301"/>
                  </a:lnTo>
                  <a:lnTo>
                    <a:pt x="56" y="309"/>
                  </a:lnTo>
                  <a:lnTo>
                    <a:pt x="62" y="320"/>
                  </a:lnTo>
                  <a:lnTo>
                    <a:pt x="68" y="331"/>
                  </a:lnTo>
                  <a:lnTo>
                    <a:pt x="73" y="341"/>
                  </a:lnTo>
                  <a:lnTo>
                    <a:pt x="78" y="352"/>
                  </a:lnTo>
                  <a:lnTo>
                    <a:pt x="86" y="360"/>
                  </a:lnTo>
                  <a:lnTo>
                    <a:pt x="90" y="363"/>
                  </a:lnTo>
                  <a:lnTo>
                    <a:pt x="96" y="365"/>
                  </a:lnTo>
                  <a:lnTo>
                    <a:pt x="101" y="367"/>
                  </a:lnTo>
                  <a:lnTo>
                    <a:pt x="108" y="368"/>
                  </a:lnTo>
                  <a:lnTo>
                    <a:pt x="116" y="367"/>
                  </a:lnTo>
                  <a:lnTo>
                    <a:pt x="124" y="365"/>
                  </a:lnTo>
                  <a:lnTo>
                    <a:pt x="130" y="364"/>
                  </a:lnTo>
                  <a:lnTo>
                    <a:pt x="137" y="361"/>
                  </a:lnTo>
                  <a:lnTo>
                    <a:pt x="148" y="353"/>
                  </a:lnTo>
                  <a:lnTo>
                    <a:pt x="157" y="345"/>
                  </a:lnTo>
                  <a:lnTo>
                    <a:pt x="166" y="336"/>
                  </a:lnTo>
                  <a:lnTo>
                    <a:pt x="176" y="327"/>
                  </a:lnTo>
                  <a:lnTo>
                    <a:pt x="180" y="323"/>
                  </a:lnTo>
                  <a:lnTo>
                    <a:pt x="185" y="319"/>
                  </a:lnTo>
                  <a:lnTo>
                    <a:pt x="192" y="316"/>
                  </a:lnTo>
                  <a:lnTo>
                    <a:pt x="198" y="313"/>
                  </a:lnTo>
                  <a:lnTo>
                    <a:pt x="222" y="308"/>
                  </a:lnTo>
                  <a:lnTo>
                    <a:pt x="251" y="301"/>
                  </a:lnTo>
                  <a:lnTo>
                    <a:pt x="259" y="297"/>
                  </a:lnTo>
                  <a:lnTo>
                    <a:pt x="266" y="295"/>
                  </a:lnTo>
                  <a:lnTo>
                    <a:pt x="271" y="291"/>
                  </a:lnTo>
                  <a:lnTo>
                    <a:pt x="277" y="287"/>
                  </a:lnTo>
                  <a:lnTo>
                    <a:pt x="282" y="283"/>
                  </a:lnTo>
                  <a:lnTo>
                    <a:pt x="285" y="277"/>
                  </a:lnTo>
                  <a:lnTo>
                    <a:pt x="287" y="272"/>
                  </a:lnTo>
                  <a:lnTo>
                    <a:pt x="287" y="265"/>
                  </a:lnTo>
                  <a:lnTo>
                    <a:pt x="287" y="261"/>
                  </a:lnTo>
                  <a:lnTo>
                    <a:pt x="286" y="257"/>
                  </a:lnTo>
                  <a:lnTo>
                    <a:pt x="283" y="253"/>
                  </a:lnTo>
                  <a:lnTo>
                    <a:pt x="281" y="249"/>
                  </a:lnTo>
                  <a:lnTo>
                    <a:pt x="274" y="244"/>
                  </a:lnTo>
                  <a:lnTo>
                    <a:pt x="267" y="237"/>
                  </a:lnTo>
                  <a:lnTo>
                    <a:pt x="259" y="231"/>
                  </a:lnTo>
                  <a:lnTo>
                    <a:pt x="253" y="224"/>
                  </a:lnTo>
                  <a:lnTo>
                    <a:pt x="250" y="220"/>
                  </a:lnTo>
                  <a:lnTo>
                    <a:pt x="247" y="215"/>
                  </a:lnTo>
                  <a:lnTo>
                    <a:pt x="246" y="211"/>
                  </a:lnTo>
                  <a:lnTo>
                    <a:pt x="246" y="205"/>
                  </a:lnTo>
                  <a:lnTo>
                    <a:pt x="246" y="201"/>
                  </a:lnTo>
                  <a:lnTo>
                    <a:pt x="247" y="197"/>
                  </a:lnTo>
                  <a:lnTo>
                    <a:pt x="250" y="193"/>
                  </a:lnTo>
                  <a:lnTo>
                    <a:pt x="253" y="189"/>
                  </a:lnTo>
                  <a:lnTo>
                    <a:pt x="259" y="183"/>
                  </a:lnTo>
                  <a:lnTo>
                    <a:pt x="267" y="176"/>
                  </a:lnTo>
                  <a:lnTo>
                    <a:pt x="274" y="169"/>
                  </a:lnTo>
                  <a:lnTo>
                    <a:pt x="281" y="161"/>
                  </a:lnTo>
                  <a:lnTo>
                    <a:pt x="283" y="156"/>
                  </a:lnTo>
                  <a:lnTo>
                    <a:pt x="286" y="151"/>
                  </a:lnTo>
                  <a:lnTo>
                    <a:pt x="287" y="145"/>
                  </a:lnTo>
                  <a:lnTo>
                    <a:pt x="287" y="139"/>
                  </a:lnTo>
                  <a:lnTo>
                    <a:pt x="287" y="128"/>
                  </a:lnTo>
                  <a:lnTo>
                    <a:pt x="283" y="119"/>
                  </a:lnTo>
                  <a:lnTo>
                    <a:pt x="279" y="111"/>
                  </a:lnTo>
                  <a:lnTo>
                    <a:pt x="273" y="104"/>
                  </a:lnTo>
                  <a:lnTo>
                    <a:pt x="266" y="97"/>
                  </a:lnTo>
                  <a:lnTo>
                    <a:pt x="258" y="93"/>
                  </a:lnTo>
                  <a:lnTo>
                    <a:pt x="249" y="92"/>
                  </a:lnTo>
                  <a:lnTo>
                    <a:pt x="239" y="9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4519934" y="2279650"/>
              <a:ext cx="163513" cy="182562"/>
            </a:xfrm>
            <a:custGeom>
              <a:avLst/>
              <a:gdLst/>
              <a:ahLst/>
              <a:cxnLst>
                <a:cxn ang="0">
                  <a:pos x="165" y="6"/>
                </a:cxn>
                <a:cxn ang="0">
                  <a:pos x="104" y="32"/>
                </a:cxn>
                <a:cxn ang="0">
                  <a:pos x="76" y="46"/>
                </a:cxn>
                <a:cxn ang="0">
                  <a:pos x="64" y="56"/>
                </a:cxn>
                <a:cxn ang="0">
                  <a:pos x="57" y="81"/>
                </a:cxn>
                <a:cxn ang="0">
                  <a:pos x="56" y="102"/>
                </a:cxn>
                <a:cxn ang="0">
                  <a:pos x="52" y="114"/>
                </a:cxn>
                <a:cxn ang="0">
                  <a:pos x="44" y="128"/>
                </a:cxn>
                <a:cxn ang="0">
                  <a:pos x="30" y="141"/>
                </a:cxn>
                <a:cxn ang="0">
                  <a:pos x="13" y="154"/>
                </a:cxn>
                <a:cxn ang="0">
                  <a:pos x="4" y="165"/>
                </a:cxn>
                <a:cxn ang="0">
                  <a:pos x="0" y="171"/>
                </a:cxn>
                <a:cxn ang="0">
                  <a:pos x="0" y="181"/>
                </a:cxn>
                <a:cxn ang="0">
                  <a:pos x="5" y="189"/>
                </a:cxn>
                <a:cxn ang="0">
                  <a:pos x="18" y="199"/>
                </a:cxn>
                <a:cxn ang="0">
                  <a:pos x="41" y="213"/>
                </a:cxn>
                <a:cxn ang="0">
                  <a:pos x="54" y="225"/>
                </a:cxn>
                <a:cxn ang="0">
                  <a:pos x="60" y="235"/>
                </a:cxn>
                <a:cxn ang="0">
                  <a:pos x="61" y="254"/>
                </a:cxn>
                <a:cxn ang="0">
                  <a:pos x="66" y="278"/>
                </a:cxn>
                <a:cxn ang="0">
                  <a:pos x="80" y="297"/>
                </a:cxn>
                <a:cxn ang="0">
                  <a:pos x="92" y="305"/>
                </a:cxn>
                <a:cxn ang="0">
                  <a:pos x="102" y="307"/>
                </a:cxn>
                <a:cxn ang="0">
                  <a:pos x="118" y="309"/>
                </a:cxn>
                <a:cxn ang="0">
                  <a:pos x="139" y="314"/>
                </a:cxn>
                <a:cxn ang="0">
                  <a:pos x="166" y="329"/>
                </a:cxn>
                <a:cxn ang="0">
                  <a:pos x="202" y="353"/>
                </a:cxn>
                <a:cxn ang="0">
                  <a:pos x="230" y="367"/>
                </a:cxn>
                <a:cxn ang="0">
                  <a:pos x="253" y="373"/>
                </a:cxn>
                <a:cxn ang="0">
                  <a:pos x="279" y="373"/>
                </a:cxn>
                <a:cxn ang="0">
                  <a:pos x="306" y="366"/>
                </a:cxn>
                <a:cxn ang="0">
                  <a:pos x="321" y="355"/>
                </a:cxn>
                <a:cxn ang="0">
                  <a:pos x="329" y="346"/>
                </a:cxn>
                <a:cxn ang="0">
                  <a:pos x="334" y="335"/>
                </a:cxn>
                <a:cxn ang="0">
                  <a:pos x="337" y="321"/>
                </a:cxn>
                <a:cxn ang="0">
                  <a:pos x="335" y="301"/>
                </a:cxn>
                <a:cxn ang="0">
                  <a:pos x="327" y="282"/>
                </a:cxn>
                <a:cxn ang="0">
                  <a:pos x="315" y="267"/>
                </a:cxn>
                <a:cxn ang="0">
                  <a:pos x="307" y="251"/>
                </a:cxn>
                <a:cxn ang="0">
                  <a:pos x="313" y="223"/>
                </a:cxn>
                <a:cxn ang="0">
                  <a:pos x="318" y="167"/>
                </a:cxn>
                <a:cxn ang="0">
                  <a:pos x="318" y="114"/>
                </a:cxn>
                <a:cxn ang="0">
                  <a:pos x="318" y="77"/>
                </a:cxn>
                <a:cxn ang="0">
                  <a:pos x="311" y="52"/>
                </a:cxn>
                <a:cxn ang="0">
                  <a:pos x="299" y="32"/>
                </a:cxn>
                <a:cxn ang="0">
                  <a:pos x="286" y="22"/>
                </a:cxn>
                <a:cxn ang="0">
                  <a:pos x="275" y="20"/>
                </a:cxn>
                <a:cxn ang="0">
                  <a:pos x="265" y="20"/>
                </a:cxn>
                <a:cxn ang="0">
                  <a:pos x="258" y="25"/>
                </a:cxn>
                <a:cxn ang="0">
                  <a:pos x="258" y="38"/>
                </a:cxn>
                <a:cxn ang="0">
                  <a:pos x="249" y="72"/>
                </a:cxn>
                <a:cxn ang="0">
                  <a:pos x="230" y="101"/>
                </a:cxn>
                <a:cxn ang="0">
                  <a:pos x="217" y="116"/>
                </a:cxn>
                <a:cxn ang="0">
                  <a:pos x="206" y="113"/>
                </a:cxn>
                <a:cxn ang="0">
                  <a:pos x="199" y="98"/>
                </a:cxn>
                <a:cxn ang="0">
                  <a:pos x="199" y="82"/>
                </a:cxn>
                <a:cxn ang="0">
                  <a:pos x="206" y="66"/>
                </a:cxn>
                <a:cxn ang="0">
                  <a:pos x="214" y="50"/>
                </a:cxn>
                <a:cxn ang="0">
                  <a:pos x="221" y="33"/>
                </a:cxn>
                <a:cxn ang="0">
                  <a:pos x="222" y="14"/>
                </a:cxn>
                <a:cxn ang="0">
                  <a:pos x="217" y="4"/>
                </a:cxn>
                <a:cxn ang="0">
                  <a:pos x="202" y="0"/>
                </a:cxn>
              </a:cxnLst>
              <a:rect l="0" t="0" r="r" b="b"/>
              <a:pathLst>
                <a:path w="337" h="374">
                  <a:moveTo>
                    <a:pt x="186" y="1"/>
                  </a:moveTo>
                  <a:lnTo>
                    <a:pt x="165" y="6"/>
                  </a:lnTo>
                  <a:lnTo>
                    <a:pt x="125" y="21"/>
                  </a:lnTo>
                  <a:lnTo>
                    <a:pt x="104" y="32"/>
                  </a:lnTo>
                  <a:lnTo>
                    <a:pt x="84" y="41"/>
                  </a:lnTo>
                  <a:lnTo>
                    <a:pt x="76" y="46"/>
                  </a:lnTo>
                  <a:lnTo>
                    <a:pt x="69" y="52"/>
                  </a:lnTo>
                  <a:lnTo>
                    <a:pt x="64" y="56"/>
                  </a:lnTo>
                  <a:lnTo>
                    <a:pt x="60" y="61"/>
                  </a:lnTo>
                  <a:lnTo>
                    <a:pt x="57" y="81"/>
                  </a:lnTo>
                  <a:lnTo>
                    <a:pt x="56" y="96"/>
                  </a:lnTo>
                  <a:lnTo>
                    <a:pt x="56" y="102"/>
                  </a:lnTo>
                  <a:lnTo>
                    <a:pt x="54" y="108"/>
                  </a:lnTo>
                  <a:lnTo>
                    <a:pt x="52" y="114"/>
                  </a:lnTo>
                  <a:lnTo>
                    <a:pt x="48" y="121"/>
                  </a:lnTo>
                  <a:lnTo>
                    <a:pt x="44" y="128"/>
                  </a:lnTo>
                  <a:lnTo>
                    <a:pt x="37" y="134"/>
                  </a:lnTo>
                  <a:lnTo>
                    <a:pt x="30" y="141"/>
                  </a:lnTo>
                  <a:lnTo>
                    <a:pt x="21" y="148"/>
                  </a:lnTo>
                  <a:lnTo>
                    <a:pt x="13" y="154"/>
                  </a:lnTo>
                  <a:lnTo>
                    <a:pt x="6" y="162"/>
                  </a:lnTo>
                  <a:lnTo>
                    <a:pt x="4" y="165"/>
                  </a:lnTo>
                  <a:lnTo>
                    <a:pt x="1" y="169"/>
                  </a:lnTo>
                  <a:lnTo>
                    <a:pt x="0" y="171"/>
                  </a:lnTo>
                  <a:lnTo>
                    <a:pt x="0" y="175"/>
                  </a:lnTo>
                  <a:lnTo>
                    <a:pt x="0" y="181"/>
                  </a:lnTo>
                  <a:lnTo>
                    <a:pt x="2" y="185"/>
                  </a:lnTo>
                  <a:lnTo>
                    <a:pt x="5" y="189"/>
                  </a:lnTo>
                  <a:lnTo>
                    <a:pt x="9" y="193"/>
                  </a:lnTo>
                  <a:lnTo>
                    <a:pt x="18" y="199"/>
                  </a:lnTo>
                  <a:lnTo>
                    <a:pt x="29" y="206"/>
                  </a:lnTo>
                  <a:lnTo>
                    <a:pt x="41" y="213"/>
                  </a:lnTo>
                  <a:lnTo>
                    <a:pt x="50" y="219"/>
                  </a:lnTo>
                  <a:lnTo>
                    <a:pt x="54" y="225"/>
                  </a:lnTo>
                  <a:lnTo>
                    <a:pt x="57" y="229"/>
                  </a:lnTo>
                  <a:lnTo>
                    <a:pt x="60" y="235"/>
                  </a:lnTo>
                  <a:lnTo>
                    <a:pt x="60" y="241"/>
                  </a:lnTo>
                  <a:lnTo>
                    <a:pt x="61" y="254"/>
                  </a:lnTo>
                  <a:lnTo>
                    <a:pt x="62" y="267"/>
                  </a:lnTo>
                  <a:lnTo>
                    <a:pt x="66" y="278"/>
                  </a:lnTo>
                  <a:lnTo>
                    <a:pt x="73" y="287"/>
                  </a:lnTo>
                  <a:lnTo>
                    <a:pt x="80" y="297"/>
                  </a:lnTo>
                  <a:lnTo>
                    <a:pt x="88" y="302"/>
                  </a:lnTo>
                  <a:lnTo>
                    <a:pt x="92" y="305"/>
                  </a:lnTo>
                  <a:lnTo>
                    <a:pt x="97" y="306"/>
                  </a:lnTo>
                  <a:lnTo>
                    <a:pt x="102" y="307"/>
                  </a:lnTo>
                  <a:lnTo>
                    <a:pt x="108" y="307"/>
                  </a:lnTo>
                  <a:lnTo>
                    <a:pt x="118" y="309"/>
                  </a:lnTo>
                  <a:lnTo>
                    <a:pt x="129" y="310"/>
                  </a:lnTo>
                  <a:lnTo>
                    <a:pt x="139" y="314"/>
                  </a:lnTo>
                  <a:lnTo>
                    <a:pt x="149" y="318"/>
                  </a:lnTo>
                  <a:lnTo>
                    <a:pt x="166" y="329"/>
                  </a:lnTo>
                  <a:lnTo>
                    <a:pt x="183" y="341"/>
                  </a:lnTo>
                  <a:lnTo>
                    <a:pt x="202" y="353"/>
                  </a:lnTo>
                  <a:lnTo>
                    <a:pt x="221" y="363"/>
                  </a:lnTo>
                  <a:lnTo>
                    <a:pt x="230" y="367"/>
                  </a:lnTo>
                  <a:lnTo>
                    <a:pt x="241" y="371"/>
                  </a:lnTo>
                  <a:lnTo>
                    <a:pt x="253" y="373"/>
                  </a:lnTo>
                  <a:lnTo>
                    <a:pt x="265" y="374"/>
                  </a:lnTo>
                  <a:lnTo>
                    <a:pt x="279" y="373"/>
                  </a:lnTo>
                  <a:lnTo>
                    <a:pt x="293" y="370"/>
                  </a:lnTo>
                  <a:lnTo>
                    <a:pt x="306" y="366"/>
                  </a:lnTo>
                  <a:lnTo>
                    <a:pt x="317" y="359"/>
                  </a:lnTo>
                  <a:lnTo>
                    <a:pt x="321" y="355"/>
                  </a:lnTo>
                  <a:lnTo>
                    <a:pt x="325" y="351"/>
                  </a:lnTo>
                  <a:lnTo>
                    <a:pt x="329" y="346"/>
                  </a:lnTo>
                  <a:lnTo>
                    <a:pt x="331" y="341"/>
                  </a:lnTo>
                  <a:lnTo>
                    <a:pt x="334" y="335"/>
                  </a:lnTo>
                  <a:lnTo>
                    <a:pt x="335" y="329"/>
                  </a:lnTo>
                  <a:lnTo>
                    <a:pt x="337" y="321"/>
                  </a:lnTo>
                  <a:lnTo>
                    <a:pt x="337" y="314"/>
                  </a:lnTo>
                  <a:lnTo>
                    <a:pt x="335" y="301"/>
                  </a:lnTo>
                  <a:lnTo>
                    <a:pt x="331" y="291"/>
                  </a:lnTo>
                  <a:lnTo>
                    <a:pt x="327" y="282"/>
                  </a:lnTo>
                  <a:lnTo>
                    <a:pt x="322" y="275"/>
                  </a:lnTo>
                  <a:lnTo>
                    <a:pt x="315" y="267"/>
                  </a:lnTo>
                  <a:lnTo>
                    <a:pt x="311" y="261"/>
                  </a:lnTo>
                  <a:lnTo>
                    <a:pt x="307" y="251"/>
                  </a:lnTo>
                  <a:lnTo>
                    <a:pt x="306" y="241"/>
                  </a:lnTo>
                  <a:lnTo>
                    <a:pt x="313" y="223"/>
                  </a:lnTo>
                  <a:lnTo>
                    <a:pt x="318" y="211"/>
                  </a:lnTo>
                  <a:lnTo>
                    <a:pt x="318" y="167"/>
                  </a:lnTo>
                  <a:lnTo>
                    <a:pt x="318" y="137"/>
                  </a:lnTo>
                  <a:lnTo>
                    <a:pt x="318" y="114"/>
                  </a:lnTo>
                  <a:lnTo>
                    <a:pt x="318" y="90"/>
                  </a:lnTo>
                  <a:lnTo>
                    <a:pt x="318" y="77"/>
                  </a:lnTo>
                  <a:lnTo>
                    <a:pt x="315" y="65"/>
                  </a:lnTo>
                  <a:lnTo>
                    <a:pt x="311" y="52"/>
                  </a:lnTo>
                  <a:lnTo>
                    <a:pt x="306" y="41"/>
                  </a:lnTo>
                  <a:lnTo>
                    <a:pt x="299" y="32"/>
                  </a:lnTo>
                  <a:lnTo>
                    <a:pt x="290" y="25"/>
                  </a:lnTo>
                  <a:lnTo>
                    <a:pt x="286" y="22"/>
                  </a:lnTo>
                  <a:lnTo>
                    <a:pt x="281" y="20"/>
                  </a:lnTo>
                  <a:lnTo>
                    <a:pt x="275" y="20"/>
                  </a:lnTo>
                  <a:lnTo>
                    <a:pt x="270" y="18"/>
                  </a:lnTo>
                  <a:lnTo>
                    <a:pt x="265" y="20"/>
                  </a:lnTo>
                  <a:lnTo>
                    <a:pt x="261" y="21"/>
                  </a:lnTo>
                  <a:lnTo>
                    <a:pt x="258" y="25"/>
                  </a:lnTo>
                  <a:lnTo>
                    <a:pt x="258" y="29"/>
                  </a:lnTo>
                  <a:lnTo>
                    <a:pt x="258" y="38"/>
                  </a:lnTo>
                  <a:lnTo>
                    <a:pt x="258" y="49"/>
                  </a:lnTo>
                  <a:lnTo>
                    <a:pt x="249" y="72"/>
                  </a:lnTo>
                  <a:lnTo>
                    <a:pt x="237" y="92"/>
                  </a:lnTo>
                  <a:lnTo>
                    <a:pt x="230" y="101"/>
                  </a:lnTo>
                  <a:lnTo>
                    <a:pt x="223" y="109"/>
                  </a:lnTo>
                  <a:lnTo>
                    <a:pt x="217" y="116"/>
                  </a:lnTo>
                  <a:lnTo>
                    <a:pt x="210" y="121"/>
                  </a:lnTo>
                  <a:lnTo>
                    <a:pt x="206" y="113"/>
                  </a:lnTo>
                  <a:lnTo>
                    <a:pt x="202" y="106"/>
                  </a:lnTo>
                  <a:lnTo>
                    <a:pt x="199" y="98"/>
                  </a:lnTo>
                  <a:lnTo>
                    <a:pt x="198" y="90"/>
                  </a:lnTo>
                  <a:lnTo>
                    <a:pt x="199" y="82"/>
                  </a:lnTo>
                  <a:lnTo>
                    <a:pt x="202" y="74"/>
                  </a:lnTo>
                  <a:lnTo>
                    <a:pt x="206" y="66"/>
                  </a:lnTo>
                  <a:lnTo>
                    <a:pt x="210" y="58"/>
                  </a:lnTo>
                  <a:lnTo>
                    <a:pt x="214" y="50"/>
                  </a:lnTo>
                  <a:lnTo>
                    <a:pt x="218" y="42"/>
                  </a:lnTo>
                  <a:lnTo>
                    <a:pt x="221" y="33"/>
                  </a:lnTo>
                  <a:lnTo>
                    <a:pt x="222" y="25"/>
                  </a:lnTo>
                  <a:lnTo>
                    <a:pt x="222" y="14"/>
                  </a:lnTo>
                  <a:lnTo>
                    <a:pt x="219" y="8"/>
                  </a:lnTo>
                  <a:lnTo>
                    <a:pt x="217" y="4"/>
                  </a:lnTo>
                  <a:lnTo>
                    <a:pt x="213" y="1"/>
                  </a:lnTo>
                  <a:lnTo>
                    <a:pt x="202" y="0"/>
                  </a:lnTo>
                  <a:lnTo>
                    <a:pt x="186" y="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4689797" y="2365375"/>
              <a:ext cx="142875" cy="203200"/>
            </a:xfrm>
            <a:custGeom>
              <a:avLst/>
              <a:gdLst/>
              <a:ahLst/>
              <a:cxnLst>
                <a:cxn ang="0">
                  <a:pos x="133" y="35"/>
                </a:cxn>
                <a:cxn ang="0">
                  <a:pos x="132" y="19"/>
                </a:cxn>
                <a:cxn ang="0">
                  <a:pos x="128" y="11"/>
                </a:cxn>
                <a:cxn ang="0">
                  <a:pos x="121" y="4"/>
                </a:cxn>
                <a:cxn ang="0">
                  <a:pos x="113" y="0"/>
                </a:cxn>
                <a:cxn ang="0">
                  <a:pos x="105" y="2"/>
                </a:cxn>
                <a:cxn ang="0">
                  <a:pos x="92" y="16"/>
                </a:cxn>
                <a:cxn ang="0">
                  <a:pos x="71" y="46"/>
                </a:cxn>
                <a:cxn ang="0">
                  <a:pos x="61" y="120"/>
                </a:cxn>
                <a:cxn ang="0">
                  <a:pos x="45" y="203"/>
                </a:cxn>
                <a:cxn ang="0">
                  <a:pos x="36" y="238"/>
                </a:cxn>
                <a:cxn ang="0">
                  <a:pos x="24" y="271"/>
                </a:cxn>
                <a:cxn ang="0">
                  <a:pos x="20" y="331"/>
                </a:cxn>
                <a:cxn ang="0">
                  <a:pos x="12" y="348"/>
                </a:cxn>
                <a:cxn ang="0">
                  <a:pos x="3" y="380"/>
                </a:cxn>
                <a:cxn ang="0">
                  <a:pos x="1" y="404"/>
                </a:cxn>
                <a:cxn ang="0">
                  <a:pos x="5" y="414"/>
                </a:cxn>
                <a:cxn ang="0">
                  <a:pos x="12" y="419"/>
                </a:cxn>
                <a:cxn ang="0">
                  <a:pos x="20" y="422"/>
                </a:cxn>
                <a:cxn ang="0">
                  <a:pos x="33" y="420"/>
                </a:cxn>
                <a:cxn ang="0">
                  <a:pos x="47" y="414"/>
                </a:cxn>
                <a:cxn ang="0">
                  <a:pos x="64" y="396"/>
                </a:cxn>
                <a:cxn ang="0">
                  <a:pos x="84" y="375"/>
                </a:cxn>
                <a:cxn ang="0">
                  <a:pos x="111" y="356"/>
                </a:cxn>
                <a:cxn ang="0">
                  <a:pos x="140" y="342"/>
                </a:cxn>
                <a:cxn ang="0">
                  <a:pos x="172" y="330"/>
                </a:cxn>
                <a:cxn ang="0">
                  <a:pos x="205" y="318"/>
                </a:cxn>
                <a:cxn ang="0">
                  <a:pos x="241" y="296"/>
                </a:cxn>
                <a:cxn ang="0">
                  <a:pos x="264" y="275"/>
                </a:cxn>
                <a:cxn ang="0">
                  <a:pos x="276" y="259"/>
                </a:cxn>
                <a:cxn ang="0">
                  <a:pos x="284" y="239"/>
                </a:cxn>
                <a:cxn ang="0">
                  <a:pos x="289" y="216"/>
                </a:cxn>
                <a:cxn ang="0">
                  <a:pos x="289" y="196"/>
                </a:cxn>
                <a:cxn ang="0">
                  <a:pos x="283" y="178"/>
                </a:cxn>
                <a:cxn ang="0">
                  <a:pos x="265" y="146"/>
                </a:cxn>
                <a:cxn ang="0">
                  <a:pos x="233" y="107"/>
                </a:cxn>
                <a:cxn ang="0">
                  <a:pos x="208" y="86"/>
                </a:cxn>
                <a:cxn ang="0">
                  <a:pos x="193" y="79"/>
                </a:cxn>
                <a:cxn ang="0">
                  <a:pos x="180" y="79"/>
                </a:cxn>
                <a:cxn ang="0">
                  <a:pos x="167" y="82"/>
                </a:cxn>
                <a:cxn ang="0">
                  <a:pos x="156" y="88"/>
                </a:cxn>
                <a:cxn ang="0">
                  <a:pos x="148" y="96"/>
                </a:cxn>
                <a:cxn ang="0">
                  <a:pos x="139" y="112"/>
                </a:cxn>
                <a:cxn ang="0">
                  <a:pos x="133" y="138"/>
                </a:cxn>
                <a:cxn ang="0">
                  <a:pos x="115" y="151"/>
                </a:cxn>
                <a:cxn ang="0">
                  <a:pos x="117" y="103"/>
                </a:cxn>
                <a:cxn ang="0">
                  <a:pos x="131" y="54"/>
                </a:cxn>
              </a:cxnLst>
              <a:rect l="0" t="0" r="r" b="b"/>
              <a:pathLst>
                <a:path w="289" h="422">
                  <a:moveTo>
                    <a:pt x="133" y="42"/>
                  </a:moveTo>
                  <a:lnTo>
                    <a:pt x="133" y="35"/>
                  </a:lnTo>
                  <a:lnTo>
                    <a:pt x="133" y="24"/>
                  </a:lnTo>
                  <a:lnTo>
                    <a:pt x="132" y="19"/>
                  </a:lnTo>
                  <a:lnTo>
                    <a:pt x="131" y="15"/>
                  </a:lnTo>
                  <a:lnTo>
                    <a:pt x="128" y="11"/>
                  </a:lnTo>
                  <a:lnTo>
                    <a:pt x="125" y="7"/>
                  </a:lnTo>
                  <a:lnTo>
                    <a:pt x="121" y="4"/>
                  </a:lnTo>
                  <a:lnTo>
                    <a:pt x="117" y="2"/>
                  </a:lnTo>
                  <a:lnTo>
                    <a:pt x="113" y="0"/>
                  </a:lnTo>
                  <a:lnTo>
                    <a:pt x="109" y="0"/>
                  </a:lnTo>
                  <a:lnTo>
                    <a:pt x="105" y="2"/>
                  </a:lnTo>
                  <a:lnTo>
                    <a:pt x="100" y="7"/>
                  </a:lnTo>
                  <a:lnTo>
                    <a:pt x="92" y="16"/>
                  </a:lnTo>
                  <a:lnTo>
                    <a:pt x="85" y="26"/>
                  </a:lnTo>
                  <a:lnTo>
                    <a:pt x="71" y="46"/>
                  </a:lnTo>
                  <a:lnTo>
                    <a:pt x="61" y="60"/>
                  </a:lnTo>
                  <a:lnTo>
                    <a:pt x="61" y="120"/>
                  </a:lnTo>
                  <a:lnTo>
                    <a:pt x="52" y="163"/>
                  </a:lnTo>
                  <a:lnTo>
                    <a:pt x="45" y="203"/>
                  </a:lnTo>
                  <a:lnTo>
                    <a:pt x="41" y="220"/>
                  </a:lnTo>
                  <a:lnTo>
                    <a:pt x="36" y="238"/>
                  </a:lnTo>
                  <a:lnTo>
                    <a:pt x="31" y="255"/>
                  </a:lnTo>
                  <a:lnTo>
                    <a:pt x="24" y="271"/>
                  </a:lnTo>
                  <a:lnTo>
                    <a:pt x="24" y="326"/>
                  </a:lnTo>
                  <a:lnTo>
                    <a:pt x="20" y="331"/>
                  </a:lnTo>
                  <a:lnTo>
                    <a:pt x="16" y="339"/>
                  </a:lnTo>
                  <a:lnTo>
                    <a:pt x="12" y="348"/>
                  </a:lnTo>
                  <a:lnTo>
                    <a:pt x="8" y="359"/>
                  </a:lnTo>
                  <a:lnTo>
                    <a:pt x="3" y="380"/>
                  </a:lnTo>
                  <a:lnTo>
                    <a:pt x="0" y="398"/>
                  </a:lnTo>
                  <a:lnTo>
                    <a:pt x="1" y="404"/>
                  </a:lnTo>
                  <a:lnTo>
                    <a:pt x="3" y="408"/>
                  </a:lnTo>
                  <a:lnTo>
                    <a:pt x="5" y="414"/>
                  </a:lnTo>
                  <a:lnTo>
                    <a:pt x="8" y="416"/>
                  </a:lnTo>
                  <a:lnTo>
                    <a:pt x="12" y="419"/>
                  </a:lnTo>
                  <a:lnTo>
                    <a:pt x="16" y="420"/>
                  </a:lnTo>
                  <a:lnTo>
                    <a:pt x="20" y="422"/>
                  </a:lnTo>
                  <a:lnTo>
                    <a:pt x="24" y="422"/>
                  </a:lnTo>
                  <a:lnTo>
                    <a:pt x="33" y="420"/>
                  </a:lnTo>
                  <a:lnTo>
                    <a:pt x="40" y="418"/>
                  </a:lnTo>
                  <a:lnTo>
                    <a:pt x="47" y="414"/>
                  </a:lnTo>
                  <a:lnTo>
                    <a:pt x="53" y="408"/>
                  </a:lnTo>
                  <a:lnTo>
                    <a:pt x="64" y="396"/>
                  </a:lnTo>
                  <a:lnTo>
                    <a:pt x="73" y="386"/>
                  </a:lnTo>
                  <a:lnTo>
                    <a:pt x="84" y="375"/>
                  </a:lnTo>
                  <a:lnTo>
                    <a:pt x="97" y="366"/>
                  </a:lnTo>
                  <a:lnTo>
                    <a:pt x="111" y="356"/>
                  </a:lnTo>
                  <a:lnTo>
                    <a:pt x="125" y="348"/>
                  </a:lnTo>
                  <a:lnTo>
                    <a:pt x="140" y="342"/>
                  </a:lnTo>
                  <a:lnTo>
                    <a:pt x="156" y="335"/>
                  </a:lnTo>
                  <a:lnTo>
                    <a:pt x="172" y="330"/>
                  </a:lnTo>
                  <a:lnTo>
                    <a:pt x="187" y="326"/>
                  </a:lnTo>
                  <a:lnTo>
                    <a:pt x="205" y="318"/>
                  </a:lnTo>
                  <a:lnTo>
                    <a:pt x="224" y="308"/>
                  </a:lnTo>
                  <a:lnTo>
                    <a:pt x="241" y="296"/>
                  </a:lnTo>
                  <a:lnTo>
                    <a:pt x="256" y="283"/>
                  </a:lnTo>
                  <a:lnTo>
                    <a:pt x="264" y="275"/>
                  </a:lnTo>
                  <a:lnTo>
                    <a:pt x="269" y="267"/>
                  </a:lnTo>
                  <a:lnTo>
                    <a:pt x="276" y="259"/>
                  </a:lnTo>
                  <a:lnTo>
                    <a:pt x="280" y="248"/>
                  </a:lnTo>
                  <a:lnTo>
                    <a:pt x="284" y="239"/>
                  </a:lnTo>
                  <a:lnTo>
                    <a:pt x="287" y="228"/>
                  </a:lnTo>
                  <a:lnTo>
                    <a:pt x="289" y="216"/>
                  </a:lnTo>
                  <a:lnTo>
                    <a:pt x="289" y="204"/>
                  </a:lnTo>
                  <a:lnTo>
                    <a:pt x="289" y="196"/>
                  </a:lnTo>
                  <a:lnTo>
                    <a:pt x="287" y="187"/>
                  </a:lnTo>
                  <a:lnTo>
                    <a:pt x="283" y="178"/>
                  </a:lnTo>
                  <a:lnTo>
                    <a:pt x="277" y="167"/>
                  </a:lnTo>
                  <a:lnTo>
                    <a:pt x="265" y="146"/>
                  </a:lnTo>
                  <a:lnTo>
                    <a:pt x="249" y="126"/>
                  </a:lnTo>
                  <a:lnTo>
                    <a:pt x="233" y="107"/>
                  </a:lnTo>
                  <a:lnTo>
                    <a:pt x="216" y="92"/>
                  </a:lnTo>
                  <a:lnTo>
                    <a:pt x="208" y="86"/>
                  </a:lnTo>
                  <a:lnTo>
                    <a:pt x="200" y="82"/>
                  </a:lnTo>
                  <a:lnTo>
                    <a:pt x="193" y="79"/>
                  </a:lnTo>
                  <a:lnTo>
                    <a:pt x="187" y="78"/>
                  </a:lnTo>
                  <a:lnTo>
                    <a:pt x="180" y="79"/>
                  </a:lnTo>
                  <a:lnTo>
                    <a:pt x="173" y="80"/>
                  </a:lnTo>
                  <a:lnTo>
                    <a:pt x="167" y="82"/>
                  </a:lnTo>
                  <a:lnTo>
                    <a:pt x="161" y="84"/>
                  </a:lnTo>
                  <a:lnTo>
                    <a:pt x="156" y="88"/>
                  </a:lnTo>
                  <a:lnTo>
                    <a:pt x="152" y="91"/>
                  </a:lnTo>
                  <a:lnTo>
                    <a:pt x="148" y="96"/>
                  </a:lnTo>
                  <a:lnTo>
                    <a:pt x="144" y="100"/>
                  </a:lnTo>
                  <a:lnTo>
                    <a:pt x="139" y="112"/>
                  </a:lnTo>
                  <a:lnTo>
                    <a:pt x="136" y="124"/>
                  </a:lnTo>
                  <a:lnTo>
                    <a:pt x="133" y="138"/>
                  </a:lnTo>
                  <a:lnTo>
                    <a:pt x="133" y="151"/>
                  </a:lnTo>
                  <a:lnTo>
                    <a:pt x="115" y="151"/>
                  </a:lnTo>
                  <a:lnTo>
                    <a:pt x="115" y="115"/>
                  </a:lnTo>
                  <a:lnTo>
                    <a:pt x="117" y="103"/>
                  </a:lnTo>
                  <a:lnTo>
                    <a:pt x="124" y="78"/>
                  </a:lnTo>
                  <a:lnTo>
                    <a:pt x="131" y="54"/>
                  </a:lnTo>
                  <a:lnTo>
                    <a:pt x="133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395609" y="4913313"/>
              <a:ext cx="358775" cy="461962"/>
            </a:xfrm>
            <a:custGeom>
              <a:avLst/>
              <a:gdLst/>
              <a:ahLst/>
              <a:cxnLst>
                <a:cxn ang="0">
                  <a:pos x="712" y="569"/>
                </a:cxn>
                <a:cxn ang="0">
                  <a:pos x="684" y="576"/>
                </a:cxn>
                <a:cxn ang="0">
                  <a:pos x="656" y="552"/>
                </a:cxn>
                <a:cxn ang="0">
                  <a:pos x="627" y="575"/>
                </a:cxn>
                <a:cxn ang="0">
                  <a:pos x="596" y="643"/>
                </a:cxn>
                <a:cxn ang="0">
                  <a:pos x="605" y="659"/>
                </a:cxn>
                <a:cxn ang="0">
                  <a:pos x="625" y="672"/>
                </a:cxn>
                <a:cxn ang="0">
                  <a:pos x="627" y="759"/>
                </a:cxn>
                <a:cxn ang="0">
                  <a:pos x="575" y="819"/>
                </a:cxn>
                <a:cxn ang="0">
                  <a:pos x="560" y="879"/>
                </a:cxn>
                <a:cxn ang="0">
                  <a:pos x="520" y="927"/>
                </a:cxn>
                <a:cxn ang="0">
                  <a:pos x="463" y="929"/>
                </a:cxn>
                <a:cxn ang="0">
                  <a:pos x="436" y="893"/>
                </a:cxn>
                <a:cxn ang="0">
                  <a:pos x="412" y="869"/>
                </a:cxn>
                <a:cxn ang="0">
                  <a:pos x="365" y="869"/>
                </a:cxn>
                <a:cxn ang="0">
                  <a:pos x="301" y="903"/>
                </a:cxn>
                <a:cxn ang="0">
                  <a:pos x="277" y="941"/>
                </a:cxn>
                <a:cxn ang="0">
                  <a:pos x="258" y="937"/>
                </a:cxn>
                <a:cxn ang="0">
                  <a:pos x="204" y="875"/>
                </a:cxn>
                <a:cxn ang="0">
                  <a:pos x="178" y="872"/>
                </a:cxn>
                <a:cxn ang="0">
                  <a:pos x="150" y="819"/>
                </a:cxn>
                <a:cxn ang="0">
                  <a:pos x="134" y="676"/>
                </a:cxn>
                <a:cxn ang="0">
                  <a:pos x="120" y="580"/>
                </a:cxn>
                <a:cxn ang="0">
                  <a:pos x="80" y="519"/>
                </a:cxn>
                <a:cxn ang="0">
                  <a:pos x="71" y="494"/>
                </a:cxn>
                <a:cxn ang="0">
                  <a:pos x="83" y="471"/>
                </a:cxn>
                <a:cxn ang="0">
                  <a:pos x="72" y="412"/>
                </a:cxn>
                <a:cxn ang="0">
                  <a:pos x="34" y="314"/>
                </a:cxn>
                <a:cxn ang="0">
                  <a:pos x="28" y="227"/>
                </a:cxn>
                <a:cxn ang="0">
                  <a:pos x="10" y="155"/>
                </a:cxn>
                <a:cxn ang="0">
                  <a:pos x="136" y="219"/>
                </a:cxn>
                <a:cxn ang="0">
                  <a:pos x="171" y="230"/>
                </a:cxn>
                <a:cxn ang="0">
                  <a:pos x="206" y="204"/>
                </a:cxn>
                <a:cxn ang="0">
                  <a:pos x="236" y="158"/>
                </a:cxn>
                <a:cxn ang="0">
                  <a:pos x="262" y="147"/>
                </a:cxn>
                <a:cxn ang="0">
                  <a:pos x="324" y="160"/>
                </a:cxn>
                <a:cxn ang="0">
                  <a:pos x="403" y="188"/>
                </a:cxn>
                <a:cxn ang="0">
                  <a:pos x="411" y="143"/>
                </a:cxn>
                <a:cxn ang="0">
                  <a:pos x="371" y="80"/>
                </a:cxn>
                <a:cxn ang="0">
                  <a:pos x="369" y="46"/>
                </a:cxn>
                <a:cxn ang="0">
                  <a:pos x="388" y="2"/>
                </a:cxn>
                <a:cxn ang="0">
                  <a:pos x="428" y="30"/>
                </a:cxn>
                <a:cxn ang="0">
                  <a:pos x="485" y="62"/>
                </a:cxn>
                <a:cxn ang="0">
                  <a:pos x="560" y="83"/>
                </a:cxn>
                <a:cxn ang="0">
                  <a:pos x="559" y="156"/>
                </a:cxn>
                <a:cxn ang="0">
                  <a:pos x="608" y="171"/>
                </a:cxn>
                <a:cxn ang="0">
                  <a:pos x="671" y="192"/>
                </a:cxn>
                <a:cxn ang="0">
                  <a:pos x="712" y="228"/>
                </a:cxn>
                <a:cxn ang="0">
                  <a:pos x="713" y="264"/>
                </a:cxn>
                <a:cxn ang="0">
                  <a:pos x="681" y="315"/>
                </a:cxn>
                <a:cxn ang="0">
                  <a:pos x="675" y="358"/>
                </a:cxn>
                <a:cxn ang="0">
                  <a:pos x="708" y="407"/>
                </a:cxn>
                <a:cxn ang="0">
                  <a:pos x="740" y="450"/>
                </a:cxn>
                <a:cxn ang="0">
                  <a:pos x="729" y="542"/>
                </a:cxn>
              </a:cxnLst>
              <a:rect l="0" t="0" r="r" b="b"/>
              <a:pathLst>
                <a:path w="741" h="951">
                  <a:moveTo>
                    <a:pt x="716" y="554"/>
                  </a:moveTo>
                  <a:lnTo>
                    <a:pt x="716" y="558"/>
                  </a:lnTo>
                  <a:lnTo>
                    <a:pt x="716" y="561"/>
                  </a:lnTo>
                  <a:lnTo>
                    <a:pt x="713" y="565"/>
                  </a:lnTo>
                  <a:lnTo>
                    <a:pt x="712" y="569"/>
                  </a:lnTo>
                  <a:lnTo>
                    <a:pt x="708" y="572"/>
                  </a:lnTo>
                  <a:lnTo>
                    <a:pt x="704" y="575"/>
                  </a:lnTo>
                  <a:lnTo>
                    <a:pt x="699" y="576"/>
                  </a:lnTo>
                  <a:lnTo>
                    <a:pt x="692" y="577"/>
                  </a:lnTo>
                  <a:lnTo>
                    <a:pt x="684" y="576"/>
                  </a:lnTo>
                  <a:lnTo>
                    <a:pt x="677" y="572"/>
                  </a:lnTo>
                  <a:lnTo>
                    <a:pt x="672" y="568"/>
                  </a:lnTo>
                  <a:lnTo>
                    <a:pt x="667" y="561"/>
                  </a:lnTo>
                  <a:lnTo>
                    <a:pt x="661" y="556"/>
                  </a:lnTo>
                  <a:lnTo>
                    <a:pt x="656" y="552"/>
                  </a:lnTo>
                  <a:lnTo>
                    <a:pt x="651" y="548"/>
                  </a:lnTo>
                  <a:lnTo>
                    <a:pt x="644" y="547"/>
                  </a:lnTo>
                  <a:lnTo>
                    <a:pt x="640" y="551"/>
                  </a:lnTo>
                  <a:lnTo>
                    <a:pt x="635" y="560"/>
                  </a:lnTo>
                  <a:lnTo>
                    <a:pt x="627" y="575"/>
                  </a:lnTo>
                  <a:lnTo>
                    <a:pt x="619" y="591"/>
                  </a:lnTo>
                  <a:lnTo>
                    <a:pt x="609" y="608"/>
                  </a:lnTo>
                  <a:lnTo>
                    <a:pt x="603" y="623"/>
                  </a:lnTo>
                  <a:lnTo>
                    <a:pt x="597" y="636"/>
                  </a:lnTo>
                  <a:lnTo>
                    <a:pt x="596" y="643"/>
                  </a:lnTo>
                  <a:lnTo>
                    <a:pt x="596" y="648"/>
                  </a:lnTo>
                  <a:lnTo>
                    <a:pt x="597" y="651"/>
                  </a:lnTo>
                  <a:lnTo>
                    <a:pt x="599" y="653"/>
                  </a:lnTo>
                  <a:lnTo>
                    <a:pt x="601" y="656"/>
                  </a:lnTo>
                  <a:lnTo>
                    <a:pt x="605" y="659"/>
                  </a:lnTo>
                  <a:lnTo>
                    <a:pt x="611" y="661"/>
                  </a:lnTo>
                  <a:lnTo>
                    <a:pt x="617" y="664"/>
                  </a:lnTo>
                  <a:lnTo>
                    <a:pt x="621" y="667"/>
                  </a:lnTo>
                  <a:lnTo>
                    <a:pt x="624" y="669"/>
                  </a:lnTo>
                  <a:lnTo>
                    <a:pt x="625" y="672"/>
                  </a:lnTo>
                  <a:lnTo>
                    <a:pt x="625" y="675"/>
                  </a:lnTo>
                  <a:lnTo>
                    <a:pt x="627" y="680"/>
                  </a:lnTo>
                  <a:lnTo>
                    <a:pt x="627" y="705"/>
                  </a:lnTo>
                  <a:lnTo>
                    <a:pt x="627" y="729"/>
                  </a:lnTo>
                  <a:lnTo>
                    <a:pt x="627" y="759"/>
                  </a:lnTo>
                  <a:lnTo>
                    <a:pt x="627" y="793"/>
                  </a:lnTo>
                  <a:lnTo>
                    <a:pt x="609" y="799"/>
                  </a:lnTo>
                  <a:lnTo>
                    <a:pt x="596" y="804"/>
                  </a:lnTo>
                  <a:lnTo>
                    <a:pt x="584" y="811"/>
                  </a:lnTo>
                  <a:lnTo>
                    <a:pt x="575" y="819"/>
                  </a:lnTo>
                  <a:lnTo>
                    <a:pt x="568" y="828"/>
                  </a:lnTo>
                  <a:lnTo>
                    <a:pt x="564" y="839"/>
                  </a:lnTo>
                  <a:lnTo>
                    <a:pt x="561" y="852"/>
                  </a:lnTo>
                  <a:lnTo>
                    <a:pt x="560" y="867"/>
                  </a:lnTo>
                  <a:lnTo>
                    <a:pt x="560" y="879"/>
                  </a:lnTo>
                  <a:lnTo>
                    <a:pt x="553" y="892"/>
                  </a:lnTo>
                  <a:lnTo>
                    <a:pt x="547" y="904"/>
                  </a:lnTo>
                  <a:lnTo>
                    <a:pt x="539" y="913"/>
                  </a:lnTo>
                  <a:lnTo>
                    <a:pt x="529" y="921"/>
                  </a:lnTo>
                  <a:lnTo>
                    <a:pt x="520" y="927"/>
                  </a:lnTo>
                  <a:lnTo>
                    <a:pt x="509" y="929"/>
                  </a:lnTo>
                  <a:lnTo>
                    <a:pt x="496" y="932"/>
                  </a:lnTo>
                  <a:lnTo>
                    <a:pt x="481" y="932"/>
                  </a:lnTo>
                  <a:lnTo>
                    <a:pt x="472" y="932"/>
                  </a:lnTo>
                  <a:lnTo>
                    <a:pt x="463" y="929"/>
                  </a:lnTo>
                  <a:lnTo>
                    <a:pt x="457" y="927"/>
                  </a:lnTo>
                  <a:lnTo>
                    <a:pt x="452" y="923"/>
                  </a:lnTo>
                  <a:lnTo>
                    <a:pt x="444" y="912"/>
                  </a:lnTo>
                  <a:lnTo>
                    <a:pt x="439" y="899"/>
                  </a:lnTo>
                  <a:lnTo>
                    <a:pt x="436" y="893"/>
                  </a:lnTo>
                  <a:lnTo>
                    <a:pt x="433" y="887"/>
                  </a:lnTo>
                  <a:lnTo>
                    <a:pt x="429" y="881"/>
                  </a:lnTo>
                  <a:lnTo>
                    <a:pt x="425" y="876"/>
                  </a:lnTo>
                  <a:lnTo>
                    <a:pt x="419" y="872"/>
                  </a:lnTo>
                  <a:lnTo>
                    <a:pt x="412" y="869"/>
                  </a:lnTo>
                  <a:lnTo>
                    <a:pt x="403" y="867"/>
                  </a:lnTo>
                  <a:lnTo>
                    <a:pt x="392" y="867"/>
                  </a:lnTo>
                  <a:lnTo>
                    <a:pt x="383" y="867"/>
                  </a:lnTo>
                  <a:lnTo>
                    <a:pt x="375" y="868"/>
                  </a:lnTo>
                  <a:lnTo>
                    <a:pt x="365" y="869"/>
                  </a:lnTo>
                  <a:lnTo>
                    <a:pt x="356" y="872"/>
                  </a:lnTo>
                  <a:lnTo>
                    <a:pt x="336" y="880"/>
                  </a:lnTo>
                  <a:lnTo>
                    <a:pt x="319" y="891"/>
                  </a:lnTo>
                  <a:lnTo>
                    <a:pt x="309" y="896"/>
                  </a:lnTo>
                  <a:lnTo>
                    <a:pt x="301" y="903"/>
                  </a:lnTo>
                  <a:lnTo>
                    <a:pt x="295" y="909"/>
                  </a:lnTo>
                  <a:lnTo>
                    <a:pt x="289" y="917"/>
                  </a:lnTo>
                  <a:lnTo>
                    <a:pt x="284" y="925"/>
                  </a:lnTo>
                  <a:lnTo>
                    <a:pt x="280" y="933"/>
                  </a:lnTo>
                  <a:lnTo>
                    <a:pt x="277" y="941"/>
                  </a:lnTo>
                  <a:lnTo>
                    <a:pt x="277" y="951"/>
                  </a:lnTo>
                  <a:lnTo>
                    <a:pt x="272" y="949"/>
                  </a:lnTo>
                  <a:lnTo>
                    <a:pt x="268" y="945"/>
                  </a:lnTo>
                  <a:lnTo>
                    <a:pt x="263" y="943"/>
                  </a:lnTo>
                  <a:lnTo>
                    <a:pt x="258" y="937"/>
                  </a:lnTo>
                  <a:lnTo>
                    <a:pt x="247" y="927"/>
                  </a:lnTo>
                  <a:lnTo>
                    <a:pt x="238" y="915"/>
                  </a:lnTo>
                  <a:lnTo>
                    <a:pt x="220" y="891"/>
                  </a:lnTo>
                  <a:lnTo>
                    <a:pt x="211" y="879"/>
                  </a:lnTo>
                  <a:lnTo>
                    <a:pt x="204" y="875"/>
                  </a:lnTo>
                  <a:lnTo>
                    <a:pt x="199" y="872"/>
                  </a:lnTo>
                  <a:lnTo>
                    <a:pt x="192" y="869"/>
                  </a:lnTo>
                  <a:lnTo>
                    <a:pt x="187" y="869"/>
                  </a:lnTo>
                  <a:lnTo>
                    <a:pt x="183" y="869"/>
                  </a:lnTo>
                  <a:lnTo>
                    <a:pt x="178" y="872"/>
                  </a:lnTo>
                  <a:lnTo>
                    <a:pt x="174" y="875"/>
                  </a:lnTo>
                  <a:lnTo>
                    <a:pt x="168" y="879"/>
                  </a:lnTo>
                  <a:lnTo>
                    <a:pt x="160" y="856"/>
                  </a:lnTo>
                  <a:lnTo>
                    <a:pt x="155" y="837"/>
                  </a:lnTo>
                  <a:lnTo>
                    <a:pt x="150" y="819"/>
                  </a:lnTo>
                  <a:lnTo>
                    <a:pt x="144" y="800"/>
                  </a:lnTo>
                  <a:lnTo>
                    <a:pt x="139" y="765"/>
                  </a:lnTo>
                  <a:lnTo>
                    <a:pt x="136" y="733"/>
                  </a:lnTo>
                  <a:lnTo>
                    <a:pt x="135" y="704"/>
                  </a:lnTo>
                  <a:lnTo>
                    <a:pt x="134" y="676"/>
                  </a:lnTo>
                  <a:lnTo>
                    <a:pt x="132" y="648"/>
                  </a:lnTo>
                  <a:lnTo>
                    <a:pt x="130" y="621"/>
                  </a:lnTo>
                  <a:lnTo>
                    <a:pt x="127" y="608"/>
                  </a:lnTo>
                  <a:lnTo>
                    <a:pt x="124" y="593"/>
                  </a:lnTo>
                  <a:lnTo>
                    <a:pt x="120" y="580"/>
                  </a:lnTo>
                  <a:lnTo>
                    <a:pt x="115" y="565"/>
                  </a:lnTo>
                  <a:lnTo>
                    <a:pt x="106" y="548"/>
                  </a:lnTo>
                  <a:lnTo>
                    <a:pt x="96" y="535"/>
                  </a:lnTo>
                  <a:lnTo>
                    <a:pt x="87" y="526"/>
                  </a:lnTo>
                  <a:lnTo>
                    <a:pt x="80" y="519"/>
                  </a:lnTo>
                  <a:lnTo>
                    <a:pt x="74" y="514"/>
                  </a:lnTo>
                  <a:lnTo>
                    <a:pt x="71" y="507"/>
                  </a:lnTo>
                  <a:lnTo>
                    <a:pt x="70" y="503"/>
                  </a:lnTo>
                  <a:lnTo>
                    <a:pt x="70" y="499"/>
                  </a:lnTo>
                  <a:lnTo>
                    <a:pt x="71" y="494"/>
                  </a:lnTo>
                  <a:lnTo>
                    <a:pt x="72" y="487"/>
                  </a:lnTo>
                  <a:lnTo>
                    <a:pt x="76" y="483"/>
                  </a:lnTo>
                  <a:lnTo>
                    <a:pt x="79" y="479"/>
                  </a:lnTo>
                  <a:lnTo>
                    <a:pt x="82" y="475"/>
                  </a:lnTo>
                  <a:lnTo>
                    <a:pt x="83" y="471"/>
                  </a:lnTo>
                  <a:lnTo>
                    <a:pt x="84" y="460"/>
                  </a:lnTo>
                  <a:lnTo>
                    <a:pt x="83" y="450"/>
                  </a:lnTo>
                  <a:lnTo>
                    <a:pt x="82" y="438"/>
                  </a:lnTo>
                  <a:lnTo>
                    <a:pt x="78" y="426"/>
                  </a:lnTo>
                  <a:lnTo>
                    <a:pt x="72" y="412"/>
                  </a:lnTo>
                  <a:lnTo>
                    <a:pt x="67" y="399"/>
                  </a:lnTo>
                  <a:lnTo>
                    <a:pt x="55" y="371"/>
                  </a:lnTo>
                  <a:lnTo>
                    <a:pt x="43" y="342"/>
                  </a:lnTo>
                  <a:lnTo>
                    <a:pt x="38" y="328"/>
                  </a:lnTo>
                  <a:lnTo>
                    <a:pt x="34" y="314"/>
                  </a:lnTo>
                  <a:lnTo>
                    <a:pt x="31" y="300"/>
                  </a:lnTo>
                  <a:lnTo>
                    <a:pt x="30" y="288"/>
                  </a:lnTo>
                  <a:lnTo>
                    <a:pt x="30" y="270"/>
                  </a:lnTo>
                  <a:lnTo>
                    <a:pt x="30" y="248"/>
                  </a:lnTo>
                  <a:lnTo>
                    <a:pt x="28" y="227"/>
                  </a:lnTo>
                  <a:lnTo>
                    <a:pt x="27" y="207"/>
                  </a:lnTo>
                  <a:lnTo>
                    <a:pt x="23" y="187"/>
                  </a:lnTo>
                  <a:lnTo>
                    <a:pt x="18" y="170"/>
                  </a:lnTo>
                  <a:lnTo>
                    <a:pt x="14" y="162"/>
                  </a:lnTo>
                  <a:lnTo>
                    <a:pt x="10" y="155"/>
                  </a:lnTo>
                  <a:lnTo>
                    <a:pt x="6" y="148"/>
                  </a:lnTo>
                  <a:lnTo>
                    <a:pt x="0" y="143"/>
                  </a:lnTo>
                  <a:lnTo>
                    <a:pt x="55" y="107"/>
                  </a:lnTo>
                  <a:lnTo>
                    <a:pt x="127" y="210"/>
                  </a:lnTo>
                  <a:lnTo>
                    <a:pt x="136" y="219"/>
                  </a:lnTo>
                  <a:lnTo>
                    <a:pt x="147" y="226"/>
                  </a:lnTo>
                  <a:lnTo>
                    <a:pt x="152" y="228"/>
                  </a:lnTo>
                  <a:lnTo>
                    <a:pt x="159" y="230"/>
                  </a:lnTo>
                  <a:lnTo>
                    <a:pt x="164" y="230"/>
                  </a:lnTo>
                  <a:lnTo>
                    <a:pt x="171" y="230"/>
                  </a:lnTo>
                  <a:lnTo>
                    <a:pt x="178" y="227"/>
                  </a:lnTo>
                  <a:lnTo>
                    <a:pt x="184" y="224"/>
                  </a:lnTo>
                  <a:lnTo>
                    <a:pt x="191" y="220"/>
                  </a:lnTo>
                  <a:lnTo>
                    <a:pt x="199" y="214"/>
                  </a:lnTo>
                  <a:lnTo>
                    <a:pt x="206" y="204"/>
                  </a:lnTo>
                  <a:lnTo>
                    <a:pt x="214" y="195"/>
                  </a:lnTo>
                  <a:lnTo>
                    <a:pt x="222" y="182"/>
                  </a:lnTo>
                  <a:lnTo>
                    <a:pt x="230" y="168"/>
                  </a:lnTo>
                  <a:lnTo>
                    <a:pt x="232" y="163"/>
                  </a:lnTo>
                  <a:lnTo>
                    <a:pt x="236" y="158"/>
                  </a:lnTo>
                  <a:lnTo>
                    <a:pt x="240" y="155"/>
                  </a:lnTo>
                  <a:lnTo>
                    <a:pt x="244" y="152"/>
                  </a:lnTo>
                  <a:lnTo>
                    <a:pt x="250" y="150"/>
                  </a:lnTo>
                  <a:lnTo>
                    <a:pt x="256" y="148"/>
                  </a:lnTo>
                  <a:lnTo>
                    <a:pt x="262" y="147"/>
                  </a:lnTo>
                  <a:lnTo>
                    <a:pt x="268" y="147"/>
                  </a:lnTo>
                  <a:lnTo>
                    <a:pt x="281" y="148"/>
                  </a:lnTo>
                  <a:lnTo>
                    <a:pt x="295" y="151"/>
                  </a:lnTo>
                  <a:lnTo>
                    <a:pt x="309" y="155"/>
                  </a:lnTo>
                  <a:lnTo>
                    <a:pt x="324" y="160"/>
                  </a:lnTo>
                  <a:lnTo>
                    <a:pt x="352" y="172"/>
                  </a:lnTo>
                  <a:lnTo>
                    <a:pt x="375" y="184"/>
                  </a:lnTo>
                  <a:lnTo>
                    <a:pt x="392" y="194"/>
                  </a:lnTo>
                  <a:lnTo>
                    <a:pt x="397" y="198"/>
                  </a:lnTo>
                  <a:lnTo>
                    <a:pt x="403" y="188"/>
                  </a:lnTo>
                  <a:lnTo>
                    <a:pt x="408" y="178"/>
                  </a:lnTo>
                  <a:lnTo>
                    <a:pt x="411" y="170"/>
                  </a:lnTo>
                  <a:lnTo>
                    <a:pt x="412" y="160"/>
                  </a:lnTo>
                  <a:lnTo>
                    <a:pt x="412" y="151"/>
                  </a:lnTo>
                  <a:lnTo>
                    <a:pt x="411" y="143"/>
                  </a:lnTo>
                  <a:lnTo>
                    <a:pt x="409" y="135"/>
                  </a:lnTo>
                  <a:lnTo>
                    <a:pt x="405" y="127"/>
                  </a:lnTo>
                  <a:lnTo>
                    <a:pt x="396" y="111"/>
                  </a:lnTo>
                  <a:lnTo>
                    <a:pt x="385" y="96"/>
                  </a:lnTo>
                  <a:lnTo>
                    <a:pt x="371" y="80"/>
                  </a:lnTo>
                  <a:lnTo>
                    <a:pt x="355" y="66"/>
                  </a:lnTo>
                  <a:lnTo>
                    <a:pt x="360" y="63"/>
                  </a:lnTo>
                  <a:lnTo>
                    <a:pt x="364" y="59"/>
                  </a:lnTo>
                  <a:lnTo>
                    <a:pt x="368" y="52"/>
                  </a:lnTo>
                  <a:lnTo>
                    <a:pt x="369" y="46"/>
                  </a:lnTo>
                  <a:lnTo>
                    <a:pt x="373" y="31"/>
                  </a:lnTo>
                  <a:lnTo>
                    <a:pt x="377" y="15"/>
                  </a:lnTo>
                  <a:lnTo>
                    <a:pt x="380" y="10"/>
                  </a:lnTo>
                  <a:lnTo>
                    <a:pt x="384" y="4"/>
                  </a:lnTo>
                  <a:lnTo>
                    <a:pt x="388" y="2"/>
                  </a:lnTo>
                  <a:lnTo>
                    <a:pt x="392" y="0"/>
                  </a:lnTo>
                  <a:lnTo>
                    <a:pt x="399" y="3"/>
                  </a:lnTo>
                  <a:lnTo>
                    <a:pt x="407" y="8"/>
                  </a:lnTo>
                  <a:lnTo>
                    <a:pt x="416" y="16"/>
                  </a:lnTo>
                  <a:lnTo>
                    <a:pt x="428" y="30"/>
                  </a:lnTo>
                  <a:lnTo>
                    <a:pt x="436" y="36"/>
                  </a:lnTo>
                  <a:lnTo>
                    <a:pt x="445" y="43"/>
                  </a:lnTo>
                  <a:lnTo>
                    <a:pt x="457" y="50"/>
                  </a:lnTo>
                  <a:lnTo>
                    <a:pt x="471" y="55"/>
                  </a:lnTo>
                  <a:lnTo>
                    <a:pt x="485" y="62"/>
                  </a:lnTo>
                  <a:lnTo>
                    <a:pt x="501" y="67"/>
                  </a:lnTo>
                  <a:lnTo>
                    <a:pt x="519" y="72"/>
                  </a:lnTo>
                  <a:lnTo>
                    <a:pt x="536" y="78"/>
                  </a:lnTo>
                  <a:lnTo>
                    <a:pt x="548" y="80"/>
                  </a:lnTo>
                  <a:lnTo>
                    <a:pt x="560" y="83"/>
                  </a:lnTo>
                  <a:lnTo>
                    <a:pt x="559" y="100"/>
                  </a:lnTo>
                  <a:lnTo>
                    <a:pt x="557" y="120"/>
                  </a:lnTo>
                  <a:lnTo>
                    <a:pt x="557" y="132"/>
                  </a:lnTo>
                  <a:lnTo>
                    <a:pt x="557" y="144"/>
                  </a:lnTo>
                  <a:lnTo>
                    <a:pt x="559" y="156"/>
                  </a:lnTo>
                  <a:lnTo>
                    <a:pt x="560" y="168"/>
                  </a:lnTo>
                  <a:lnTo>
                    <a:pt x="571" y="167"/>
                  </a:lnTo>
                  <a:lnTo>
                    <a:pt x="583" y="167"/>
                  </a:lnTo>
                  <a:lnTo>
                    <a:pt x="595" y="168"/>
                  </a:lnTo>
                  <a:lnTo>
                    <a:pt x="608" y="171"/>
                  </a:lnTo>
                  <a:lnTo>
                    <a:pt x="620" y="174"/>
                  </a:lnTo>
                  <a:lnTo>
                    <a:pt x="633" y="178"/>
                  </a:lnTo>
                  <a:lnTo>
                    <a:pt x="647" y="182"/>
                  </a:lnTo>
                  <a:lnTo>
                    <a:pt x="659" y="187"/>
                  </a:lnTo>
                  <a:lnTo>
                    <a:pt x="671" y="192"/>
                  </a:lnTo>
                  <a:lnTo>
                    <a:pt x="681" y="199"/>
                  </a:lnTo>
                  <a:lnTo>
                    <a:pt x="691" y="206"/>
                  </a:lnTo>
                  <a:lnTo>
                    <a:pt x="700" y="212"/>
                  </a:lnTo>
                  <a:lnTo>
                    <a:pt x="707" y="220"/>
                  </a:lnTo>
                  <a:lnTo>
                    <a:pt x="712" y="228"/>
                  </a:lnTo>
                  <a:lnTo>
                    <a:pt x="716" y="238"/>
                  </a:lnTo>
                  <a:lnTo>
                    <a:pt x="716" y="246"/>
                  </a:lnTo>
                  <a:lnTo>
                    <a:pt x="716" y="252"/>
                  </a:lnTo>
                  <a:lnTo>
                    <a:pt x="715" y="259"/>
                  </a:lnTo>
                  <a:lnTo>
                    <a:pt x="713" y="264"/>
                  </a:lnTo>
                  <a:lnTo>
                    <a:pt x="711" y="270"/>
                  </a:lnTo>
                  <a:lnTo>
                    <a:pt x="703" y="280"/>
                  </a:lnTo>
                  <a:lnTo>
                    <a:pt x="696" y="291"/>
                  </a:lnTo>
                  <a:lnTo>
                    <a:pt x="688" y="302"/>
                  </a:lnTo>
                  <a:lnTo>
                    <a:pt x="681" y="315"/>
                  </a:lnTo>
                  <a:lnTo>
                    <a:pt x="679" y="322"/>
                  </a:lnTo>
                  <a:lnTo>
                    <a:pt x="676" y="330"/>
                  </a:lnTo>
                  <a:lnTo>
                    <a:pt x="675" y="339"/>
                  </a:lnTo>
                  <a:lnTo>
                    <a:pt x="675" y="348"/>
                  </a:lnTo>
                  <a:lnTo>
                    <a:pt x="675" y="358"/>
                  </a:lnTo>
                  <a:lnTo>
                    <a:pt x="677" y="367"/>
                  </a:lnTo>
                  <a:lnTo>
                    <a:pt x="680" y="375"/>
                  </a:lnTo>
                  <a:lnTo>
                    <a:pt x="685" y="382"/>
                  </a:lnTo>
                  <a:lnTo>
                    <a:pt x="696" y="395"/>
                  </a:lnTo>
                  <a:lnTo>
                    <a:pt x="708" y="407"/>
                  </a:lnTo>
                  <a:lnTo>
                    <a:pt x="720" y="418"/>
                  </a:lnTo>
                  <a:lnTo>
                    <a:pt x="731" y="430"/>
                  </a:lnTo>
                  <a:lnTo>
                    <a:pt x="735" y="436"/>
                  </a:lnTo>
                  <a:lnTo>
                    <a:pt x="737" y="442"/>
                  </a:lnTo>
                  <a:lnTo>
                    <a:pt x="740" y="450"/>
                  </a:lnTo>
                  <a:lnTo>
                    <a:pt x="741" y="456"/>
                  </a:lnTo>
                  <a:lnTo>
                    <a:pt x="739" y="479"/>
                  </a:lnTo>
                  <a:lnTo>
                    <a:pt x="735" y="499"/>
                  </a:lnTo>
                  <a:lnTo>
                    <a:pt x="731" y="519"/>
                  </a:lnTo>
                  <a:lnTo>
                    <a:pt x="729" y="542"/>
                  </a:lnTo>
                  <a:lnTo>
                    <a:pt x="716" y="55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667072" y="5176838"/>
              <a:ext cx="309563" cy="417512"/>
            </a:xfrm>
            <a:custGeom>
              <a:avLst/>
              <a:gdLst/>
              <a:ahLst/>
              <a:cxnLst>
                <a:cxn ang="0">
                  <a:pos x="271" y="715"/>
                </a:cxn>
                <a:cxn ang="0">
                  <a:pos x="229" y="682"/>
                </a:cxn>
                <a:cxn ang="0">
                  <a:pos x="189" y="680"/>
                </a:cxn>
                <a:cxn ang="0">
                  <a:pos x="152" y="658"/>
                </a:cxn>
                <a:cxn ang="0">
                  <a:pos x="89" y="604"/>
                </a:cxn>
                <a:cxn ang="0">
                  <a:pos x="49" y="574"/>
                </a:cxn>
                <a:cxn ang="0">
                  <a:pos x="37" y="526"/>
                </a:cxn>
                <a:cxn ang="0">
                  <a:pos x="31" y="486"/>
                </a:cxn>
                <a:cxn ang="0">
                  <a:pos x="45" y="469"/>
                </a:cxn>
                <a:cxn ang="0">
                  <a:pos x="73" y="454"/>
                </a:cxn>
                <a:cxn ang="0">
                  <a:pos x="77" y="429"/>
                </a:cxn>
                <a:cxn ang="0">
                  <a:pos x="53" y="393"/>
                </a:cxn>
                <a:cxn ang="0">
                  <a:pos x="7" y="350"/>
                </a:cxn>
                <a:cxn ang="0">
                  <a:pos x="1" y="310"/>
                </a:cxn>
                <a:cxn ang="0">
                  <a:pos x="24" y="269"/>
                </a:cxn>
                <a:cxn ang="0">
                  <a:pos x="67" y="217"/>
                </a:cxn>
                <a:cxn ang="0">
                  <a:pos x="65" y="133"/>
                </a:cxn>
                <a:cxn ang="0">
                  <a:pos x="57" y="122"/>
                </a:cxn>
                <a:cxn ang="0">
                  <a:pos x="39" y="111"/>
                </a:cxn>
                <a:cxn ang="0">
                  <a:pos x="37" y="94"/>
                </a:cxn>
                <a:cxn ang="0">
                  <a:pos x="67" y="33"/>
                </a:cxn>
                <a:cxn ang="0">
                  <a:pos x="91" y="6"/>
                </a:cxn>
                <a:cxn ang="0">
                  <a:pos x="112" y="26"/>
                </a:cxn>
                <a:cxn ang="0">
                  <a:pos x="139" y="34"/>
                </a:cxn>
                <a:cxn ang="0">
                  <a:pos x="156" y="23"/>
                </a:cxn>
                <a:cxn ang="0">
                  <a:pos x="172" y="2"/>
                </a:cxn>
                <a:cxn ang="0">
                  <a:pos x="195" y="0"/>
                </a:cxn>
                <a:cxn ang="0">
                  <a:pos x="228" y="19"/>
                </a:cxn>
                <a:cxn ang="0">
                  <a:pos x="249" y="63"/>
                </a:cxn>
                <a:cxn ang="0">
                  <a:pos x="280" y="87"/>
                </a:cxn>
                <a:cxn ang="0">
                  <a:pos x="308" y="85"/>
                </a:cxn>
                <a:cxn ang="0">
                  <a:pos x="339" y="82"/>
                </a:cxn>
                <a:cxn ang="0">
                  <a:pos x="349" y="111"/>
                </a:cxn>
                <a:cxn ang="0">
                  <a:pos x="389" y="123"/>
                </a:cxn>
                <a:cxn ang="0">
                  <a:pos x="433" y="145"/>
                </a:cxn>
                <a:cxn ang="0">
                  <a:pos x="445" y="183"/>
                </a:cxn>
                <a:cxn ang="0">
                  <a:pos x="481" y="222"/>
                </a:cxn>
                <a:cxn ang="0">
                  <a:pos x="518" y="255"/>
                </a:cxn>
                <a:cxn ang="0">
                  <a:pos x="536" y="289"/>
                </a:cxn>
                <a:cxn ang="0">
                  <a:pos x="530" y="330"/>
                </a:cxn>
                <a:cxn ang="0">
                  <a:pos x="518" y="358"/>
                </a:cxn>
                <a:cxn ang="0">
                  <a:pos x="521" y="397"/>
                </a:cxn>
                <a:cxn ang="0">
                  <a:pos x="548" y="459"/>
                </a:cxn>
                <a:cxn ang="0">
                  <a:pos x="604" y="535"/>
                </a:cxn>
                <a:cxn ang="0">
                  <a:pos x="641" y="604"/>
                </a:cxn>
                <a:cxn ang="0">
                  <a:pos x="644" y="643"/>
                </a:cxn>
                <a:cxn ang="0">
                  <a:pos x="636" y="679"/>
                </a:cxn>
                <a:cxn ang="0">
                  <a:pos x="592" y="696"/>
                </a:cxn>
                <a:cxn ang="0">
                  <a:pos x="502" y="703"/>
                </a:cxn>
                <a:cxn ang="0">
                  <a:pos x="481" y="766"/>
                </a:cxn>
                <a:cxn ang="0">
                  <a:pos x="469" y="782"/>
                </a:cxn>
                <a:cxn ang="0">
                  <a:pos x="463" y="823"/>
                </a:cxn>
                <a:cxn ang="0">
                  <a:pos x="469" y="860"/>
                </a:cxn>
                <a:cxn ang="0">
                  <a:pos x="424" y="847"/>
                </a:cxn>
                <a:cxn ang="0">
                  <a:pos x="407" y="831"/>
                </a:cxn>
                <a:cxn ang="0">
                  <a:pos x="379" y="824"/>
                </a:cxn>
                <a:cxn ang="0">
                  <a:pos x="332" y="816"/>
                </a:cxn>
                <a:cxn ang="0">
                  <a:pos x="305" y="779"/>
                </a:cxn>
                <a:cxn ang="0">
                  <a:pos x="265" y="758"/>
                </a:cxn>
              </a:cxnLst>
              <a:rect l="0" t="0" r="r" b="b"/>
              <a:pathLst>
                <a:path w="644" h="860">
                  <a:moveTo>
                    <a:pt x="265" y="758"/>
                  </a:moveTo>
                  <a:lnTo>
                    <a:pt x="280" y="740"/>
                  </a:lnTo>
                  <a:lnTo>
                    <a:pt x="289" y="727"/>
                  </a:lnTo>
                  <a:lnTo>
                    <a:pt x="271" y="715"/>
                  </a:lnTo>
                  <a:lnTo>
                    <a:pt x="253" y="703"/>
                  </a:lnTo>
                  <a:lnTo>
                    <a:pt x="245" y="696"/>
                  </a:lnTo>
                  <a:lnTo>
                    <a:pt x="237" y="690"/>
                  </a:lnTo>
                  <a:lnTo>
                    <a:pt x="229" y="682"/>
                  </a:lnTo>
                  <a:lnTo>
                    <a:pt x="223" y="674"/>
                  </a:lnTo>
                  <a:lnTo>
                    <a:pt x="211" y="679"/>
                  </a:lnTo>
                  <a:lnTo>
                    <a:pt x="200" y="680"/>
                  </a:lnTo>
                  <a:lnTo>
                    <a:pt x="189" y="680"/>
                  </a:lnTo>
                  <a:lnTo>
                    <a:pt x="180" y="676"/>
                  </a:lnTo>
                  <a:lnTo>
                    <a:pt x="171" y="672"/>
                  </a:lnTo>
                  <a:lnTo>
                    <a:pt x="161" y="666"/>
                  </a:lnTo>
                  <a:lnTo>
                    <a:pt x="152" y="658"/>
                  </a:lnTo>
                  <a:lnTo>
                    <a:pt x="143" y="650"/>
                  </a:lnTo>
                  <a:lnTo>
                    <a:pt x="123" y="631"/>
                  </a:lnTo>
                  <a:lnTo>
                    <a:pt x="101" y="612"/>
                  </a:lnTo>
                  <a:lnTo>
                    <a:pt x="89" y="604"/>
                  </a:lnTo>
                  <a:lnTo>
                    <a:pt x="77" y="598"/>
                  </a:lnTo>
                  <a:lnTo>
                    <a:pt x="64" y="593"/>
                  </a:lnTo>
                  <a:lnTo>
                    <a:pt x="48" y="589"/>
                  </a:lnTo>
                  <a:lnTo>
                    <a:pt x="49" y="574"/>
                  </a:lnTo>
                  <a:lnTo>
                    <a:pt x="48" y="561"/>
                  </a:lnTo>
                  <a:lnTo>
                    <a:pt x="45" y="549"/>
                  </a:lnTo>
                  <a:lnTo>
                    <a:pt x="41" y="537"/>
                  </a:lnTo>
                  <a:lnTo>
                    <a:pt x="37" y="526"/>
                  </a:lnTo>
                  <a:lnTo>
                    <a:pt x="33" y="515"/>
                  </a:lnTo>
                  <a:lnTo>
                    <a:pt x="31" y="503"/>
                  </a:lnTo>
                  <a:lnTo>
                    <a:pt x="31" y="493"/>
                  </a:lnTo>
                  <a:lnTo>
                    <a:pt x="31" y="486"/>
                  </a:lnTo>
                  <a:lnTo>
                    <a:pt x="32" y="482"/>
                  </a:lnTo>
                  <a:lnTo>
                    <a:pt x="35" y="478"/>
                  </a:lnTo>
                  <a:lnTo>
                    <a:pt x="37" y="474"/>
                  </a:lnTo>
                  <a:lnTo>
                    <a:pt x="45" y="469"/>
                  </a:lnTo>
                  <a:lnTo>
                    <a:pt x="55" y="466"/>
                  </a:lnTo>
                  <a:lnTo>
                    <a:pt x="63" y="462"/>
                  </a:lnTo>
                  <a:lnTo>
                    <a:pt x="71" y="457"/>
                  </a:lnTo>
                  <a:lnTo>
                    <a:pt x="73" y="454"/>
                  </a:lnTo>
                  <a:lnTo>
                    <a:pt x="76" y="450"/>
                  </a:lnTo>
                  <a:lnTo>
                    <a:pt x="77" y="445"/>
                  </a:lnTo>
                  <a:lnTo>
                    <a:pt x="79" y="438"/>
                  </a:lnTo>
                  <a:lnTo>
                    <a:pt x="77" y="429"/>
                  </a:lnTo>
                  <a:lnTo>
                    <a:pt x="75" y="421"/>
                  </a:lnTo>
                  <a:lnTo>
                    <a:pt x="71" y="413"/>
                  </a:lnTo>
                  <a:lnTo>
                    <a:pt x="67" y="406"/>
                  </a:lnTo>
                  <a:lnTo>
                    <a:pt x="53" y="393"/>
                  </a:lnTo>
                  <a:lnTo>
                    <a:pt x="39" y="382"/>
                  </a:lnTo>
                  <a:lnTo>
                    <a:pt x="25" y="370"/>
                  </a:lnTo>
                  <a:lnTo>
                    <a:pt x="12" y="357"/>
                  </a:lnTo>
                  <a:lnTo>
                    <a:pt x="7" y="350"/>
                  </a:lnTo>
                  <a:lnTo>
                    <a:pt x="4" y="342"/>
                  </a:lnTo>
                  <a:lnTo>
                    <a:pt x="1" y="334"/>
                  </a:lnTo>
                  <a:lnTo>
                    <a:pt x="0" y="325"/>
                  </a:lnTo>
                  <a:lnTo>
                    <a:pt x="1" y="310"/>
                  </a:lnTo>
                  <a:lnTo>
                    <a:pt x="4" y="297"/>
                  </a:lnTo>
                  <a:lnTo>
                    <a:pt x="8" y="286"/>
                  </a:lnTo>
                  <a:lnTo>
                    <a:pt x="15" y="277"/>
                  </a:lnTo>
                  <a:lnTo>
                    <a:pt x="24" y="269"/>
                  </a:lnTo>
                  <a:lnTo>
                    <a:pt x="36" y="262"/>
                  </a:lnTo>
                  <a:lnTo>
                    <a:pt x="49" y="257"/>
                  </a:lnTo>
                  <a:lnTo>
                    <a:pt x="67" y="251"/>
                  </a:lnTo>
                  <a:lnTo>
                    <a:pt x="67" y="217"/>
                  </a:lnTo>
                  <a:lnTo>
                    <a:pt x="67" y="187"/>
                  </a:lnTo>
                  <a:lnTo>
                    <a:pt x="67" y="163"/>
                  </a:lnTo>
                  <a:lnTo>
                    <a:pt x="67" y="138"/>
                  </a:lnTo>
                  <a:lnTo>
                    <a:pt x="65" y="133"/>
                  </a:lnTo>
                  <a:lnTo>
                    <a:pt x="65" y="130"/>
                  </a:lnTo>
                  <a:lnTo>
                    <a:pt x="64" y="127"/>
                  </a:lnTo>
                  <a:lnTo>
                    <a:pt x="61" y="125"/>
                  </a:lnTo>
                  <a:lnTo>
                    <a:pt x="57" y="122"/>
                  </a:lnTo>
                  <a:lnTo>
                    <a:pt x="51" y="119"/>
                  </a:lnTo>
                  <a:lnTo>
                    <a:pt x="45" y="117"/>
                  </a:lnTo>
                  <a:lnTo>
                    <a:pt x="41" y="114"/>
                  </a:lnTo>
                  <a:lnTo>
                    <a:pt x="39" y="111"/>
                  </a:lnTo>
                  <a:lnTo>
                    <a:pt x="37" y="109"/>
                  </a:lnTo>
                  <a:lnTo>
                    <a:pt x="36" y="106"/>
                  </a:lnTo>
                  <a:lnTo>
                    <a:pt x="36" y="101"/>
                  </a:lnTo>
                  <a:lnTo>
                    <a:pt x="37" y="94"/>
                  </a:lnTo>
                  <a:lnTo>
                    <a:pt x="43" y="81"/>
                  </a:lnTo>
                  <a:lnTo>
                    <a:pt x="49" y="66"/>
                  </a:lnTo>
                  <a:lnTo>
                    <a:pt x="59" y="49"/>
                  </a:lnTo>
                  <a:lnTo>
                    <a:pt x="67" y="33"/>
                  </a:lnTo>
                  <a:lnTo>
                    <a:pt x="75" y="18"/>
                  </a:lnTo>
                  <a:lnTo>
                    <a:pt x="80" y="9"/>
                  </a:lnTo>
                  <a:lnTo>
                    <a:pt x="84" y="5"/>
                  </a:lnTo>
                  <a:lnTo>
                    <a:pt x="91" y="6"/>
                  </a:lnTo>
                  <a:lnTo>
                    <a:pt x="96" y="10"/>
                  </a:lnTo>
                  <a:lnTo>
                    <a:pt x="101" y="14"/>
                  </a:lnTo>
                  <a:lnTo>
                    <a:pt x="107" y="19"/>
                  </a:lnTo>
                  <a:lnTo>
                    <a:pt x="112" y="26"/>
                  </a:lnTo>
                  <a:lnTo>
                    <a:pt x="117" y="30"/>
                  </a:lnTo>
                  <a:lnTo>
                    <a:pt x="124" y="34"/>
                  </a:lnTo>
                  <a:lnTo>
                    <a:pt x="132" y="35"/>
                  </a:lnTo>
                  <a:lnTo>
                    <a:pt x="139" y="34"/>
                  </a:lnTo>
                  <a:lnTo>
                    <a:pt x="144" y="34"/>
                  </a:lnTo>
                  <a:lnTo>
                    <a:pt x="148" y="31"/>
                  </a:lnTo>
                  <a:lnTo>
                    <a:pt x="151" y="30"/>
                  </a:lnTo>
                  <a:lnTo>
                    <a:pt x="156" y="23"/>
                  </a:lnTo>
                  <a:lnTo>
                    <a:pt x="160" y="17"/>
                  </a:lnTo>
                  <a:lnTo>
                    <a:pt x="163" y="10"/>
                  </a:lnTo>
                  <a:lnTo>
                    <a:pt x="168" y="5"/>
                  </a:lnTo>
                  <a:lnTo>
                    <a:pt x="172" y="2"/>
                  </a:lnTo>
                  <a:lnTo>
                    <a:pt x="176" y="1"/>
                  </a:lnTo>
                  <a:lnTo>
                    <a:pt x="180" y="0"/>
                  </a:lnTo>
                  <a:lnTo>
                    <a:pt x="187" y="0"/>
                  </a:lnTo>
                  <a:lnTo>
                    <a:pt x="195" y="0"/>
                  </a:lnTo>
                  <a:lnTo>
                    <a:pt x="203" y="1"/>
                  </a:lnTo>
                  <a:lnTo>
                    <a:pt x="209" y="4"/>
                  </a:lnTo>
                  <a:lnTo>
                    <a:pt x="216" y="8"/>
                  </a:lnTo>
                  <a:lnTo>
                    <a:pt x="228" y="19"/>
                  </a:lnTo>
                  <a:lnTo>
                    <a:pt x="241" y="35"/>
                  </a:lnTo>
                  <a:lnTo>
                    <a:pt x="243" y="45"/>
                  </a:lnTo>
                  <a:lnTo>
                    <a:pt x="245" y="54"/>
                  </a:lnTo>
                  <a:lnTo>
                    <a:pt x="249" y="63"/>
                  </a:lnTo>
                  <a:lnTo>
                    <a:pt x="256" y="71"/>
                  </a:lnTo>
                  <a:lnTo>
                    <a:pt x="263" y="78"/>
                  </a:lnTo>
                  <a:lnTo>
                    <a:pt x="272" y="85"/>
                  </a:lnTo>
                  <a:lnTo>
                    <a:pt x="280" y="87"/>
                  </a:lnTo>
                  <a:lnTo>
                    <a:pt x="289" y="89"/>
                  </a:lnTo>
                  <a:lnTo>
                    <a:pt x="297" y="89"/>
                  </a:lnTo>
                  <a:lnTo>
                    <a:pt x="304" y="87"/>
                  </a:lnTo>
                  <a:lnTo>
                    <a:pt x="308" y="85"/>
                  </a:lnTo>
                  <a:lnTo>
                    <a:pt x="313" y="82"/>
                  </a:lnTo>
                  <a:lnTo>
                    <a:pt x="323" y="77"/>
                  </a:lnTo>
                  <a:lnTo>
                    <a:pt x="337" y="71"/>
                  </a:lnTo>
                  <a:lnTo>
                    <a:pt x="339" y="82"/>
                  </a:lnTo>
                  <a:lnTo>
                    <a:pt x="341" y="93"/>
                  </a:lnTo>
                  <a:lnTo>
                    <a:pt x="343" y="99"/>
                  </a:lnTo>
                  <a:lnTo>
                    <a:pt x="347" y="106"/>
                  </a:lnTo>
                  <a:lnTo>
                    <a:pt x="349" y="111"/>
                  </a:lnTo>
                  <a:lnTo>
                    <a:pt x="353" y="114"/>
                  </a:lnTo>
                  <a:lnTo>
                    <a:pt x="359" y="117"/>
                  </a:lnTo>
                  <a:lnTo>
                    <a:pt x="364" y="119"/>
                  </a:lnTo>
                  <a:lnTo>
                    <a:pt x="389" y="123"/>
                  </a:lnTo>
                  <a:lnTo>
                    <a:pt x="421" y="131"/>
                  </a:lnTo>
                  <a:lnTo>
                    <a:pt x="428" y="135"/>
                  </a:lnTo>
                  <a:lnTo>
                    <a:pt x="431" y="141"/>
                  </a:lnTo>
                  <a:lnTo>
                    <a:pt x="433" y="145"/>
                  </a:lnTo>
                  <a:lnTo>
                    <a:pt x="435" y="150"/>
                  </a:lnTo>
                  <a:lnTo>
                    <a:pt x="437" y="161"/>
                  </a:lnTo>
                  <a:lnTo>
                    <a:pt x="440" y="174"/>
                  </a:lnTo>
                  <a:lnTo>
                    <a:pt x="445" y="183"/>
                  </a:lnTo>
                  <a:lnTo>
                    <a:pt x="451" y="193"/>
                  </a:lnTo>
                  <a:lnTo>
                    <a:pt x="457" y="201"/>
                  </a:lnTo>
                  <a:lnTo>
                    <a:pt x="465" y="207"/>
                  </a:lnTo>
                  <a:lnTo>
                    <a:pt x="481" y="222"/>
                  </a:lnTo>
                  <a:lnTo>
                    <a:pt x="497" y="234"/>
                  </a:lnTo>
                  <a:lnTo>
                    <a:pt x="505" y="241"/>
                  </a:lnTo>
                  <a:lnTo>
                    <a:pt x="512" y="247"/>
                  </a:lnTo>
                  <a:lnTo>
                    <a:pt x="518" y="255"/>
                  </a:lnTo>
                  <a:lnTo>
                    <a:pt x="524" y="262"/>
                  </a:lnTo>
                  <a:lnTo>
                    <a:pt x="529" y="270"/>
                  </a:lnTo>
                  <a:lnTo>
                    <a:pt x="533" y="279"/>
                  </a:lnTo>
                  <a:lnTo>
                    <a:pt x="536" y="289"/>
                  </a:lnTo>
                  <a:lnTo>
                    <a:pt x="536" y="301"/>
                  </a:lnTo>
                  <a:lnTo>
                    <a:pt x="536" y="313"/>
                  </a:lnTo>
                  <a:lnTo>
                    <a:pt x="533" y="322"/>
                  </a:lnTo>
                  <a:lnTo>
                    <a:pt x="530" y="330"/>
                  </a:lnTo>
                  <a:lnTo>
                    <a:pt x="526" y="338"/>
                  </a:lnTo>
                  <a:lnTo>
                    <a:pt x="524" y="345"/>
                  </a:lnTo>
                  <a:lnTo>
                    <a:pt x="521" y="351"/>
                  </a:lnTo>
                  <a:lnTo>
                    <a:pt x="518" y="358"/>
                  </a:lnTo>
                  <a:lnTo>
                    <a:pt x="518" y="366"/>
                  </a:lnTo>
                  <a:lnTo>
                    <a:pt x="518" y="377"/>
                  </a:lnTo>
                  <a:lnTo>
                    <a:pt x="520" y="387"/>
                  </a:lnTo>
                  <a:lnTo>
                    <a:pt x="521" y="397"/>
                  </a:lnTo>
                  <a:lnTo>
                    <a:pt x="524" y="406"/>
                  </a:lnTo>
                  <a:lnTo>
                    <a:pt x="529" y="425"/>
                  </a:lnTo>
                  <a:lnTo>
                    <a:pt x="537" y="442"/>
                  </a:lnTo>
                  <a:lnTo>
                    <a:pt x="548" y="459"/>
                  </a:lnTo>
                  <a:lnTo>
                    <a:pt x="558" y="475"/>
                  </a:lnTo>
                  <a:lnTo>
                    <a:pt x="569" y="490"/>
                  </a:lnTo>
                  <a:lnTo>
                    <a:pt x="581" y="506"/>
                  </a:lnTo>
                  <a:lnTo>
                    <a:pt x="604" y="535"/>
                  </a:lnTo>
                  <a:lnTo>
                    <a:pt x="625" y="566"/>
                  </a:lnTo>
                  <a:lnTo>
                    <a:pt x="633" y="581"/>
                  </a:lnTo>
                  <a:lnTo>
                    <a:pt x="638" y="597"/>
                  </a:lnTo>
                  <a:lnTo>
                    <a:pt x="641" y="604"/>
                  </a:lnTo>
                  <a:lnTo>
                    <a:pt x="642" y="614"/>
                  </a:lnTo>
                  <a:lnTo>
                    <a:pt x="644" y="622"/>
                  </a:lnTo>
                  <a:lnTo>
                    <a:pt x="644" y="631"/>
                  </a:lnTo>
                  <a:lnTo>
                    <a:pt x="644" y="643"/>
                  </a:lnTo>
                  <a:lnTo>
                    <a:pt x="644" y="652"/>
                  </a:lnTo>
                  <a:lnTo>
                    <a:pt x="644" y="662"/>
                  </a:lnTo>
                  <a:lnTo>
                    <a:pt x="644" y="674"/>
                  </a:lnTo>
                  <a:lnTo>
                    <a:pt x="636" y="679"/>
                  </a:lnTo>
                  <a:lnTo>
                    <a:pt x="628" y="683"/>
                  </a:lnTo>
                  <a:lnTo>
                    <a:pt x="620" y="687"/>
                  </a:lnTo>
                  <a:lnTo>
                    <a:pt x="610" y="691"/>
                  </a:lnTo>
                  <a:lnTo>
                    <a:pt x="592" y="696"/>
                  </a:lnTo>
                  <a:lnTo>
                    <a:pt x="572" y="699"/>
                  </a:lnTo>
                  <a:lnTo>
                    <a:pt x="549" y="702"/>
                  </a:lnTo>
                  <a:lnTo>
                    <a:pt x="526" y="703"/>
                  </a:lnTo>
                  <a:lnTo>
                    <a:pt x="502" y="703"/>
                  </a:lnTo>
                  <a:lnTo>
                    <a:pt x="476" y="703"/>
                  </a:lnTo>
                  <a:lnTo>
                    <a:pt x="506" y="758"/>
                  </a:lnTo>
                  <a:lnTo>
                    <a:pt x="493" y="762"/>
                  </a:lnTo>
                  <a:lnTo>
                    <a:pt x="481" y="766"/>
                  </a:lnTo>
                  <a:lnTo>
                    <a:pt x="476" y="768"/>
                  </a:lnTo>
                  <a:lnTo>
                    <a:pt x="473" y="771"/>
                  </a:lnTo>
                  <a:lnTo>
                    <a:pt x="470" y="776"/>
                  </a:lnTo>
                  <a:lnTo>
                    <a:pt x="469" y="782"/>
                  </a:lnTo>
                  <a:lnTo>
                    <a:pt x="469" y="798"/>
                  </a:lnTo>
                  <a:lnTo>
                    <a:pt x="468" y="808"/>
                  </a:lnTo>
                  <a:lnTo>
                    <a:pt x="465" y="816"/>
                  </a:lnTo>
                  <a:lnTo>
                    <a:pt x="463" y="823"/>
                  </a:lnTo>
                  <a:lnTo>
                    <a:pt x="461" y="830"/>
                  </a:lnTo>
                  <a:lnTo>
                    <a:pt x="463" y="836"/>
                  </a:lnTo>
                  <a:lnTo>
                    <a:pt x="465" y="847"/>
                  </a:lnTo>
                  <a:lnTo>
                    <a:pt x="469" y="860"/>
                  </a:lnTo>
                  <a:lnTo>
                    <a:pt x="457" y="848"/>
                  </a:lnTo>
                  <a:lnTo>
                    <a:pt x="445" y="848"/>
                  </a:lnTo>
                  <a:lnTo>
                    <a:pt x="428" y="848"/>
                  </a:lnTo>
                  <a:lnTo>
                    <a:pt x="424" y="847"/>
                  </a:lnTo>
                  <a:lnTo>
                    <a:pt x="420" y="844"/>
                  </a:lnTo>
                  <a:lnTo>
                    <a:pt x="416" y="840"/>
                  </a:lnTo>
                  <a:lnTo>
                    <a:pt x="411" y="836"/>
                  </a:lnTo>
                  <a:lnTo>
                    <a:pt x="407" y="831"/>
                  </a:lnTo>
                  <a:lnTo>
                    <a:pt x="400" y="827"/>
                  </a:lnTo>
                  <a:lnTo>
                    <a:pt x="393" y="824"/>
                  </a:lnTo>
                  <a:lnTo>
                    <a:pt x="385" y="824"/>
                  </a:lnTo>
                  <a:lnTo>
                    <a:pt x="379" y="824"/>
                  </a:lnTo>
                  <a:lnTo>
                    <a:pt x="368" y="824"/>
                  </a:lnTo>
                  <a:lnTo>
                    <a:pt x="355" y="827"/>
                  </a:lnTo>
                  <a:lnTo>
                    <a:pt x="337" y="830"/>
                  </a:lnTo>
                  <a:lnTo>
                    <a:pt x="332" y="816"/>
                  </a:lnTo>
                  <a:lnTo>
                    <a:pt x="327" y="806"/>
                  </a:lnTo>
                  <a:lnTo>
                    <a:pt x="320" y="795"/>
                  </a:lnTo>
                  <a:lnTo>
                    <a:pt x="313" y="786"/>
                  </a:lnTo>
                  <a:lnTo>
                    <a:pt x="305" y="779"/>
                  </a:lnTo>
                  <a:lnTo>
                    <a:pt x="295" y="774"/>
                  </a:lnTo>
                  <a:lnTo>
                    <a:pt x="284" y="771"/>
                  </a:lnTo>
                  <a:lnTo>
                    <a:pt x="271" y="770"/>
                  </a:lnTo>
                  <a:lnTo>
                    <a:pt x="265" y="75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3600772" y="5514975"/>
              <a:ext cx="642938" cy="468312"/>
            </a:xfrm>
            <a:custGeom>
              <a:avLst/>
              <a:gdLst/>
              <a:ahLst/>
              <a:cxnLst>
                <a:cxn ang="0">
                  <a:pos x="880" y="955"/>
                </a:cxn>
                <a:cxn ang="0">
                  <a:pos x="917" y="937"/>
                </a:cxn>
                <a:cxn ang="0">
                  <a:pos x="933" y="911"/>
                </a:cxn>
                <a:cxn ang="0">
                  <a:pos x="921" y="881"/>
                </a:cxn>
                <a:cxn ang="0">
                  <a:pos x="868" y="847"/>
                </a:cxn>
                <a:cxn ang="0">
                  <a:pos x="862" y="825"/>
                </a:cxn>
                <a:cxn ang="0">
                  <a:pos x="921" y="782"/>
                </a:cxn>
                <a:cxn ang="0">
                  <a:pos x="1072" y="710"/>
                </a:cxn>
                <a:cxn ang="0">
                  <a:pos x="1117" y="686"/>
                </a:cxn>
                <a:cxn ang="0">
                  <a:pos x="1252" y="661"/>
                </a:cxn>
                <a:cxn ang="0">
                  <a:pos x="1287" y="629"/>
                </a:cxn>
                <a:cxn ang="0">
                  <a:pos x="1273" y="577"/>
                </a:cxn>
                <a:cxn ang="0">
                  <a:pos x="1258" y="538"/>
                </a:cxn>
                <a:cxn ang="0">
                  <a:pos x="1265" y="510"/>
                </a:cxn>
                <a:cxn ang="0">
                  <a:pos x="1317" y="484"/>
                </a:cxn>
                <a:cxn ang="0">
                  <a:pos x="1315" y="416"/>
                </a:cxn>
                <a:cxn ang="0">
                  <a:pos x="1325" y="390"/>
                </a:cxn>
                <a:cxn ang="0">
                  <a:pos x="1311" y="365"/>
                </a:cxn>
                <a:cxn ang="0">
                  <a:pos x="1283" y="334"/>
                </a:cxn>
                <a:cxn ang="0">
                  <a:pos x="1291" y="306"/>
                </a:cxn>
                <a:cxn ang="0">
                  <a:pos x="1313" y="270"/>
                </a:cxn>
                <a:cxn ang="0">
                  <a:pos x="1273" y="260"/>
                </a:cxn>
                <a:cxn ang="0">
                  <a:pos x="1236" y="209"/>
                </a:cxn>
                <a:cxn ang="0">
                  <a:pos x="1194" y="128"/>
                </a:cxn>
                <a:cxn ang="0">
                  <a:pos x="1081" y="38"/>
                </a:cxn>
                <a:cxn ang="0">
                  <a:pos x="1052" y="4"/>
                </a:cxn>
                <a:cxn ang="0">
                  <a:pos x="1024" y="40"/>
                </a:cxn>
                <a:cxn ang="0">
                  <a:pos x="994" y="70"/>
                </a:cxn>
                <a:cxn ang="0">
                  <a:pos x="929" y="68"/>
                </a:cxn>
                <a:cxn ang="0">
                  <a:pos x="869" y="69"/>
                </a:cxn>
                <a:cxn ang="0">
                  <a:pos x="840" y="92"/>
                </a:cxn>
                <a:cxn ang="0">
                  <a:pos x="790" y="96"/>
                </a:cxn>
                <a:cxn ang="0">
                  <a:pos x="730" y="178"/>
                </a:cxn>
                <a:cxn ang="0">
                  <a:pos x="689" y="214"/>
                </a:cxn>
                <a:cxn ang="0">
                  <a:pos x="654" y="205"/>
                </a:cxn>
                <a:cxn ang="0">
                  <a:pos x="590" y="144"/>
                </a:cxn>
                <a:cxn ang="0">
                  <a:pos x="584" y="106"/>
                </a:cxn>
                <a:cxn ang="0">
                  <a:pos x="564" y="72"/>
                </a:cxn>
                <a:cxn ang="0">
                  <a:pos x="517" y="10"/>
                </a:cxn>
                <a:cxn ang="0">
                  <a:pos x="469" y="0"/>
                </a:cxn>
                <a:cxn ang="0">
                  <a:pos x="396" y="28"/>
                </a:cxn>
                <a:cxn ang="0">
                  <a:pos x="316" y="89"/>
                </a:cxn>
                <a:cxn ang="0">
                  <a:pos x="231" y="110"/>
                </a:cxn>
                <a:cxn ang="0">
                  <a:pos x="153" y="112"/>
                </a:cxn>
                <a:cxn ang="0">
                  <a:pos x="108" y="138"/>
                </a:cxn>
                <a:cxn ang="0">
                  <a:pos x="67" y="109"/>
                </a:cxn>
                <a:cxn ang="0">
                  <a:pos x="43" y="113"/>
                </a:cxn>
                <a:cxn ang="0">
                  <a:pos x="11" y="145"/>
                </a:cxn>
                <a:cxn ang="0">
                  <a:pos x="221" y="815"/>
                </a:cxn>
                <a:cxn ang="0">
                  <a:pos x="240" y="830"/>
                </a:cxn>
                <a:cxn ang="0">
                  <a:pos x="280" y="806"/>
                </a:cxn>
                <a:cxn ang="0">
                  <a:pos x="312" y="743"/>
                </a:cxn>
                <a:cxn ang="0">
                  <a:pos x="351" y="729"/>
                </a:cxn>
                <a:cxn ang="0">
                  <a:pos x="401" y="755"/>
                </a:cxn>
                <a:cxn ang="0">
                  <a:pos x="409" y="779"/>
                </a:cxn>
                <a:cxn ang="0">
                  <a:pos x="427" y="821"/>
                </a:cxn>
                <a:cxn ang="0">
                  <a:pos x="445" y="871"/>
                </a:cxn>
                <a:cxn ang="0">
                  <a:pos x="485" y="882"/>
                </a:cxn>
                <a:cxn ang="0">
                  <a:pos x="577" y="881"/>
                </a:cxn>
                <a:cxn ang="0">
                  <a:pos x="678" y="854"/>
                </a:cxn>
                <a:cxn ang="0">
                  <a:pos x="757" y="855"/>
                </a:cxn>
                <a:cxn ang="0">
                  <a:pos x="806" y="887"/>
                </a:cxn>
                <a:cxn ang="0">
                  <a:pos x="846" y="945"/>
                </a:cxn>
              </a:cxnLst>
              <a:rect l="0" t="0" r="r" b="b"/>
              <a:pathLst>
                <a:path w="1330" h="969">
                  <a:moveTo>
                    <a:pt x="873" y="963"/>
                  </a:moveTo>
                  <a:lnTo>
                    <a:pt x="866" y="969"/>
                  </a:lnTo>
                  <a:lnTo>
                    <a:pt x="870" y="963"/>
                  </a:lnTo>
                  <a:lnTo>
                    <a:pt x="874" y="959"/>
                  </a:lnTo>
                  <a:lnTo>
                    <a:pt x="880" y="955"/>
                  </a:lnTo>
                  <a:lnTo>
                    <a:pt x="885" y="953"/>
                  </a:lnTo>
                  <a:lnTo>
                    <a:pt x="896" y="947"/>
                  </a:lnTo>
                  <a:lnTo>
                    <a:pt x="906" y="942"/>
                  </a:lnTo>
                  <a:lnTo>
                    <a:pt x="912" y="939"/>
                  </a:lnTo>
                  <a:lnTo>
                    <a:pt x="917" y="937"/>
                  </a:lnTo>
                  <a:lnTo>
                    <a:pt x="921" y="933"/>
                  </a:lnTo>
                  <a:lnTo>
                    <a:pt x="925" y="929"/>
                  </a:lnTo>
                  <a:lnTo>
                    <a:pt x="929" y="925"/>
                  </a:lnTo>
                  <a:lnTo>
                    <a:pt x="930" y="918"/>
                  </a:lnTo>
                  <a:lnTo>
                    <a:pt x="933" y="911"/>
                  </a:lnTo>
                  <a:lnTo>
                    <a:pt x="933" y="902"/>
                  </a:lnTo>
                  <a:lnTo>
                    <a:pt x="932" y="897"/>
                  </a:lnTo>
                  <a:lnTo>
                    <a:pt x="930" y="890"/>
                  </a:lnTo>
                  <a:lnTo>
                    <a:pt x="926" y="886"/>
                  </a:lnTo>
                  <a:lnTo>
                    <a:pt x="921" y="881"/>
                  </a:lnTo>
                  <a:lnTo>
                    <a:pt x="910" y="874"/>
                  </a:lnTo>
                  <a:lnTo>
                    <a:pt x="897" y="866"/>
                  </a:lnTo>
                  <a:lnTo>
                    <a:pt x="884" y="859"/>
                  </a:lnTo>
                  <a:lnTo>
                    <a:pt x="872" y="851"/>
                  </a:lnTo>
                  <a:lnTo>
                    <a:pt x="868" y="847"/>
                  </a:lnTo>
                  <a:lnTo>
                    <a:pt x="864" y="842"/>
                  </a:lnTo>
                  <a:lnTo>
                    <a:pt x="861" y="837"/>
                  </a:lnTo>
                  <a:lnTo>
                    <a:pt x="861" y="830"/>
                  </a:lnTo>
                  <a:lnTo>
                    <a:pt x="861" y="827"/>
                  </a:lnTo>
                  <a:lnTo>
                    <a:pt x="862" y="825"/>
                  </a:lnTo>
                  <a:lnTo>
                    <a:pt x="865" y="821"/>
                  </a:lnTo>
                  <a:lnTo>
                    <a:pt x="869" y="817"/>
                  </a:lnTo>
                  <a:lnTo>
                    <a:pt x="878" y="809"/>
                  </a:lnTo>
                  <a:lnTo>
                    <a:pt x="890" y="801"/>
                  </a:lnTo>
                  <a:lnTo>
                    <a:pt x="921" y="782"/>
                  </a:lnTo>
                  <a:lnTo>
                    <a:pt x="957" y="763"/>
                  </a:lnTo>
                  <a:lnTo>
                    <a:pt x="994" y="745"/>
                  </a:lnTo>
                  <a:lnTo>
                    <a:pt x="1029" y="730"/>
                  </a:lnTo>
                  <a:lnTo>
                    <a:pt x="1056" y="717"/>
                  </a:lnTo>
                  <a:lnTo>
                    <a:pt x="1072" y="710"/>
                  </a:lnTo>
                  <a:lnTo>
                    <a:pt x="1086" y="701"/>
                  </a:lnTo>
                  <a:lnTo>
                    <a:pt x="1098" y="693"/>
                  </a:lnTo>
                  <a:lnTo>
                    <a:pt x="1104" y="690"/>
                  </a:lnTo>
                  <a:lnTo>
                    <a:pt x="1110" y="687"/>
                  </a:lnTo>
                  <a:lnTo>
                    <a:pt x="1117" y="686"/>
                  </a:lnTo>
                  <a:lnTo>
                    <a:pt x="1126" y="686"/>
                  </a:lnTo>
                  <a:lnTo>
                    <a:pt x="1174" y="678"/>
                  </a:lnTo>
                  <a:lnTo>
                    <a:pt x="1228" y="669"/>
                  </a:lnTo>
                  <a:lnTo>
                    <a:pt x="1240" y="665"/>
                  </a:lnTo>
                  <a:lnTo>
                    <a:pt x="1252" y="661"/>
                  </a:lnTo>
                  <a:lnTo>
                    <a:pt x="1261" y="657"/>
                  </a:lnTo>
                  <a:lnTo>
                    <a:pt x="1270" y="651"/>
                  </a:lnTo>
                  <a:lnTo>
                    <a:pt x="1278" y="645"/>
                  </a:lnTo>
                  <a:lnTo>
                    <a:pt x="1283" y="638"/>
                  </a:lnTo>
                  <a:lnTo>
                    <a:pt x="1287" y="629"/>
                  </a:lnTo>
                  <a:lnTo>
                    <a:pt x="1289" y="619"/>
                  </a:lnTo>
                  <a:lnTo>
                    <a:pt x="1287" y="606"/>
                  </a:lnTo>
                  <a:lnTo>
                    <a:pt x="1283" y="594"/>
                  </a:lnTo>
                  <a:lnTo>
                    <a:pt x="1278" y="585"/>
                  </a:lnTo>
                  <a:lnTo>
                    <a:pt x="1273" y="577"/>
                  </a:lnTo>
                  <a:lnTo>
                    <a:pt x="1268" y="567"/>
                  </a:lnTo>
                  <a:lnTo>
                    <a:pt x="1262" y="558"/>
                  </a:lnTo>
                  <a:lnTo>
                    <a:pt x="1261" y="551"/>
                  </a:lnTo>
                  <a:lnTo>
                    <a:pt x="1260" y="545"/>
                  </a:lnTo>
                  <a:lnTo>
                    <a:pt x="1258" y="538"/>
                  </a:lnTo>
                  <a:lnTo>
                    <a:pt x="1258" y="529"/>
                  </a:lnTo>
                  <a:lnTo>
                    <a:pt x="1258" y="523"/>
                  </a:lnTo>
                  <a:lnTo>
                    <a:pt x="1260" y="518"/>
                  </a:lnTo>
                  <a:lnTo>
                    <a:pt x="1262" y="514"/>
                  </a:lnTo>
                  <a:lnTo>
                    <a:pt x="1265" y="510"/>
                  </a:lnTo>
                  <a:lnTo>
                    <a:pt x="1271" y="502"/>
                  </a:lnTo>
                  <a:lnTo>
                    <a:pt x="1281" y="495"/>
                  </a:lnTo>
                  <a:lnTo>
                    <a:pt x="1291" y="491"/>
                  </a:lnTo>
                  <a:lnTo>
                    <a:pt x="1303" y="487"/>
                  </a:lnTo>
                  <a:lnTo>
                    <a:pt x="1317" y="484"/>
                  </a:lnTo>
                  <a:lnTo>
                    <a:pt x="1330" y="481"/>
                  </a:lnTo>
                  <a:lnTo>
                    <a:pt x="1313" y="433"/>
                  </a:lnTo>
                  <a:lnTo>
                    <a:pt x="1313" y="425"/>
                  </a:lnTo>
                  <a:lnTo>
                    <a:pt x="1314" y="420"/>
                  </a:lnTo>
                  <a:lnTo>
                    <a:pt x="1315" y="416"/>
                  </a:lnTo>
                  <a:lnTo>
                    <a:pt x="1318" y="412"/>
                  </a:lnTo>
                  <a:lnTo>
                    <a:pt x="1321" y="409"/>
                  </a:lnTo>
                  <a:lnTo>
                    <a:pt x="1322" y="404"/>
                  </a:lnTo>
                  <a:lnTo>
                    <a:pt x="1323" y="398"/>
                  </a:lnTo>
                  <a:lnTo>
                    <a:pt x="1325" y="390"/>
                  </a:lnTo>
                  <a:lnTo>
                    <a:pt x="1323" y="385"/>
                  </a:lnTo>
                  <a:lnTo>
                    <a:pt x="1322" y="381"/>
                  </a:lnTo>
                  <a:lnTo>
                    <a:pt x="1321" y="376"/>
                  </a:lnTo>
                  <a:lnTo>
                    <a:pt x="1318" y="372"/>
                  </a:lnTo>
                  <a:lnTo>
                    <a:pt x="1311" y="365"/>
                  </a:lnTo>
                  <a:lnTo>
                    <a:pt x="1303" y="358"/>
                  </a:lnTo>
                  <a:lnTo>
                    <a:pt x="1295" y="350"/>
                  </a:lnTo>
                  <a:lnTo>
                    <a:pt x="1289" y="344"/>
                  </a:lnTo>
                  <a:lnTo>
                    <a:pt x="1286" y="340"/>
                  </a:lnTo>
                  <a:lnTo>
                    <a:pt x="1283" y="334"/>
                  </a:lnTo>
                  <a:lnTo>
                    <a:pt x="1282" y="330"/>
                  </a:lnTo>
                  <a:lnTo>
                    <a:pt x="1282" y="325"/>
                  </a:lnTo>
                  <a:lnTo>
                    <a:pt x="1283" y="318"/>
                  </a:lnTo>
                  <a:lnTo>
                    <a:pt x="1287" y="312"/>
                  </a:lnTo>
                  <a:lnTo>
                    <a:pt x="1291" y="306"/>
                  </a:lnTo>
                  <a:lnTo>
                    <a:pt x="1297" y="300"/>
                  </a:lnTo>
                  <a:lnTo>
                    <a:pt x="1302" y="293"/>
                  </a:lnTo>
                  <a:lnTo>
                    <a:pt x="1307" y="286"/>
                  </a:lnTo>
                  <a:lnTo>
                    <a:pt x="1311" y="278"/>
                  </a:lnTo>
                  <a:lnTo>
                    <a:pt x="1313" y="270"/>
                  </a:lnTo>
                  <a:lnTo>
                    <a:pt x="1305" y="270"/>
                  </a:lnTo>
                  <a:lnTo>
                    <a:pt x="1297" y="269"/>
                  </a:lnTo>
                  <a:lnTo>
                    <a:pt x="1290" y="268"/>
                  </a:lnTo>
                  <a:lnTo>
                    <a:pt x="1285" y="265"/>
                  </a:lnTo>
                  <a:lnTo>
                    <a:pt x="1273" y="260"/>
                  </a:lnTo>
                  <a:lnTo>
                    <a:pt x="1264" y="252"/>
                  </a:lnTo>
                  <a:lnTo>
                    <a:pt x="1256" y="242"/>
                  </a:lnTo>
                  <a:lnTo>
                    <a:pt x="1248" y="232"/>
                  </a:lnTo>
                  <a:lnTo>
                    <a:pt x="1241" y="221"/>
                  </a:lnTo>
                  <a:lnTo>
                    <a:pt x="1236" y="209"/>
                  </a:lnTo>
                  <a:lnTo>
                    <a:pt x="1225" y="184"/>
                  </a:lnTo>
                  <a:lnTo>
                    <a:pt x="1214" y="158"/>
                  </a:lnTo>
                  <a:lnTo>
                    <a:pt x="1208" y="148"/>
                  </a:lnTo>
                  <a:lnTo>
                    <a:pt x="1202" y="137"/>
                  </a:lnTo>
                  <a:lnTo>
                    <a:pt x="1194" y="128"/>
                  </a:lnTo>
                  <a:lnTo>
                    <a:pt x="1186" y="120"/>
                  </a:lnTo>
                  <a:lnTo>
                    <a:pt x="1150" y="94"/>
                  </a:lnTo>
                  <a:lnTo>
                    <a:pt x="1113" y="69"/>
                  </a:lnTo>
                  <a:lnTo>
                    <a:pt x="1096" y="54"/>
                  </a:lnTo>
                  <a:lnTo>
                    <a:pt x="1081" y="38"/>
                  </a:lnTo>
                  <a:lnTo>
                    <a:pt x="1074" y="30"/>
                  </a:lnTo>
                  <a:lnTo>
                    <a:pt x="1068" y="20"/>
                  </a:lnTo>
                  <a:lnTo>
                    <a:pt x="1064" y="10"/>
                  </a:lnTo>
                  <a:lnTo>
                    <a:pt x="1060" y="0"/>
                  </a:lnTo>
                  <a:lnTo>
                    <a:pt x="1052" y="4"/>
                  </a:lnTo>
                  <a:lnTo>
                    <a:pt x="1046" y="8"/>
                  </a:lnTo>
                  <a:lnTo>
                    <a:pt x="1041" y="12"/>
                  </a:lnTo>
                  <a:lnTo>
                    <a:pt x="1036" y="17"/>
                  </a:lnTo>
                  <a:lnTo>
                    <a:pt x="1029" y="29"/>
                  </a:lnTo>
                  <a:lnTo>
                    <a:pt x="1024" y="40"/>
                  </a:lnTo>
                  <a:lnTo>
                    <a:pt x="1017" y="50"/>
                  </a:lnTo>
                  <a:lnTo>
                    <a:pt x="1010" y="60"/>
                  </a:lnTo>
                  <a:lnTo>
                    <a:pt x="1006" y="64"/>
                  </a:lnTo>
                  <a:lnTo>
                    <a:pt x="1001" y="68"/>
                  </a:lnTo>
                  <a:lnTo>
                    <a:pt x="994" y="70"/>
                  </a:lnTo>
                  <a:lnTo>
                    <a:pt x="988" y="72"/>
                  </a:lnTo>
                  <a:lnTo>
                    <a:pt x="973" y="73"/>
                  </a:lnTo>
                  <a:lnTo>
                    <a:pt x="958" y="72"/>
                  </a:lnTo>
                  <a:lnTo>
                    <a:pt x="944" y="69"/>
                  </a:lnTo>
                  <a:lnTo>
                    <a:pt x="929" y="68"/>
                  </a:lnTo>
                  <a:lnTo>
                    <a:pt x="912" y="65"/>
                  </a:lnTo>
                  <a:lnTo>
                    <a:pt x="896" y="65"/>
                  </a:lnTo>
                  <a:lnTo>
                    <a:pt x="888" y="65"/>
                  </a:lnTo>
                  <a:lnTo>
                    <a:pt x="878" y="66"/>
                  </a:lnTo>
                  <a:lnTo>
                    <a:pt x="869" y="69"/>
                  </a:lnTo>
                  <a:lnTo>
                    <a:pt x="861" y="72"/>
                  </a:lnTo>
                  <a:lnTo>
                    <a:pt x="856" y="76"/>
                  </a:lnTo>
                  <a:lnTo>
                    <a:pt x="848" y="84"/>
                  </a:lnTo>
                  <a:lnTo>
                    <a:pt x="844" y="88"/>
                  </a:lnTo>
                  <a:lnTo>
                    <a:pt x="840" y="92"/>
                  </a:lnTo>
                  <a:lnTo>
                    <a:pt x="836" y="94"/>
                  </a:lnTo>
                  <a:lnTo>
                    <a:pt x="830" y="96"/>
                  </a:lnTo>
                  <a:lnTo>
                    <a:pt x="818" y="96"/>
                  </a:lnTo>
                  <a:lnTo>
                    <a:pt x="805" y="96"/>
                  </a:lnTo>
                  <a:lnTo>
                    <a:pt x="790" y="96"/>
                  </a:lnTo>
                  <a:lnTo>
                    <a:pt x="770" y="96"/>
                  </a:lnTo>
                  <a:lnTo>
                    <a:pt x="762" y="114"/>
                  </a:lnTo>
                  <a:lnTo>
                    <a:pt x="744" y="156"/>
                  </a:lnTo>
                  <a:lnTo>
                    <a:pt x="737" y="168"/>
                  </a:lnTo>
                  <a:lnTo>
                    <a:pt x="730" y="178"/>
                  </a:lnTo>
                  <a:lnTo>
                    <a:pt x="722" y="188"/>
                  </a:lnTo>
                  <a:lnTo>
                    <a:pt x="714" y="197"/>
                  </a:lnTo>
                  <a:lnTo>
                    <a:pt x="706" y="205"/>
                  </a:lnTo>
                  <a:lnTo>
                    <a:pt x="697" y="212"/>
                  </a:lnTo>
                  <a:lnTo>
                    <a:pt x="689" y="214"/>
                  </a:lnTo>
                  <a:lnTo>
                    <a:pt x="680" y="216"/>
                  </a:lnTo>
                  <a:lnTo>
                    <a:pt x="674" y="216"/>
                  </a:lnTo>
                  <a:lnTo>
                    <a:pt x="669" y="213"/>
                  </a:lnTo>
                  <a:lnTo>
                    <a:pt x="662" y="210"/>
                  </a:lnTo>
                  <a:lnTo>
                    <a:pt x="654" y="205"/>
                  </a:lnTo>
                  <a:lnTo>
                    <a:pt x="638" y="194"/>
                  </a:lnTo>
                  <a:lnTo>
                    <a:pt x="622" y="180"/>
                  </a:lnTo>
                  <a:lnTo>
                    <a:pt x="608" y="165"/>
                  </a:lnTo>
                  <a:lnTo>
                    <a:pt x="596" y="150"/>
                  </a:lnTo>
                  <a:lnTo>
                    <a:pt x="590" y="144"/>
                  </a:lnTo>
                  <a:lnTo>
                    <a:pt x="586" y="137"/>
                  </a:lnTo>
                  <a:lnTo>
                    <a:pt x="585" y="130"/>
                  </a:lnTo>
                  <a:lnTo>
                    <a:pt x="584" y="126"/>
                  </a:lnTo>
                  <a:lnTo>
                    <a:pt x="584" y="114"/>
                  </a:lnTo>
                  <a:lnTo>
                    <a:pt x="584" y="106"/>
                  </a:lnTo>
                  <a:lnTo>
                    <a:pt x="584" y="98"/>
                  </a:lnTo>
                  <a:lnTo>
                    <a:pt x="584" y="84"/>
                  </a:lnTo>
                  <a:lnTo>
                    <a:pt x="576" y="81"/>
                  </a:lnTo>
                  <a:lnTo>
                    <a:pt x="569" y="77"/>
                  </a:lnTo>
                  <a:lnTo>
                    <a:pt x="564" y="72"/>
                  </a:lnTo>
                  <a:lnTo>
                    <a:pt x="557" y="65"/>
                  </a:lnTo>
                  <a:lnTo>
                    <a:pt x="548" y="52"/>
                  </a:lnTo>
                  <a:lnTo>
                    <a:pt x="537" y="37"/>
                  </a:lnTo>
                  <a:lnTo>
                    <a:pt x="528" y="22"/>
                  </a:lnTo>
                  <a:lnTo>
                    <a:pt x="517" y="10"/>
                  </a:lnTo>
                  <a:lnTo>
                    <a:pt x="510" y="6"/>
                  </a:lnTo>
                  <a:lnTo>
                    <a:pt x="504" y="2"/>
                  </a:lnTo>
                  <a:lnTo>
                    <a:pt x="496" y="0"/>
                  </a:lnTo>
                  <a:lnTo>
                    <a:pt x="488" y="0"/>
                  </a:lnTo>
                  <a:lnTo>
                    <a:pt x="469" y="0"/>
                  </a:lnTo>
                  <a:lnTo>
                    <a:pt x="452" y="2"/>
                  </a:lnTo>
                  <a:lnTo>
                    <a:pt x="437" y="8"/>
                  </a:lnTo>
                  <a:lnTo>
                    <a:pt x="423" y="13"/>
                  </a:lnTo>
                  <a:lnTo>
                    <a:pt x="409" y="20"/>
                  </a:lnTo>
                  <a:lnTo>
                    <a:pt x="396" y="28"/>
                  </a:lnTo>
                  <a:lnTo>
                    <a:pt x="384" y="36"/>
                  </a:lnTo>
                  <a:lnTo>
                    <a:pt x="373" y="45"/>
                  </a:lnTo>
                  <a:lnTo>
                    <a:pt x="351" y="62"/>
                  </a:lnTo>
                  <a:lnTo>
                    <a:pt x="328" y="81"/>
                  </a:lnTo>
                  <a:lnTo>
                    <a:pt x="316" y="89"/>
                  </a:lnTo>
                  <a:lnTo>
                    <a:pt x="304" y="96"/>
                  </a:lnTo>
                  <a:lnTo>
                    <a:pt x="291" y="102"/>
                  </a:lnTo>
                  <a:lnTo>
                    <a:pt x="276" y="108"/>
                  </a:lnTo>
                  <a:lnTo>
                    <a:pt x="253" y="110"/>
                  </a:lnTo>
                  <a:lnTo>
                    <a:pt x="231" y="110"/>
                  </a:lnTo>
                  <a:lnTo>
                    <a:pt x="208" y="110"/>
                  </a:lnTo>
                  <a:lnTo>
                    <a:pt x="185" y="109"/>
                  </a:lnTo>
                  <a:lnTo>
                    <a:pt x="175" y="109"/>
                  </a:lnTo>
                  <a:lnTo>
                    <a:pt x="164" y="110"/>
                  </a:lnTo>
                  <a:lnTo>
                    <a:pt x="153" y="112"/>
                  </a:lnTo>
                  <a:lnTo>
                    <a:pt x="144" y="114"/>
                  </a:lnTo>
                  <a:lnTo>
                    <a:pt x="135" y="118"/>
                  </a:lnTo>
                  <a:lnTo>
                    <a:pt x="125" y="124"/>
                  </a:lnTo>
                  <a:lnTo>
                    <a:pt x="116" y="130"/>
                  </a:lnTo>
                  <a:lnTo>
                    <a:pt x="108" y="138"/>
                  </a:lnTo>
                  <a:lnTo>
                    <a:pt x="97" y="130"/>
                  </a:lnTo>
                  <a:lnTo>
                    <a:pt x="87" y="121"/>
                  </a:lnTo>
                  <a:lnTo>
                    <a:pt x="80" y="116"/>
                  </a:lnTo>
                  <a:lnTo>
                    <a:pt x="73" y="112"/>
                  </a:lnTo>
                  <a:lnTo>
                    <a:pt x="67" y="109"/>
                  </a:lnTo>
                  <a:lnTo>
                    <a:pt x="60" y="108"/>
                  </a:lnTo>
                  <a:lnTo>
                    <a:pt x="55" y="108"/>
                  </a:lnTo>
                  <a:lnTo>
                    <a:pt x="51" y="109"/>
                  </a:lnTo>
                  <a:lnTo>
                    <a:pt x="47" y="110"/>
                  </a:lnTo>
                  <a:lnTo>
                    <a:pt x="43" y="113"/>
                  </a:lnTo>
                  <a:lnTo>
                    <a:pt x="37" y="118"/>
                  </a:lnTo>
                  <a:lnTo>
                    <a:pt x="32" y="124"/>
                  </a:lnTo>
                  <a:lnTo>
                    <a:pt x="27" y="132"/>
                  </a:lnTo>
                  <a:lnTo>
                    <a:pt x="20" y="138"/>
                  </a:lnTo>
                  <a:lnTo>
                    <a:pt x="11" y="145"/>
                  </a:lnTo>
                  <a:lnTo>
                    <a:pt x="0" y="150"/>
                  </a:lnTo>
                  <a:lnTo>
                    <a:pt x="216" y="801"/>
                  </a:lnTo>
                  <a:lnTo>
                    <a:pt x="217" y="805"/>
                  </a:lnTo>
                  <a:lnTo>
                    <a:pt x="219" y="810"/>
                  </a:lnTo>
                  <a:lnTo>
                    <a:pt x="221" y="815"/>
                  </a:lnTo>
                  <a:lnTo>
                    <a:pt x="224" y="819"/>
                  </a:lnTo>
                  <a:lnTo>
                    <a:pt x="228" y="823"/>
                  </a:lnTo>
                  <a:lnTo>
                    <a:pt x="232" y="827"/>
                  </a:lnTo>
                  <a:lnTo>
                    <a:pt x="236" y="830"/>
                  </a:lnTo>
                  <a:lnTo>
                    <a:pt x="240" y="830"/>
                  </a:lnTo>
                  <a:lnTo>
                    <a:pt x="251" y="829"/>
                  </a:lnTo>
                  <a:lnTo>
                    <a:pt x="260" y="826"/>
                  </a:lnTo>
                  <a:lnTo>
                    <a:pt x="268" y="821"/>
                  </a:lnTo>
                  <a:lnTo>
                    <a:pt x="275" y="814"/>
                  </a:lnTo>
                  <a:lnTo>
                    <a:pt x="280" y="806"/>
                  </a:lnTo>
                  <a:lnTo>
                    <a:pt x="285" y="798"/>
                  </a:lnTo>
                  <a:lnTo>
                    <a:pt x="289" y="789"/>
                  </a:lnTo>
                  <a:lnTo>
                    <a:pt x="293" y="779"/>
                  </a:lnTo>
                  <a:lnTo>
                    <a:pt x="303" y="761"/>
                  </a:lnTo>
                  <a:lnTo>
                    <a:pt x="312" y="743"/>
                  </a:lnTo>
                  <a:lnTo>
                    <a:pt x="319" y="738"/>
                  </a:lnTo>
                  <a:lnTo>
                    <a:pt x="325" y="733"/>
                  </a:lnTo>
                  <a:lnTo>
                    <a:pt x="333" y="729"/>
                  </a:lnTo>
                  <a:lnTo>
                    <a:pt x="343" y="727"/>
                  </a:lnTo>
                  <a:lnTo>
                    <a:pt x="351" y="729"/>
                  </a:lnTo>
                  <a:lnTo>
                    <a:pt x="361" y="731"/>
                  </a:lnTo>
                  <a:lnTo>
                    <a:pt x="372" y="737"/>
                  </a:lnTo>
                  <a:lnTo>
                    <a:pt x="383" y="742"/>
                  </a:lnTo>
                  <a:lnTo>
                    <a:pt x="393" y="749"/>
                  </a:lnTo>
                  <a:lnTo>
                    <a:pt x="401" y="755"/>
                  </a:lnTo>
                  <a:lnTo>
                    <a:pt x="404" y="759"/>
                  </a:lnTo>
                  <a:lnTo>
                    <a:pt x="407" y="763"/>
                  </a:lnTo>
                  <a:lnTo>
                    <a:pt x="408" y="766"/>
                  </a:lnTo>
                  <a:lnTo>
                    <a:pt x="409" y="770"/>
                  </a:lnTo>
                  <a:lnTo>
                    <a:pt x="409" y="779"/>
                  </a:lnTo>
                  <a:lnTo>
                    <a:pt x="411" y="787"/>
                  </a:lnTo>
                  <a:lnTo>
                    <a:pt x="412" y="794"/>
                  </a:lnTo>
                  <a:lnTo>
                    <a:pt x="415" y="801"/>
                  </a:lnTo>
                  <a:lnTo>
                    <a:pt x="420" y="811"/>
                  </a:lnTo>
                  <a:lnTo>
                    <a:pt x="427" y="821"/>
                  </a:lnTo>
                  <a:lnTo>
                    <a:pt x="433" y="831"/>
                  </a:lnTo>
                  <a:lnTo>
                    <a:pt x="440" y="843"/>
                  </a:lnTo>
                  <a:lnTo>
                    <a:pt x="441" y="851"/>
                  </a:lnTo>
                  <a:lnTo>
                    <a:pt x="444" y="861"/>
                  </a:lnTo>
                  <a:lnTo>
                    <a:pt x="445" y="871"/>
                  </a:lnTo>
                  <a:lnTo>
                    <a:pt x="445" y="885"/>
                  </a:lnTo>
                  <a:lnTo>
                    <a:pt x="453" y="883"/>
                  </a:lnTo>
                  <a:lnTo>
                    <a:pt x="463" y="882"/>
                  </a:lnTo>
                  <a:lnTo>
                    <a:pt x="473" y="882"/>
                  </a:lnTo>
                  <a:lnTo>
                    <a:pt x="485" y="882"/>
                  </a:lnTo>
                  <a:lnTo>
                    <a:pt x="512" y="883"/>
                  </a:lnTo>
                  <a:lnTo>
                    <a:pt x="536" y="885"/>
                  </a:lnTo>
                  <a:lnTo>
                    <a:pt x="550" y="885"/>
                  </a:lnTo>
                  <a:lnTo>
                    <a:pt x="564" y="883"/>
                  </a:lnTo>
                  <a:lnTo>
                    <a:pt x="577" y="881"/>
                  </a:lnTo>
                  <a:lnTo>
                    <a:pt x="589" y="879"/>
                  </a:lnTo>
                  <a:lnTo>
                    <a:pt x="613" y="873"/>
                  </a:lnTo>
                  <a:lnTo>
                    <a:pt x="636" y="866"/>
                  </a:lnTo>
                  <a:lnTo>
                    <a:pt x="657" y="859"/>
                  </a:lnTo>
                  <a:lnTo>
                    <a:pt x="678" y="854"/>
                  </a:lnTo>
                  <a:lnTo>
                    <a:pt x="700" y="850"/>
                  </a:lnTo>
                  <a:lnTo>
                    <a:pt x="722" y="849"/>
                  </a:lnTo>
                  <a:lnTo>
                    <a:pt x="734" y="849"/>
                  </a:lnTo>
                  <a:lnTo>
                    <a:pt x="746" y="851"/>
                  </a:lnTo>
                  <a:lnTo>
                    <a:pt x="757" y="855"/>
                  </a:lnTo>
                  <a:lnTo>
                    <a:pt x="768" y="859"/>
                  </a:lnTo>
                  <a:lnTo>
                    <a:pt x="778" y="865"/>
                  </a:lnTo>
                  <a:lnTo>
                    <a:pt x="789" y="871"/>
                  </a:lnTo>
                  <a:lnTo>
                    <a:pt x="798" y="879"/>
                  </a:lnTo>
                  <a:lnTo>
                    <a:pt x="806" y="887"/>
                  </a:lnTo>
                  <a:lnTo>
                    <a:pt x="814" y="897"/>
                  </a:lnTo>
                  <a:lnTo>
                    <a:pt x="822" y="906"/>
                  </a:lnTo>
                  <a:lnTo>
                    <a:pt x="829" y="915"/>
                  </a:lnTo>
                  <a:lnTo>
                    <a:pt x="836" y="925"/>
                  </a:lnTo>
                  <a:lnTo>
                    <a:pt x="846" y="945"/>
                  </a:lnTo>
                  <a:lnTo>
                    <a:pt x="854" y="963"/>
                  </a:lnTo>
                  <a:lnTo>
                    <a:pt x="873" y="96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7709222" y="4986338"/>
              <a:ext cx="376238" cy="985837"/>
            </a:xfrm>
            <a:custGeom>
              <a:avLst/>
              <a:gdLst/>
              <a:ahLst/>
              <a:cxnLst>
                <a:cxn ang="0">
                  <a:pos x="182" y="778"/>
                </a:cxn>
                <a:cxn ang="0">
                  <a:pos x="201" y="763"/>
                </a:cxn>
                <a:cxn ang="0">
                  <a:pos x="201" y="726"/>
                </a:cxn>
                <a:cxn ang="0">
                  <a:pos x="181" y="677"/>
                </a:cxn>
                <a:cxn ang="0">
                  <a:pos x="188" y="634"/>
                </a:cxn>
                <a:cxn ang="0">
                  <a:pos x="234" y="571"/>
                </a:cxn>
                <a:cxn ang="0">
                  <a:pos x="334" y="563"/>
                </a:cxn>
                <a:cxn ang="0">
                  <a:pos x="437" y="542"/>
                </a:cxn>
                <a:cxn ang="0">
                  <a:pos x="485" y="513"/>
                </a:cxn>
                <a:cxn ang="0">
                  <a:pos x="507" y="474"/>
                </a:cxn>
                <a:cxn ang="0">
                  <a:pos x="510" y="434"/>
                </a:cxn>
                <a:cxn ang="0">
                  <a:pos x="482" y="393"/>
                </a:cxn>
                <a:cxn ang="0">
                  <a:pos x="469" y="361"/>
                </a:cxn>
                <a:cxn ang="0">
                  <a:pos x="491" y="337"/>
                </a:cxn>
                <a:cxn ang="0">
                  <a:pos x="545" y="301"/>
                </a:cxn>
                <a:cxn ang="0">
                  <a:pos x="533" y="185"/>
                </a:cxn>
                <a:cxn ang="0">
                  <a:pos x="495" y="192"/>
                </a:cxn>
                <a:cxn ang="0">
                  <a:pos x="422" y="168"/>
                </a:cxn>
                <a:cxn ang="0">
                  <a:pos x="501" y="8"/>
                </a:cxn>
                <a:cxn ang="0">
                  <a:pos x="591" y="56"/>
                </a:cxn>
                <a:cxn ang="0">
                  <a:pos x="606" y="86"/>
                </a:cxn>
                <a:cxn ang="0">
                  <a:pos x="614" y="144"/>
                </a:cxn>
                <a:cxn ang="0">
                  <a:pos x="638" y="148"/>
                </a:cxn>
                <a:cxn ang="0">
                  <a:pos x="671" y="129"/>
                </a:cxn>
                <a:cxn ang="0">
                  <a:pos x="703" y="242"/>
                </a:cxn>
                <a:cxn ang="0">
                  <a:pos x="759" y="461"/>
                </a:cxn>
                <a:cxn ang="0">
                  <a:pos x="767" y="815"/>
                </a:cxn>
                <a:cxn ang="0">
                  <a:pos x="774" y="1135"/>
                </a:cxn>
                <a:cxn ang="0">
                  <a:pos x="758" y="1360"/>
                </a:cxn>
                <a:cxn ang="0">
                  <a:pos x="693" y="1550"/>
                </a:cxn>
                <a:cxn ang="0">
                  <a:pos x="618" y="1665"/>
                </a:cxn>
                <a:cxn ang="0">
                  <a:pos x="557" y="1715"/>
                </a:cxn>
                <a:cxn ang="0">
                  <a:pos x="482" y="1733"/>
                </a:cxn>
                <a:cxn ang="0">
                  <a:pos x="433" y="1703"/>
                </a:cxn>
                <a:cxn ang="0">
                  <a:pos x="402" y="1668"/>
                </a:cxn>
                <a:cxn ang="0">
                  <a:pos x="353" y="1692"/>
                </a:cxn>
                <a:cxn ang="0">
                  <a:pos x="330" y="1733"/>
                </a:cxn>
                <a:cxn ang="0">
                  <a:pos x="326" y="1859"/>
                </a:cxn>
                <a:cxn ang="0">
                  <a:pos x="252" y="1944"/>
                </a:cxn>
                <a:cxn ang="0">
                  <a:pos x="248" y="1976"/>
                </a:cxn>
                <a:cxn ang="0">
                  <a:pos x="261" y="2015"/>
                </a:cxn>
                <a:cxn ang="0">
                  <a:pos x="212" y="1961"/>
                </a:cxn>
                <a:cxn ang="0">
                  <a:pos x="212" y="1905"/>
                </a:cxn>
                <a:cxn ang="0">
                  <a:pos x="264" y="1844"/>
                </a:cxn>
                <a:cxn ang="0">
                  <a:pos x="222" y="1721"/>
                </a:cxn>
                <a:cxn ang="0">
                  <a:pos x="136" y="1587"/>
                </a:cxn>
                <a:cxn ang="0">
                  <a:pos x="48" y="1500"/>
                </a:cxn>
                <a:cxn ang="0">
                  <a:pos x="9" y="1414"/>
                </a:cxn>
                <a:cxn ang="0">
                  <a:pos x="34" y="1291"/>
                </a:cxn>
                <a:cxn ang="0">
                  <a:pos x="114" y="1243"/>
                </a:cxn>
                <a:cxn ang="0">
                  <a:pos x="253" y="1222"/>
                </a:cxn>
                <a:cxn ang="0">
                  <a:pos x="229" y="1055"/>
                </a:cxn>
                <a:cxn ang="0">
                  <a:pos x="172" y="869"/>
                </a:cxn>
              </a:cxnLst>
              <a:rect l="0" t="0" r="r" b="b"/>
              <a:pathLst>
                <a:path w="774" h="2035">
                  <a:moveTo>
                    <a:pt x="138" y="782"/>
                  </a:moveTo>
                  <a:lnTo>
                    <a:pt x="150" y="782"/>
                  </a:lnTo>
                  <a:lnTo>
                    <a:pt x="161" y="782"/>
                  </a:lnTo>
                  <a:lnTo>
                    <a:pt x="173" y="781"/>
                  </a:lnTo>
                  <a:lnTo>
                    <a:pt x="182" y="778"/>
                  </a:lnTo>
                  <a:lnTo>
                    <a:pt x="188" y="775"/>
                  </a:lnTo>
                  <a:lnTo>
                    <a:pt x="192" y="774"/>
                  </a:lnTo>
                  <a:lnTo>
                    <a:pt x="196" y="771"/>
                  </a:lnTo>
                  <a:lnTo>
                    <a:pt x="198" y="767"/>
                  </a:lnTo>
                  <a:lnTo>
                    <a:pt x="201" y="763"/>
                  </a:lnTo>
                  <a:lnTo>
                    <a:pt x="202" y="758"/>
                  </a:lnTo>
                  <a:lnTo>
                    <a:pt x="204" y="753"/>
                  </a:lnTo>
                  <a:lnTo>
                    <a:pt x="205" y="746"/>
                  </a:lnTo>
                  <a:lnTo>
                    <a:pt x="204" y="735"/>
                  </a:lnTo>
                  <a:lnTo>
                    <a:pt x="201" y="726"/>
                  </a:lnTo>
                  <a:lnTo>
                    <a:pt x="197" y="718"/>
                  </a:lnTo>
                  <a:lnTo>
                    <a:pt x="193" y="709"/>
                  </a:lnTo>
                  <a:lnTo>
                    <a:pt x="188" y="699"/>
                  </a:lnTo>
                  <a:lnTo>
                    <a:pt x="184" y="689"/>
                  </a:lnTo>
                  <a:lnTo>
                    <a:pt x="181" y="677"/>
                  </a:lnTo>
                  <a:lnTo>
                    <a:pt x="181" y="662"/>
                  </a:lnTo>
                  <a:lnTo>
                    <a:pt x="181" y="655"/>
                  </a:lnTo>
                  <a:lnTo>
                    <a:pt x="182" y="649"/>
                  </a:lnTo>
                  <a:lnTo>
                    <a:pt x="185" y="642"/>
                  </a:lnTo>
                  <a:lnTo>
                    <a:pt x="188" y="634"/>
                  </a:lnTo>
                  <a:lnTo>
                    <a:pt x="196" y="618"/>
                  </a:lnTo>
                  <a:lnTo>
                    <a:pt x="205" y="602"/>
                  </a:lnTo>
                  <a:lnTo>
                    <a:pt x="217" y="589"/>
                  </a:lnTo>
                  <a:lnTo>
                    <a:pt x="229" y="577"/>
                  </a:lnTo>
                  <a:lnTo>
                    <a:pt x="234" y="571"/>
                  </a:lnTo>
                  <a:lnTo>
                    <a:pt x="241" y="569"/>
                  </a:lnTo>
                  <a:lnTo>
                    <a:pt x="246" y="566"/>
                  </a:lnTo>
                  <a:lnTo>
                    <a:pt x="253" y="566"/>
                  </a:lnTo>
                  <a:lnTo>
                    <a:pt x="292" y="565"/>
                  </a:lnTo>
                  <a:lnTo>
                    <a:pt x="334" y="563"/>
                  </a:lnTo>
                  <a:lnTo>
                    <a:pt x="356" y="561"/>
                  </a:lnTo>
                  <a:lnTo>
                    <a:pt x="377" y="558"/>
                  </a:lnTo>
                  <a:lnTo>
                    <a:pt x="398" y="554"/>
                  </a:lnTo>
                  <a:lnTo>
                    <a:pt x="418" y="549"/>
                  </a:lnTo>
                  <a:lnTo>
                    <a:pt x="437" y="542"/>
                  </a:lnTo>
                  <a:lnTo>
                    <a:pt x="455" y="534"/>
                  </a:lnTo>
                  <a:lnTo>
                    <a:pt x="463" y="529"/>
                  </a:lnTo>
                  <a:lnTo>
                    <a:pt x="471" y="523"/>
                  </a:lnTo>
                  <a:lnTo>
                    <a:pt x="478" y="518"/>
                  </a:lnTo>
                  <a:lnTo>
                    <a:pt x="485" y="513"/>
                  </a:lnTo>
                  <a:lnTo>
                    <a:pt x="490" y="506"/>
                  </a:lnTo>
                  <a:lnTo>
                    <a:pt x="495" y="499"/>
                  </a:lnTo>
                  <a:lnTo>
                    <a:pt x="501" y="491"/>
                  </a:lnTo>
                  <a:lnTo>
                    <a:pt x="505" y="483"/>
                  </a:lnTo>
                  <a:lnTo>
                    <a:pt x="507" y="474"/>
                  </a:lnTo>
                  <a:lnTo>
                    <a:pt x="510" y="465"/>
                  </a:lnTo>
                  <a:lnTo>
                    <a:pt x="511" y="455"/>
                  </a:lnTo>
                  <a:lnTo>
                    <a:pt x="511" y="445"/>
                  </a:lnTo>
                  <a:lnTo>
                    <a:pt x="511" y="439"/>
                  </a:lnTo>
                  <a:lnTo>
                    <a:pt x="510" y="434"/>
                  </a:lnTo>
                  <a:lnTo>
                    <a:pt x="507" y="429"/>
                  </a:lnTo>
                  <a:lnTo>
                    <a:pt x="505" y="423"/>
                  </a:lnTo>
                  <a:lnTo>
                    <a:pt x="498" y="413"/>
                  </a:lnTo>
                  <a:lnTo>
                    <a:pt x="490" y="404"/>
                  </a:lnTo>
                  <a:lnTo>
                    <a:pt x="482" y="393"/>
                  </a:lnTo>
                  <a:lnTo>
                    <a:pt x="475" y="382"/>
                  </a:lnTo>
                  <a:lnTo>
                    <a:pt x="473" y="377"/>
                  </a:lnTo>
                  <a:lnTo>
                    <a:pt x="471" y="372"/>
                  </a:lnTo>
                  <a:lnTo>
                    <a:pt x="470" y="366"/>
                  </a:lnTo>
                  <a:lnTo>
                    <a:pt x="469" y="361"/>
                  </a:lnTo>
                  <a:lnTo>
                    <a:pt x="470" y="357"/>
                  </a:lnTo>
                  <a:lnTo>
                    <a:pt x="473" y="353"/>
                  </a:lnTo>
                  <a:lnTo>
                    <a:pt x="475" y="349"/>
                  </a:lnTo>
                  <a:lnTo>
                    <a:pt x="479" y="345"/>
                  </a:lnTo>
                  <a:lnTo>
                    <a:pt x="491" y="337"/>
                  </a:lnTo>
                  <a:lnTo>
                    <a:pt x="505" y="329"/>
                  </a:lnTo>
                  <a:lnTo>
                    <a:pt x="519" y="321"/>
                  </a:lnTo>
                  <a:lnTo>
                    <a:pt x="533" y="312"/>
                  </a:lnTo>
                  <a:lnTo>
                    <a:pt x="539" y="306"/>
                  </a:lnTo>
                  <a:lnTo>
                    <a:pt x="545" y="301"/>
                  </a:lnTo>
                  <a:lnTo>
                    <a:pt x="550" y="296"/>
                  </a:lnTo>
                  <a:lnTo>
                    <a:pt x="554" y="289"/>
                  </a:lnTo>
                  <a:lnTo>
                    <a:pt x="554" y="193"/>
                  </a:lnTo>
                  <a:lnTo>
                    <a:pt x="542" y="188"/>
                  </a:lnTo>
                  <a:lnTo>
                    <a:pt x="533" y="185"/>
                  </a:lnTo>
                  <a:lnTo>
                    <a:pt x="526" y="185"/>
                  </a:lnTo>
                  <a:lnTo>
                    <a:pt x="519" y="185"/>
                  </a:lnTo>
                  <a:lnTo>
                    <a:pt x="513" y="188"/>
                  </a:lnTo>
                  <a:lnTo>
                    <a:pt x="506" y="190"/>
                  </a:lnTo>
                  <a:lnTo>
                    <a:pt x="495" y="192"/>
                  </a:lnTo>
                  <a:lnTo>
                    <a:pt x="482" y="193"/>
                  </a:lnTo>
                  <a:lnTo>
                    <a:pt x="473" y="190"/>
                  </a:lnTo>
                  <a:lnTo>
                    <a:pt x="459" y="185"/>
                  </a:lnTo>
                  <a:lnTo>
                    <a:pt x="442" y="177"/>
                  </a:lnTo>
                  <a:lnTo>
                    <a:pt x="422" y="168"/>
                  </a:lnTo>
                  <a:lnTo>
                    <a:pt x="389" y="152"/>
                  </a:lnTo>
                  <a:lnTo>
                    <a:pt x="373" y="144"/>
                  </a:lnTo>
                  <a:lnTo>
                    <a:pt x="475" y="0"/>
                  </a:lnTo>
                  <a:lnTo>
                    <a:pt x="485" y="2"/>
                  </a:lnTo>
                  <a:lnTo>
                    <a:pt x="501" y="8"/>
                  </a:lnTo>
                  <a:lnTo>
                    <a:pt x="521" y="17"/>
                  </a:lnTo>
                  <a:lnTo>
                    <a:pt x="543" y="28"/>
                  </a:lnTo>
                  <a:lnTo>
                    <a:pt x="565" y="40"/>
                  </a:lnTo>
                  <a:lnTo>
                    <a:pt x="583" y="50"/>
                  </a:lnTo>
                  <a:lnTo>
                    <a:pt x="591" y="56"/>
                  </a:lnTo>
                  <a:lnTo>
                    <a:pt x="597" y="60"/>
                  </a:lnTo>
                  <a:lnTo>
                    <a:pt x="601" y="64"/>
                  </a:lnTo>
                  <a:lnTo>
                    <a:pt x="602" y="66"/>
                  </a:lnTo>
                  <a:lnTo>
                    <a:pt x="605" y="74"/>
                  </a:lnTo>
                  <a:lnTo>
                    <a:pt x="606" y="86"/>
                  </a:lnTo>
                  <a:lnTo>
                    <a:pt x="607" y="101"/>
                  </a:lnTo>
                  <a:lnTo>
                    <a:pt x="607" y="114"/>
                  </a:lnTo>
                  <a:lnTo>
                    <a:pt x="609" y="128"/>
                  </a:lnTo>
                  <a:lnTo>
                    <a:pt x="611" y="140"/>
                  </a:lnTo>
                  <a:lnTo>
                    <a:pt x="614" y="144"/>
                  </a:lnTo>
                  <a:lnTo>
                    <a:pt x="617" y="148"/>
                  </a:lnTo>
                  <a:lnTo>
                    <a:pt x="621" y="149"/>
                  </a:lnTo>
                  <a:lnTo>
                    <a:pt x="626" y="150"/>
                  </a:lnTo>
                  <a:lnTo>
                    <a:pt x="633" y="149"/>
                  </a:lnTo>
                  <a:lnTo>
                    <a:pt x="638" y="148"/>
                  </a:lnTo>
                  <a:lnTo>
                    <a:pt x="645" y="144"/>
                  </a:lnTo>
                  <a:lnTo>
                    <a:pt x="651" y="141"/>
                  </a:lnTo>
                  <a:lnTo>
                    <a:pt x="657" y="137"/>
                  </a:lnTo>
                  <a:lnTo>
                    <a:pt x="665" y="133"/>
                  </a:lnTo>
                  <a:lnTo>
                    <a:pt x="671" y="129"/>
                  </a:lnTo>
                  <a:lnTo>
                    <a:pt x="681" y="126"/>
                  </a:lnTo>
                  <a:lnTo>
                    <a:pt x="683" y="152"/>
                  </a:lnTo>
                  <a:lnTo>
                    <a:pt x="689" y="180"/>
                  </a:lnTo>
                  <a:lnTo>
                    <a:pt x="695" y="210"/>
                  </a:lnTo>
                  <a:lnTo>
                    <a:pt x="703" y="242"/>
                  </a:lnTo>
                  <a:lnTo>
                    <a:pt x="714" y="277"/>
                  </a:lnTo>
                  <a:lnTo>
                    <a:pt x="727" y="313"/>
                  </a:lnTo>
                  <a:lnTo>
                    <a:pt x="742" y="352"/>
                  </a:lnTo>
                  <a:lnTo>
                    <a:pt x="758" y="392"/>
                  </a:lnTo>
                  <a:lnTo>
                    <a:pt x="759" y="461"/>
                  </a:lnTo>
                  <a:lnTo>
                    <a:pt x="759" y="531"/>
                  </a:lnTo>
                  <a:lnTo>
                    <a:pt x="762" y="602"/>
                  </a:lnTo>
                  <a:lnTo>
                    <a:pt x="763" y="674"/>
                  </a:lnTo>
                  <a:lnTo>
                    <a:pt x="766" y="745"/>
                  </a:lnTo>
                  <a:lnTo>
                    <a:pt x="767" y="815"/>
                  </a:lnTo>
                  <a:lnTo>
                    <a:pt x="770" y="883"/>
                  </a:lnTo>
                  <a:lnTo>
                    <a:pt x="773" y="950"/>
                  </a:lnTo>
                  <a:lnTo>
                    <a:pt x="774" y="1015"/>
                  </a:lnTo>
                  <a:lnTo>
                    <a:pt x="774" y="1076"/>
                  </a:lnTo>
                  <a:lnTo>
                    <a:pt x="774" y="1135"/>
                  </a:lnTo>
                  <a:lnTo>
                    <a:pt x="774" y="1190"/>
                  </a:lnTo>
                  <a:lnTo>
                    <a:pt x="771" y="1240"/>
                  </a:lnTo>
                  <a:lnTo>
                    <a:pt x="769" y="1286"/>
                  </a:lnTo>
                  <a:lnTo>
                    <a:pt x="765" y="1326"/>
                  </a:lnTo>
                  <a:lnTo>
                    <a:pt x="758" y="1360"/>
                  </a:lnTo>
                  <a:lnTo>
                    <a:pt x="747" y="1403"/>
                  </a:lnTo>
                  <a:lnTo>
                    <a:pt x="730" y="1456"/>
                  </a:lnTo>
                  <a:lnTo>
                    <a:pt x="719" y="1487"/>
                  </a:lnTo>
                  <a:lnTo>
                    <a:pt x="706" y="1518"/>
                  </a:lnTo>
                  <a:lnTo>
                    <a:pt x="693" y="1550"/>
                  </a:lnTo>
                  <a:lnTo>
                    <a:pt x="677" y="1581"/>
                  </a:lnTo>
                  <a:lnTo>
                    <a:pt x="659" y="1611"/>
                  </a:lnTo>
                  <a:lnTo>
                    <a:pt x="639" y="1639"/>
                  </a:lnTo>
                  <a:lnTo>
                    <a:pt x="629" y="1652"/>
                  </a:lnTo>
                  <a:lnTo>
                    <a:pt x="618" y="1665"/>
                  </a:lnTo>
                  <a:lnTo>
                    <a:pt x="607" y="1677"/>
                  </a:lnTo>
                  <a:lnTo>
                    <a:pt x="595" y="1688"/>
                  </a:lnTo>
                  <a:lnTo>
                    <a:pt x="582" y="1697"/>
                  </a:lnTo>
                  <a:lnTo>
                    <a:pt x="570" y="1707"/>
                  </a:lnTo>
                  <a:lnTo>
                    <a:pt x="557" y="1715"/>
                  </a:lnTo>
                  <a:lnTo>
                    <a:pt x="542" y="1721"/>
                  </a:lnTo>
                  <a:lnTo>
                    <a:pt x="527" y="1727"/>
                  </a:lnTo>
                  <a:lnTo>
                    <a:pt x="513" y="1731"/>
                  </a:lnTo>
                  <a:lnTo>
                    <a:pt x="498" y="1733"/>
                  </a:lnTo>
                  <a:lnTo>
                    <a:pt x="482" y="1733"/>
                  </a:lnTo>
                  <a:lnTo>
                    <a:pt x="469" y="1732"/>
                  </a:lnTo>
                  <a:lnTo>
                    <a:pt x="458" y="1729"/>
                  </a:lnTo>
                  <a:lnTo>
                    <a:pt x="450" y="1724"/>
                  </a:lnTo>
                  <a:lnTo>
                    <a:pt x="443" y="1717"/>
                  </a:lnTo>
                  <a:lnTo>
                    <a:pt x="433" y="1703"/>
                  </a:lnTo>
                  <a:lnTo>
                    <a:pt x="423" y="1687"/>
                  </a:lnTo>
                  <a:lnTo>
                    <a:pt x="419" y="1680"/>
                  </a:lnTo>
                  <a:lnTo>
                    <a:pt x="414" y="1675"/>
                  </a:lnTo>
                  <a:lnTo>
                    <a:pt x="409" y="1669"/>
                  </a:lnTo>
                  <a:lnTo>
                    <a:pt x="402" y="1668"/>
                  </a:lnTo>
                  <a:lnTo>
                    <a:pt x="396" y="1668"/>
                  </a:lnTo>
                  <a:lnTo>
                    <a:pt x="386" y="1671"/>
                  </a:lnTo>
                  <a:lnTo>
                    <a:pt x="374" y="1676"/>
                  </a:lnTo>
                  <a:lnTo>
                    <a:pt x="361" y="1685"/>
                  </a:lnTo>
                  <a:lnTo>
                    <a:pt x="353" y="1692"/>
                  </a:lnTo>
                  <a:lnTo>
                    <a:pt x="346" y="1700"/>
                  </a:lnTo>
                  <a:lnTo>
                    <a:pt x="341" y="1707"/>
                  </a:lnTo>
                  <a:lnTo>
                    <a:pt x="336" y="1715"/>
                  </a:lnTo>
                  <a:lnTo>
                    <a:pt x="333" y="1724"/>
                  </a:lnTo>
                  <a:lnTo>
                    <a:pt x="330" y="1733"/>
                  </a:lnTo>
                  <a:lnTo>
                    <a:pt x="329" y="1744"/>
                  </a:lnTo>
                  <a:lnTo>
                    <a:pt x="328" y="1756"/>
                  </a:lnTo>
                  <a:lnTo>
                    <a:pt x="326" y="1784"/>
                  </a:lnTo>
                  <a:lnTo>
                    <a:pt x="326" y="1817"/>
                  </a:lnTo>
                  <a:lnTo>
                    <a:pt x="326" y="1859"/>
                  </a:lnTo>
                  <a:lnTo>
                    <a:pt x="325" y="1908"/>
                  </a:lnTo>
                  <a:lnTo>
                    <a:pt x="292" y="1923"/>
                  </a:lnTo>
                  <a:lnTo>
                    <a:pt x="266" y="1933"/>
                  </a:lnTo>
                  <a:lnTo>
                    <a:pt x="258" y="1939"/>
                  </a:lnTo>
                  <a:lnTo>
                    <a:pt x="252" y="1944"/>
                  </a:lnTo>
                  <a:lnTo>
                    <a:pt x="246" y="1949"/>
                  </a:lnTo>
                  <a:lnTo>
                    <a:pt x="244" y="1956"/>
                  </a:lnTo>
                  <a:lnTo>
                    <a:pt x="244" y="1961"/>
                  </a:lnTo>
                  <a:lnTo>
                    <a:pt x="244" y="1969"/>
                  </a:lnTo>
                  <a:lnTo>
                    <a:pt x="248" y="1976"/>
                  </a:lnTo>
                  <a:lnTo>
                    <a:pt x="252" y="1985"/>
                  </a:lnTo>
                  <a:lnTo>
                    <a:pt x="268" y="2007"/>
                  </a:lnTo>
                  <a:lnTo>
                    <a:pt x="289" y="2035"/>
                  </a:lnTo>
                  <a:lnTo>
                    <a:pt x="274" y="2024"/>
                  </a:lnTo>
                  <a:lnTo>
                    <a:pt x="261" y="2015"/>
                  </a:lnTo>
                  <a:lnTo>
                    <a:pt x="248" y="2004"/>
                  </a:lnTo>
                  <a:lnTo>
                    <a:pt x="237" y="1993"/>
                  </a:lnTo>
                  <a:lnTo>
                    <a:pt x="226" y="1983"/>
                  </a:lnTo>
                  <a:lnTo>
                    <a:pt x="218" y="1972"/>
                  </a:lnTo>
                  <a:lnTo>
                    <a:pt x="212" y="1961"/>
                  </a:lnTo>
                  <a:lnTo>
                    <a:pt x="206" y="1949"/>
                  </a:lnTo>
                  <a:lnTo>
                    <a:pt x="204" y="1939"/>
                  </a:lnTo>
                  <a:lnTo>
                    <a:pt x="204" y="1928"/>
                  </a:lnTo>
                  <a:lnTo>
                    <a:pt x="206" y="1916"/>
                  </a:lnTo>
                  <a:lnTo>
                    <a:pt x="212" y="1905"/>
                  </a:lnTo>
                  <a:lnTo>
                    <a:pt x="220" y="1893"/>
                  </a:lnTo>
                  <a:lnTo>
                    <a:pt x="232" y="1883"/>
                  </a:lnTo>
                  <a:lnTo>
                    <a:pt x="246" y="1872"/>
                  </a:lnTo>
                  <a:lnTo>
                    <a:pt x="265" y="1860"/>
                  </a:lnTo>
                  <a:lnTo>
                    <a:pt x="264" y="1844"/>
                  </a:lnTo>
                  <a:lnTo>
                    <a:pt x="260" y="1825"/>
                  </a:lnTo>
                  <a:lnTo>
                    <a:pt x="253" y="1804"/>
                  </a:lnTo>
                  <a:lnTo>
                    <a:pt x="246" y="1781"/>
                  </a:lnTo>
                  <a:lnTo>
                    <a:pt x="232" y="1743"/>
                  </a:lnTo>
                  <a:lnTo>
                    <a:pt x="222" y="1721"/>
                  </a:lnTo>
                  <a:lnTo>
                    <a:pt x="202" y="1687"/>
                  </a:lnTo>
                  <a:lnTo>
                    <a:pt x="185" y="1656"/>
                  </a:lnTo>
                  <a:lnTo>
                    <a:pt x="168" y="1629"/>
                  </a:lnTo>
                  <a:lnTo>
                    <a:pt x="152" y="1607"/>
                  </a:lnTo>
                  <a:lnTo>
                    <a:pt x="136" y="1587"/>
                  </a:lnTo>
                  <a:lnTo>
                    <a:pt x="122" y="1570"/>
                  </a:lnTo>
                  <a:lnTo>
                    <a:pt x="109" y="1555"/>
                  </a:lnTo>
                  <a:lnTo>
                    <a:pt x="96" y="1542"/>
                  </a:lnTo>
                  <a:lnTo>
                    <a:pt x="70" y="1520"/>
                  </a:lnTo>
                  <a:lnTo>
                    <a:pt x="48" y="1500"/>
                  </a:lnTo>
                  <a:lnTo>
                    <a:pt x="24" y="1480"/>
                  </a:lnTo>
                  <a:lnTo>
                    <a:pt x="0" y="1456"/>
                  </a:lnTo>
                  <a:lnTo>
                    <a:pt x="0" y="1450"/>
                  </a:lnTo>
                  <a:lnTo>
                    <a:pt x="2" y="1435"/>
                  </a:lnTo>
                  <a:lnTo>
                    <a:pt x="9" y="1414"/>
                  </a:lnTo>
                  <a:lnTo>
                    <a:pt x="16" y="1387"/>
                  </a:lnTo>
                  <a:lnTo>
                    <a:pt x="22" y="1356"/>
                  </a:lnTo>
                  <a:lnTo>
                    <a:pt x="29" y="1324"/>
                  </a:lnTo>
                  <a:lnTo>
                    <a:pt x="32" y="1307"/>
                  </a:lnTo>
                  <a:lnTo>
                    <a:pt x="34" y="1291"/>
                  </a:lnTo>
                  <a:lnTo>
                    <a:pt x="36" y="1274"/>
                  </a:lnTo>
                  <a:lnTo>
                    <a:pt x="36" y="1258"/>
                  </a:lnTo>
                  <a:lnTo>
                    <a:pt x="58" y="1252"/>
                  </a:lnTo>
                  <a:lnTo>
                    <a:pt x="85" y="1247"/>
                  </a:lnTo>
                  <a:lnTo>
                    <a:pt x="114" y="1243"/>
                  </a:lnTo>
                  <a:lnTo>
                    <a:pt x="144" y="1240"/>
                  </a:lnTo>
                  <a:lnTo>
                    <a:pt x="174" y="1236"/>
                  </a:lnTo>
                  <a:lnTo>
                    <a:pt x="204" y="1232"/>
                  </a:lnTo>
                  <a:lnTo>
                    <a:pt x="230" y="1228"/>
                  </a:lnTo>
                  <a:lnTo>
                    <a:pt x="253" y="1222"/>
                  </a:lnTo>
                  <a:lnTo>
                    <a:pt x="250" y="1186"/>
                  </a:lnTo>
                  <a:lnTo>
                    <a:pt x="246" y="1151"/>
                  </a:lnTo>
                  <a:lnTo>
                    <a:pt x="241" y="1118"/>
                  </a:lnTo>
                  <a:lnTo>
                    <a:pt x="236" y="1086"/>
                  </a:lnTo>
                  <a:lnTo>
                    <a:pt x="229" y="1055"/>
                  </a:lnTo>
                  <a:lnTo>
                    <a:pt x="222" y="1026"/>
                  </a:lnTo>
                  <a:lnTo>
                    <a:pt x="214" y="996"/>
                  </a:lnTo>
                  <a:lnTo>
                    <a:pt x="206" y="970"/>
                  </a:lnTo>
                  <a:lnTo>
                    <a:pt x="190" y="918"/>
                  </a:lnTo>
                  <a:lnTo>
                    <a:pt x="172" y="869"/>
                  </a:lnTo>
                  <a:lnTo>
                    <a:pt x="154" y="822"/>
                  </a:lnTo>
                  <a:lnTo>
                    <a:pt x="138" y="777"/>
                  </a:lnTo>
                  <a:lnTo>
                    <a:pt x="138" y="78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3988122" y="2582863"/>
              <a:ext cx="1389063" cy="3270250"/>
            </a:xfrm>
            <a:custGeom>
              <a:avLst/>
              <a:gdLst/>
              <a:ahLst/>
              <a:cxnLst>
                <a:cxn ang="0">
                  <a:pos x="211" y="2861"/>
                </a:cxn>
                <a:cxn ang="0">
                  <a:pos x="379" y="3250"/>
                </a:cxn>
                <a:cxn ang="0">
                  <a:pos x="506" y="3666"/>
                </a:cxn>
                <a:cxn ang="0">
                  <a:pos x="451" y="3932"/>
                </a:cxn>
                <a:cxn ang="0">
                  <a:pos x="328" y="4171"/>
                </a:cxn>
                <a:cxn ang="0">
                  <a:pos x="361" y="4399"/>
                </a:cxn>
                <a:cxn ang="0">
                  <a:pos x="319" y="4671"/>
                </a:cxn>
                <a:cxn ang="0">
                  <a:pos x="593" y="4756"/>
                </a:cxn>
                <a:cxn ang="0">
                  <a:pos x="785" y="4961"/>
                </a:cxn>
                <a:cxn ang="0">
                  <a:pos x="834" y="5205"/>
                </a:cxn>
                <a:cxn ang="0">
                  <a:pos x="782" y="5562"/>
                </a:cxn>
                <a:cxn ang="0">
                  <a:pos x="796" y="5830"/>
                </a:cxn>
                <a:cxn ang="0">
                  <a:pos x="1073" y="5984"/>
                </a:cxn>
                <a:cxn ang="0">
                  <a:pos x="1239" y="6362"/>
                </a:cxn>
                <a:cxn ang="0">
                  <a:pos x="1062" y="6601"/>
                </a:cxn>
                <a:cxn ang="0">
                  <a:pos x="1403" y="6708"/>
                </a:cxn>
                <a:cxn ang="0">
                  <a:pos x="1633" y="6335"/>
                </a:cxn>
                <a:cxn ang="0">
                  <a:pos x="1783" y="6134"/>
                </a:cxn>
                <a:cxn ang="0">
                  <a:pos x="1883" y="5980"/>
                </a:cxn>
                <a:cxn ang="0">
                  <a:pos x="1871" y="5713"/>
                </a:cxn>
                <a:cxn ang="0">
                  <a:pos x="1966" y="5458"/>
                </a:cxn>
                <a:cxn ang="0">
                  <a:pos x="2083" y="5201"/>
                </a:cxn>
                <a:cxn ang="0">
                  <a:pos x="2295" y="5209"/>
                </a:cxn>
                <a:cxn ang="0">
                  <a:pos x="2398" y="5037"/>
                </a:cxn>
                <a:cxn ang="0">
                  <a:pos x="2492" y="4800"/>
                </a:cxn>
                <a:cxn ang="0">
                  <a:pos x="2732" y="4860"/>
                </a:cxn>
                <a:cxn ang="0">
                  <a:pos x="2812" y="4676"/>
                </a:cxn>
                <a:cxn ang="0">
                  <a:pos x="2787" y="4436"/>
                </a:cxn>
                <a:cxn ang="0">
                  <a:pos x="2698" y="4146"/>
                </a:cxn>
                <a:cxn ang="0">
                  <a:pos x="2783" y="3932"/>
                </a:cxn>
                <a:cxn ang="0">
                  <a:pos x="2727" y="3692"/>
                </a:cxn>
                <a:cxn ang="0">
                  <a:pos x="2772" y="3486"/>
                </a:cxn>
                <a:cxn ang="0">
                  <a:pos x="2630" y="3387"/>
                </a:cxn>
                <a:cxn ang="0">
                  <a:pos x="2590" y="3035"/>
                </a:cxn>
                <a:cxn ang="0">
                  <a:pos x="2442" y="2776"/>
                </a:cxn>
                <a:cxn ang="0">
                  <a:pos x="2354" y="2124"/>
                </a:cxn>
                <a:cxn ang="0">
                  <a:pos x="2587" y="1944"/>
                </a:cxn>
                <a:cxn ang="0">
                  <a:pos x="2704" y="1508"/>
                </a:cxn>
                <a:cxn ang="0">
                  <a:pos x="2487" y="1191"/>
                </a:cxn>
                <a:cxn ang="0">
                  <a:pos x="2432" y="914"/>
                </a:cxn>
                <a:cxn ang="0">
                  <a:pos x="2383" y="1031"/>
                </a:cxn>
                <a:cxn ang="0">
                  <a:pos x="2291" y="926"/>
                </a:cxn>
                <a:cxn ang="0">
                  <a:pos x="2302" y="229"/>
                </a:cxn>
                <a:cxn ang="0">
                  <a:pos x="1990" y="293"/>
                </a:cxn>
                <a:cxn ang="0">
                  <a:pos x="1873" y="140"/>
                </a:cxn>
                <a:cxn ang="0">
                  <a:pos x="1809" y="12"/>
                </a:cxn>
                <a:cxn ang="0">
                  <a:pos x="1587" y="225"/>
                </a:cxn>
                <a:cxn ang="0">
                  <a:pos x="1478" y="385"/>
                </a:cxn>
                <a:cxn ang="0">
                  <a:pos x="1339" y="558"/>
                </a:cxn>
                <a:cxn ang="0">
                  <a:pos x="1238" y="509"/>
                </a:cxn>
                <a:cxn ang="0">
                  <a:pos x="1010" y="645"/>
                </a:cxn>
                <a:cxn ang="0">
                  <a:pos x="740" y="1106"/>
                </a:cxn>
                <a:cxn ang="0">
                  <a:pos x="273" y="1155"/>
                </a:cxn>
                <a:cxn ang="0">
                  <a:pos x="240" y="1490"/>
                </a:cxn>
                <a:cxn ang="0">
                  <a:pos x="368" y="1627"/>
                </a:cxn>
                <a:cxn ang="0">
                  <a:pos x="369" y="2081"/>
                </a:cxn>
                <a:cxn ang="0">
                  <a:pos x="323" y="1893"/>
                </a:cxn>
                <a:cxn ang="0">
                  <a:pos x="360" y="1662"/>
                </a:cxn>
                <a:cxn ang="0">
                  <a:pos x="72" y="1467"/>
                </a:cxn>
                <a:cxn ang="0">
                  <a:pos x="160" y="1674"/>
                </a:cxn>
                <a:cxn ang="0">
                  <a:pos x="164" y="1957"/>
                </a:cxn>
                <a:cxn ang="0">
                  <a:pos x="37" y="2237"/>
                </a:cxn>
                <a:cxn ang="0">
                  <a:pos x="289" y="2403"/>
                </a:cxn>
              </a:cxnLst>
              <a:rect l="0" t="0" r="r" b="b"/>
              <a:pathLst>
                <a:path w="2865" h="6748">
                  <a:moveTo>
                    <a:pt x="276" y="2557"/>
                  </a:moveTo>
                  <a:lnTo>
                    <a:pt x="271" y="2540"/>
                  </a:lnTo>
                  <a:lnTo>
                    <a:pt x="276" y="2557"/>
                  </a:lnTo>
                  <a:lnTo>
                    <a:pt x="271" y="2557"/>
                  </a:lnTo>
                  <a:lnTo>
                    <a:pt x="269" y="2568"/>
                  </a:lnTo>
                  <a:lnTo>
                    <a:pt x="267" y="2578"/>
                  </a:lnTo>
                  <a:lnTo>
                    <a:pt x="264" y="2590"/>
                  </a:lnTo>
                  <a:lnTo>
                    <a:pt x="259" y="2602"/>
                  </a:lnTo>
                  <a:lnTo>
                    <a:pt x="252" y="2613"/>
                  </a:lnTo>
                  <a:lnTo>
                    <a:pt x="245" y="2624"/>
                  </a:lnTo>
                  <a:lnTo>
                    <a:pt x="237" y="2634"/>
                  </a:lnTo>
                  <a:lnTo>
                    <a:pt x="228" y="2641"/>
                  </a:lnTo>
                  <a:lnTo>
                    <a:pt x="212" y="2645"/>
                  </a:lnTo>
                  <a:lnTo>
                    <a:pt x="195" y="2648"/>
                  </a:lnTo>
                  <a:lnTo>
                    <a:pt x="187" y="2650"/>
                  </a:lnTo>
                  <a:lnTo>
                    <a:pt x="180" y="2656"/>
                  </a:lnTo>
                  <a:lnTo>
                    <a:pt x="177" y="2658"/>
                  </a:lnTo>
                  <a:lnTo>
                    <a:pt x="176" y="2662"/>
                  </a:lnTo>
                  <a:lnTo>
                    <a:pt x="175" y="2666"/>
                  </a:lnTo>
                  <a:lnTo>
                    <a:pt x="175" y="2672"/>
                  </a:lnTo>
                  <a:lnTo>
                    <a:pt x="176" y="2680"/>
                  </a:lnTo>
                  <a:lnTo>
                    <a:pt x="179" y="2701"/>
                  </a:lnTo>
                  <a:lnTo>
                    <a:pt x="184" y="2730"/>
                  </a:lnTo>
                  <a:lnTo>
                    <a:pt x="191" y="2765"/>
                  </a:lnTo>
                  <a:lnTo>
                    <a:pt x="197" y="2801"/>
                  </a:lnTo>
                  <a:lnTo>
                    <a:pt x="204" y="2834"/>
                  </a:lnTo>
                  <a:lnTo>
                    <a:pt x="211" y="2861"/>
                  </a:lnTo>
                  <a:lnTo>
                    <a:pt x="216" y="2877"/>
                  </a:lnTo>
                  <a:lnTo>
                    <a:pt x="237" y="2897"/>
                  </a:lnTo>
                  <a:lnTo>
                    <a:pt x="255" y="2910"/>
                  </a:lnTo>
                  <a:lnTo>
                    <a:pt x="259" y="2913"/>
                  </a:lnTo>
                  <a:lnTo>
                    <a:pt x="261" y="2917"/>
                  </a:lnTo>
                  <a:lnTo>
                    <a:pt x="264" y="2922"/>
                  </a:lnTo>
                  <a:lnTo>
                    <a:pt x="267" y="2928"/>
                  </a:lnTo>
                  <a:lnTo>
                    <a:pt x="268" y="2934"/>
                  </a:lnTo>
                  <a:lnTo>
                    <a:pt x="269" y="2941"/>
                  </a:lnTo>
                  <a:lnTo>
                    <a:pt x="271" y="2950"/>
                  </a:lnTo>
                  <a:lnTo>
                    <a:pt x="271" y="2961"/>
                  </a:lnTo>
                  <a:lnTo>
                    <a:pt x="271" y="3001"/>
                  </a:lnTo>
                  <a:lnTo>
                    <a:pt x="271" y="3035"/>
                  </a:lnTo>
                  <a:lnTo>
                    <a:pt x="271" y="3073"/>
                  </a:lnTo>
                  <a:lnTo>
                    <a:pt x="271" y="3123"/>
                  </a:lnTo>
                  <a:lnTo>
                    <a:pt x="271" y="3137"/>
                  </a:lnTo>
                  <a:lnTo>
                    <a:pt x="273" y="3149"/>
                  </a:lnTo>
                  <a:lnTo>
                    <a:pt x="276" y="3159"/>
                  </a:lnTo>
                  <a:lnTo>
                    <a:pt x="280" y="3169"/>
                  </a:lnTo>
                  <a:lnTo>
                    <a:pt x="285" y="3178"/>
                  </a:lnTo>
                  <a:lnTo>
                    <a:pt x="292" y="3187"/>
                  </a:lnTo>
                  <a:lnTo>
                    <a:pt x="299" y="3195"/>
                  </a:lnTo>
                  <a:lnTo>
                    <a:pt x="307" y="3202"/>
                  </a:lnTo>
                  <a:lnTo>
                    <a:pt x="324" y="3215"/>
                  </a:lnTo>
                  <a:lnTo>
                    <a:pt x="341" y="3227"/>
                  </a:lnTo>
                  <a:lnTo>
                    <a:pt x="360" y="3238"/>
                  </a:lnTo>
                  <a:lnTo>
                    <a:pt x="379" y="3250"/>
                  </a:lnTo>
                  <a:lnTo>
                    <a:pt x="385" y="3365"/>
                  </a:lnTo>
                  <a:lnTo>
                    <a:pt x="379" y="3371"/>
                  </a:lnTo>
                  <a:lnTo>
                    <a:pt x="371" y="3383"/>
                  </a:lnTo>
                  <a:lnTo>
                    <a:pt x="367" y="3391"/>
                  </a:lnTo>
                  <a:lnTo>
                    <a:pt x="364" y="3398"/>
                  </a:lnTo>
                  <a:lnTo>
                    <a:pt x="361" y="3406"/>
                  </a:lnTo>
                  <a:lnTo>
                    <a:pt x="361" y="3413"/>
                  </a:lnTo>
                  <a:lnTo>
                    <a:pt x="363" y="3421"/>
                  </a:lnTo>
                  <a:lnTo>
                    <a:pt x="365" y="3427"/>
                  </a:lnTo>
                  <a:lnTo>
                    <a:pt x="371" y="3435"/>
                  </a:lnTo>
                  <a:lnTo>
                    <a:pt x="379" y="3442"/>
                  </a:lnTo>
                  <a:lnTo>
                    <a:pt x="387" y="3447"/>
                  </a:lnTo>
                  <a:lnTo>
                    <a:pt x="397" y="3454"/>
                  </a:lnTo>
                  <a:lnTo>
                    <a:pt x="408" y="3459"/>
                  </a:lnTo>
                  <a:lnTo>
                    <a:pt x="420" y="3465"/>
                  </a:lnTo>
                  <a:lnTo>
                    <a:pt x="445" y="3473"/>
                  </a:lnTo>
                  <a:lnTo>
                    <a:pt x="470" y="3479"/>
                  </a:lnTo>
                  <a:lnTo>
                    <a:pt x="493" y="3483"/>
                  </a:lnTo>
                  <a:lnTo>
                    <a:pt x="512" y="3485"/>
                  </a:lnTo>
                  <a:lnTo>
                    <a:pt x="513" y="3511"/>
                  </a:lnTo>
                  <a:lnTo>
                    <a:pt x="517" y="3541"/>
                  </a:lnTo>
                  <a:lnTo>
                    <a:pt x="521" y="3571"/>
                  </a:lnTo>
                  <a:lnTo>
                    <a:pt x="524" y="3605"/>
                  </a:lnTo>
                  <a:lnTo>
                    <a:pt x="522" y="3624"/>
                  </a:lnTo>
                  <a:lnTo>
                    <a:pt x="518" y="3640"/>
                  </a:lnTo>
                  <a:lnTo>
                    <a:pt x="513" y="3654"/>
                  </a:lnTo>
                  <a:lnTo>
                    <a:pt x="506" y="3666"/>
                  </a:lnTo>
                  <a:lnTo>
                    <a:pt x="498" y="3675"/>
                  </a:lnTo>
                  <a:lnTo>
                    <a:pt x="489" y="3684"/>
                  </a:lnTo>
                  <a:lnTo>
                    <a:pt x="480" y="3692"/>
                  </a:lnTo>
                  <a:lnTo>
                    <a:pt x="469" y="3700"/>
                  </a:lnTo>
                  <a:lnTo>
                    <a:pt x="459" y="3708"/>
                  </a:lnTo>
                  <a:lnTo>
                    <a:pt x="449" y="3716"/>
                  </a:lnTo>
                  <a:lnTo>
                    <a:pt x="440" y="3724"/>
                  </a:lnTo>
                  <a:lnTo>
                    <a:pt x="432" y="3735"/>
                  </a:lnTo>
                  <a:lnTo>
                    <a:pt x="425" y="3746"/>
                  </a:lnTo>
                  <a:lnTo>
                    <a:pt x="420" y="3759"/>
                  </a:lnTo>
                  <a:lnTo>
                    <a:pt x="416" y="3774"/>
                  </a:lnTo>
                  <a:lnTo>
                    <a:pt x="415" y="3791"/>
                  </a:lnTo>
                  <a:lnTo>
                    <a:pt x="416" y="3798"/>
                  </a:lnTo>
                  <a:lnTo>
                    <a:pt x="417" y="3804"/>
                  </a:lnTo>
                  <a:lnTo>
                    <a:pt x="419" y="3811"/>
                  </a:lnTo>
                  <a:lnTo>
                    <a:pt x="421" y="3818"/>
                  </a:lnTo>
                  <a:lnTo>
                    <a:pt x="428" y="3830"/>
                  </a:lnTo>
                  <a:lnTo>
                    <a:pt x="436" y="3842"/>
                  </a:lnTo>
                  <a:lnTo>
                    <a:pt x="444" y="3855"/>
                  </a:lnTo>
                  <a:lnTo>
                    <a:pt x="451" y="3871"/>
                  </a:lnTo>
                  <a:lnTo>
                    <a:pt x="453" y="3879"/>
                  </a:lnTo>
                  <a:lnTo>
                    <a:pt x="456" y="3887"/>
                  </a:lnTo>
                  <a:lnTo>
                    <a:pt x="457" y="3896"/>
                  </a:lnTo>
                  <a:lnTo>
                    <a:pt x="457" y="3906"/>
                  </a:lnTo>
                  <a:lnTo>
                    <a:pt x="456" y="3916"/>
                  </a:lnTo>
                  <a:lnTo>
                    <a:pt x="455" y="3924"/>
                  </a:lnTo>
                  <a:lnTo>
                    <a:pt x="451" y="3932"/>
                  </a:lnTo>
                  <a:lnTo>
                    <a:pt x="447" y="3940"/>
                  </a:lnTo>
                  <a:lnTo>
                    <a:pt x="436" y="3954"/>
                  </a:lnTo>
                  <a:lnTo>
                    <a:pt x="423" y="3966"/>
                  </a:lnTo>
                  <a:lnTo>
                    <a:pt x="409" y="3978"/>
                  </a:lnTo>
                  <a:lnTo>
                    <a:pt x="396" y="3990"/>
                  </a:lnTo>
                  <a:lnTo>
                    <a:pt x="391" y="3996"/>
                  </a:lnTo>
                  <a:lnTo>
                    <a:pt x="385" y="4004"/>
                  </a:lnTo>
                  <a:lnTo>
                    <a:pt x="381" y="4012"/>
                  </a:lnTo>
                  <a:lnTo>
                    <a:pt x="379" y="4020"/>
                  </a:lnTo>
                  <a:lnTo>
                    <a:pt x="376" y="4043"/>
                  </a:lnTo>
                  <a:lnTo>
                    <a:pt x="375" y="4063"/>
                  </a:lnTo>
                  <a:lnTo>
                    <a:pt x="373" y="4072"/>
                  </a:lnTo>
                  <a:lnTo>
                    <a:pt x="371" y="4080"/>
                  </a:lnTo>
                  <a:lnTo>
                    <a:pt x="367" y="4087"/>
                  </a:lnTo>
                  <a:lnTo>
                    <a:pt x="361" y="4092"/>
                  </a:lnTo>
                  <a:lnTo>
                    <a:pt x="355" y="4096"/>
                  </a:lnTo>
                  <a:lnTo>
                    <a:pt x="349" y="4098"/>
                  </a:lnTo>
                  <a:lnTo>
                    <a:pt x="344" y="4099"/>
                  </a:lnTo>
                  <a:lnTo>
                    <a:pt x="340" y="4098"/>
                  </a:lnTo>
                  <a:lnTo>
                    <a:pt x="335" y="4098"/>
                  </a:lnTo>
                  <a:lnTo>
                    <a:pt x="331" y="4098"/>
                  </a:lnTo>
                  <a:lnTo>
                    <a:pt x="325" y="4098"/>
                  </a:lnTo>
                  <a:lnTo>
                    <a:pt x="319" y="4099"/>
                  </a:lnTo>
                  <a:lnTo>
                    <a:pt x="319" y="4118"/>
                  </a:lnTo>
                  <a:lnTo>
                    <a:pt x="321" y="4136"/>
                  </a:lnTo>
                  <a:lnTo>
                    <a:pt x="324" y="4154"/>
                  </a:lnTo>
                  <a:lnTo>
                    <a:pt x="328" y="4171"/>
                  </a:lnTo>
                  <a:lnTo>
                    <a:pt x="335" y="4187"/>
                  </a:lnTo>
                  <a:lnTo>
                    <a:pt x="341" y="4203"/>
                  </a:lnTo>
                  <a:lnTo>
                    <a:pt x="349" y="4217"/>
                  </a:lnTo>
                  <a:lnTo>
                    <a:pt x="357" y="4231"/>
                  </a:lnTo>
                  <a:lnTo>
                    <a:pt x="368" y="4243"/>
                  </a:lnTo>
                  <a:lnTo>
                    <a:pt x="379" y="4253"/>
                  </a:lnTo>
                  <a:lnTo>
                    <a:pt x="392" y="4263"/>
                  </a:lnTo>
                  <a:lnTo>
                    <a:pt x="405" y="4271"/>
                  </a:lnTo>
                  <a:lnTo>
                    <a:pt x="420" y="4277"/>
                  </a:lnTo>
                  <a:lnTo>
                    <a:pt x="435" y="4281"/>
                  </a:lnTo>
                  <a:lnTo>
                    <a:pt x="452" y="4284"/>
                  </a:lnTo>
                  <a:lnTo>
                    <a:pt x="469" y="4285"/>
                  </a:lnTo>
                  <a:lnTo>
                    <a:pt x="470" y="4297"/>
                  </a:lnTo>
                  <a:lnTo>
                    <a:pt x="470" y="4308"/>
                  </a:lnTo>
                  <a:lnTo>
                    <a:pt x="469" y="4319"/>
                  </a:lnTo>
                  <a:lnTo>
                    <a:pt x="467" y="4328"/>
                  </a:lnTo>
                  <a:lnTo>
                    <a:pt x="463" y="4336"/>
                  </a:lnTo>
                  <a:lnTo>
                    <a:pt x="459" y="4344"/>
                  </a:lnTo>
                  <a:lnTo>
                    <a:pt x="453" y="4351"/>
                  </a:lnTo>
                  <a:lnTo>
                    <a:pt x="447" y="4357"/>
                  </a:lnTo>
                  <a:lnTo>
                    <a:pt x="440" y="4363"/>
                  </a:lnTo>
                  <a:lnTo>
                    <a:pt x="432" y="4368"/>
                  </a:lnTo>
                  <a:lnTo>
                    <a:pt x="424" y="4373"/>
                  </a:lnTo>
                  <a:lnTo>
                    <a:pt x="416" y="4377"/>
                  </a:lnTo>
                  <a:lnTo>
                    <a:pt x="399" y="4385"/>
                  </a:lnTo>
                  <a:lnTo>
                    <a:pt x="380" y="4392"/>
                  </a:lnTo>
                  <a:lnTo>
                    <a:pt x="361" y="4399"/>
                  </a:lnTo>
                  <a:lnTo>
                    <a:pt x="343" y="4405"/>
                  </a:lnTo>
                  <a:lnTo>
                    <a:pt x="325" y="4412"/>
                  </a:lnTo>
                  <a:lnTo>
                    <a:pt x="309" y="4421"/>
                  </a:lnTo>
                  <a:lnTo>
                    <a:pt x="303" y="4425"/>
                  </a:lnTo>
                  <a:lnTo>
                    <a:pt x="296" y="4431"/>
                  </a:lnTo>
                  <a:lnTo>
                    <a:pt x="291" y="4436"/>
                  </a:lnTo>
                  <a:lnTo>
                    <a:pt x="285" y="4441"/>
                  </a:lnTo>
                  <a:lnTo>
                    <a:pt x="281" y="4448"/>
                  </a:lnTo>
                  <a:lnTo>
                    <a:pt x="279" y="4456"/>
                  </a:lnTo>
                  <a:lnTo>
                    <a:pt x="277" y="4464"/>
                  </a:lnTo>
                  <a:lnTo>
                    <a:pt x="276" y="4472"/>
                  </a:lnTo>
                  <a:lnTo>
                    <a:pt x="277" y="4480"/>
                  </a:lnTo>
                  <a:lnTo>
                    <a:pt x="279" y="4488"/>
                  </a:lnTo>
                  <a:lnTo>
                    <a:pt x="280" y="4495"/>
                  </a:lnTo>
                  <a:lnTo>
                    <a:pt x="283" y="4501"/>
                  </a:lnTo>
                  <a:lnTo>
                    <a:pt x="289" y="4513"/>
                  </a:lnTo>
                  <a:lnTo>
                    <a:pt x="297" y="4523"/>
                  </a:lnTo>
                  <a:lnTo>
                    <a:pt x="305" y="4533"/>
                  </a:lnTo>
                  <a:lnTo>
                    <a:pt x="312" y="4545"/>
                  </a:lnTo>
                  <a:lnTo>
                    <a:pt x="315" y="4551"/>
                  </a:lnTo>
                  <a:lnTo>
                    <a:pt x="317" y="4559"/>
                  </a:lnTo>
                  <a:lnTo>
                    <a:pt x="319" y="4565"/>
                  </a:lnTo>
                  <a:lnTo>
                    <a:pt x="319" y="4575"/>
                  </a:lnTo>
                  <a:lnTo>
                    <a:pt x="319" y="4605"/>
                  </a:lnTo>
                  <a:lnTo>
                    <a:pt x="319" y="4632"/>
                  </a:lnTo>
                  <a:lnTo>
                    <a:pt x="319" y="4655"/>
                  </a:lnTo>
                  <a:lnTo>
                    <a:pt x="319" y="4671"/>
                  </a:lnTo>
                  <a:lnTo>
                    <a:pt x="319" y="4676"/>
                  </a:lnTo>
                  <a:lnTo>
                    <a:pt x="320" y="4684"/>
                  </a:lnTo>
                  <a:lnTo>
                    <a:pt x="323" y="4691"/>
                  </a:lnTo>
                  <a:lnTo>
                    <a:pt x="325" y="4700"/>
                  </a:lnTo>
                  <a:lnTo>
                    <a:pt x="331" y="4707"/>
                  </a:lnTo>
                  <a:lnTo>
                    <a:pt x="336" y="4713"/>
                  </a:lnTo>
                  <a:lnTo>
                    <a:pt x="340" y="4716"/>
                  </a:lnTo>
                  <a:lnTo>
                    <a:pt x="344" y="4717"/>
                  </a:lnTo>
                  <a:lnTo>
                    <a:pt x="349" y="4719"/>
                  </a:lnTo>
                  <a:lnTo>
                    <a:pt x="355" y="4719"/>
                  </a:lnTo>
                  <a:lnTo>
                    <a:pt x="375" y="4719"/>
                  </a:lnTo>
                  <a:lnTo>
                    <a:pt x="392" y="4716"/>
                  </a:lnTo>
                  <a:lnTo>
                    <a:pt x="408" y="4713"/>
                  </a:lnTo>
                  <a:lnTo>
                    <a:pt x="424" y="4709"/>
                  </a:lnTo>
                  <a:lnTo>
                    <a:pt x="440" y="4707"/>
                  </a:lnTo>
                  <a:lnTo>
                    <a:pt x="456" y="4704"/>
                  </a:lnTo>
                  <a:lnTo>
                    <a:pt x="474" y="4701"/>
                  </a:lnTo>
                  <a:lnTo>
                    <a:pt x="493" y="4701"/>
                  </a:lnTo>
                  <a:lnTo>
                    <a:pt x="510" y="4701"/>
                  </a:lnTo>
                  <a:lnTo>
                    <a:pt x="526" y="4704"/>
                  </a:lnTo>
                  <a:lnTo>
                    <a:pt x="538" y="4708"/>
                  </a:lnTo>
                  <a:lnTo>
                    <a:pt x="550" y="4713"/>
                  </a:lnTo>
                  <a:lnTo>
                    <a:pt x="558" y="4719"/>
                  </a:lnTo>
                  <a:lnTo>
                    <a:pt x="566" y="4725"/>
                  </a:lnTo>
                  <a:lnTo>
                    <a:pt x="574" y="4733"/>
                  </a:lnTo>
                  <a:lnTo>
                    <a:pt x="581" y="4741"/>
                  </a:lnTo>
                  <a:lnTo>
                    <a:pt x="593" y="4756"/>
                  </a:lnTo>
                  <a:lnTo>
                    <a:pt x="606" y="4769"/>
                  </a:lnTo>
                  <a:lnTo>
                    <a:pt x="614" y="4775"/>
                  </a:lnTo>
                  <a:lnTo>
                    <a:pt x="625" y="4780"/>
                  </a:lnTo>
                  <a:lnTo>
                    <a:pt x="636" y="4783"/>
                  </a:lnTo>
                  <a:lnTo>
                    <a:pt x="650" y="4785"/>
                  </a:lnTo>
                  <a:lnTo>
                    <a:pt x="653" y="4794"/>
                  </a:lnTo>
                  <a:lnTo>
                    <a:pt x="657" y="4806"/>
                  </a:lnTo>
                  <a:lnTo>
                    <a:pt x="662" y="4820"/>
                  </a:lnTo>
                  <a:lnTo>
                    <a:pt x="669" y="4833"/>
                  </a:lnTo>
                  <a:lnTo>
                    <a:pt x="676" y="4845"/>
                  </a:lnTo>
                  <a:lnTo>
                    <a:pt x="684" y="4857"/>
                  </a:lnTo>
                  <a:lnTo>
                    <a:pt x="690" y="4868"/>
                  </a:lnTo>
                  <a:lnTo>
                    <a:pt x="698" y="4876"/>
                  </a:lnTo>
                  <a:lnTo>
                    <a:pt x="712" y="4882"/>
                  </a:lnTo>
                  <a:lnTo>
                    <a:pt x="728" y="4888"/>
                  </a:lnTo>
                  <a:lnTo>
                    <a:pt x="742" y="4893"/>
                  </a:lnTo>
                  <a:lnTo>
                    <a:pt x="757" y="4897"/>
                  </a:lnTo>
                  <a:lnTo>
                    <a:pt x="764" y="4900"/>
                  </a:lnTo>
                  <a:lnTo>
                    <a:pt x="769" y="4904"/>
                  </a:lnTo>
                  <a:lnTo>
                    <a:pt x="774" y="4908"/>
                  </a:lnTo>
                  <a:lnTo>
                    <a:pt x="780" y="4912"/>
                  </a:lnTo>
                  <a:lnTo>
                    <a:pt x="782" y="4917"/>
                  </a:lnTo>
                  <a:lnTo>
                    <a:pt x="786" y="4924"/>
                  </a:lnTo>
                  <a:lnTo>
                    <a:pt x="788" y="4932"/>
                  </a:lnTo>
                  <a:lnTo>
                    <a:pt x="788" y="4941"/>
                  </a:lnTo>
                  <a:lnTo>
                    <a:pt x="788" y="4952"/>
                  </a:lnTo>
                  <a:lnTo>
                    <a:pt x="785" y="4961"/>
                  </a:lnTo>
                  <a:lnTo>
                    <a:pt x="781" y="4970"/>
                  </a:lnTo>
                  <a:lnTo>
                    <a:pt x="776" y="4980"/>
                  </a:lnTo>
                  <a:lnTo>
                    <a:pt x="764" y="4998"/>
                  </a:lnTo>
                  <a:lnTo>
                    <a:pt x="749" y="5017"/>
                  </a:lnTo>
                  <a:lnTo>
                    <a:pt x="742" y="5028"/>
                  </a:lnTo>
                  <a:lnTo>
                    <a:pt x="734" y="5038"/>
                  </a:lnTo>
                  <a:lnTo>
                    <a:pt x="728" y="5049"/>
                  </a:lnTo>
                  <a:lnTo>
                    <a:pt x="722" y="5061"/>
                  </a:lnTo>
                  <a:lnTo>
                    <a:pt x="717" y="5073"/>
                  </a:lnTo>
                  <a:lnTo>
                    <a:pt x="713" y="5086"/>
                  </a:lnTo>
                  <a:lnTo>
                    <a:pt x="710" y="5101"/>
                  </a:lnTo>
                  <a:lnTo>
                    <a:pt x="710" y="5116"/>
                  </a:lnTo>
                  <a:lnTo>
                    <a:pt x="710" y="5125"/>
                  </a:lnTo>
                  <a:lnTo>
                    <a:pt x="712" y="5134"/>
                  </a:lnTo>
                  <a:lnTo>
                    <a:pt x="714" y="5141"/>
                  </a:lnTo>
                  <a:lnTo>
                    <a:pt x="717" y="5148"/>
                  </a:lnTo>
                  <a:lnTo>
                    <a:pt x="721" y="5154"/>
                  </a:lnTo>
                  <a:lnTo>
                    <a:pt x="725" y="5160"/>
                  </a:lnTo>
                  <a:lnTo>
                    <a:pt x="730" y="5164"/>
                  </a:lnTo>
                  <a:lnTo>
                    <a:pt x="736" y="5169"/>
                  </a:lnTo>
                  <a:lnTo>
                    <a:pt x="748" y="5176"/>
                  </a:lnTo>
                  <a:lnTo>
                    <a:pt x="761" y="5181"/>
                  </a:lnTo>
                  <a:lnTo>
                    <a:pt x="776" y="5186"/>
                  </a:lnTo>
                  <a:lnTo>
                    <a:pt x="792" y="5190"/>
                  </a:lnTo>
                  <a:lnTo>
                    <a:pt x="806" y="5196"/>
                  </a:lnTo>
                  <a:lnTo>
                    <a:pt x="821" y="5200"/>
                  </a:lnTo>
                  <a:lnTo>
                    <a:pt x="834" y="5205"/>
                  </a:lnTo>
                  <a:lnTo>
                    <a:pt x="848" y="5212"/>
                  </a:lnTo>
                  <a:lnTo>
                    <a:pt x="853" y="5216"/>
                  </a:lnTo>
                  <a:lnTo>
                    <a:pt x="857" y="5221"/>
                  </a:lnTo>
                  <a:lnTo>
                    <a:pt x="862" y="5225"/>
                  </a:lnTo>
                  <a:lnTo>
                    <a:pt x="865" y="5232"/>
                  </a:lnTo>
                  <a:lnTo>
                    <a:pt x="869" y="5237"/>
                  </a:lnTo>
                  <a:lnTo>
                    <a:pt x="870" y="5245"/>
                  </a:lnTo>
                  <a:lnTo>
                    <a:pt x="872" y="5252"/>
                  </a:lnTo>
                  <a:lnTo>
                    <a:pt x="873" y="5261"/>
                  </a:lnTo>
                  <a:lnTo>
                    <a:pt x="872" y="5274"/>
                  </a:lnTo>
                  <a:lnTo>
                    <a:pt x="869" y="5286"/>
                  </a:lnTo>
                  <a:lnTo>
                    <a:pt x="864" y="5297"/>
                  </a:lnTo>
                  <a:lnTo>
                    <a:pt x="858" y="5308"/>
                  </a:lnTo>
                  <a:lnTo>
                    <a:pt x="852" y="5316"/>
                  </a:lnTo>
                  <a:lnTo>
                    <a:pt x="844" y="5324"/>
                  </a:lnTo>
                  <a:lnTo>
                    <a:pt x="836" y="5330"/>
                  </a:lnTo>
                  <a:lnTo>
                    <a:pt x="828" y="5337"/>
                  </a:lnTo>
                  <a:lnTo>
                    <a:pt x="810" y="5352"/>
                  </a:lnTo>
                  <a:lnTo>
                    <a:pt x="796" y="5366"/>
                  </a:lnTo>
                  <a:lnTo>
                    <a:pt x="790" y="5374"/>
                  </a:lnTo>
                  <a:lnTo>
                    <a:pt x="786" y="5383"/>
                  </a:lnTo>
                  <a:lnTo>
                    <a:pt x="784" y="5394"/>
                  </a:lnTo>
                  <a:lnTo>
                    <a:pt x="782" y="5405"/>
                  </a:lnTo>
                  <a:lnTo>
                    <a:pt x="782" y="5433"/>
                  </a:lnTo>
                  <a:lnTo>
                    <a:pt x="782" y="5477"/>
                  </a:lnTo>
                  <a:lnTo>
                    <a:pt x="782" y="5525"/>
                  </a:lnTo>
                  <a:lnTo>
                    <a:pt x="782" y="5562"/>
                  </a:lnTo>
                  <a:lnTo>
                    <a:pt x="784" y="5571"/>
                  </a:lnTo>
                  <a:lnTo>
                    <a:pt x="786" y="5581"/>
                  </a:lnTo>
                  <a:lnTo>
                    <a:pt x="790" y="5590"/>
                  </a:lnTo>
                  <a:lnTo>
                    <a:pt x="796" y="5599"/>
                  </a:lnTo>
                  <a:lnTo>
                    <a:pt x="809" y="5617"/>
                  </a:lnTo>
                  <a:lnTo>
                    <a:pt x="825" y="5637"/>
                  </a:lnTo>
                  <a:lnTo>
                    <a:pt x="832" y="5646"/>
                  </a:lnTo>
                  <a:lnTo>
                    <a:pt x="840" y="5657"/>
                  </a:lnTo>
                  <a:lnTo>
                    <a:pt x="846" y="5669"/>
                  </a:lnTo>
                  <a:lnTo>
                    <a:pt x="853" y="5681"/>
                  </a:lnTo>
                  <a:lnTo>
                    <a:pt x="858" y="5694"/>
                  </a:lnTo>
                  <a:lnTo>
                    <a:pt x="862" y="5709"/>
                  </a:lnTo>
                  <a:lnTo>
                    <a:pt x="865" y="5725"/>
                  </a:lnTo>
                  <a:lnTo>
                    <a:pt x="866" y="5742"/>
                  </a:lnTo>
                  <a:lnTo>
                    <a:pt x="866" y="5754"/>
                  </a:lnTo>
                  <a:lnTo>
                    <a:pt x="864" y="5763"/>
                  </a:lnTo>
                  <a:lnTo>
                    <a:pt x="860" y="5771"/>
                  </a:lnTo>
                  <a:lnTo>
                    <a:pt x="856" y="5778"/>
                  </a:lnTo>
                  <a:lnTo>
                    <a:pt x="850" y="5783"/>
                  </a:lnTo>
                  <a:lnTo>
                    <a:pt x="844" y="5787"/>
                  </a:lnTo>
                  <a:lnTo>
                    <a:pt x="837" y="5791"/>
                  </a:lnTo>
                  <a:lnTo>
                    <a:pt x="830" y="5795"/>
                  </a:lnTo>
                  <a:lnTo>
                    <a:pt x="817" y="5802"/>
                  </a:lnTo>
                  <a:lnTo>
                    <a:pt x="805" y="5810"/>
                  </a:lnTo>
                  <a:lnTo>
                    <a:pt x="801" y="5815"/>
                  </a:lnTo>
                  <a:lnTo>
                    <a:pt x="797" y="5822"/>
                  </a:lnTo>
                  <a:lnTo>
                    <a:pt x="796" y="5830"/>
                  </a:lnTo>
                  <a:lnTo>
                    <a:pt x="794" y="5839"/>
                  </a:lnTo>
                  <a:lnTo>
                    <a:pt x="796" y="5843"/>
                  </a:lnTo>
                  <a:lnTo>
                    <a:pt x="797" y="5850"/>
                  </a:lnTo>
                  <a:lnTo>
                    <a:pt x="801" y="5857"/>
                  </a:lnTo>
                  <a:lnTo>
                    <a:pt x="806" y="5865"/>
                  </a:lnTo>
                  <a:lnTo>
                    <a:pt x="818" y="5882"/>
                  </a:lnTo>
                  <a:lnTo>
                    <a:pt x="834" y="5899"/>
                  </a:lnTo>
                  <a:lnTo>
                    <a:pt x="852" y="5915"/>
                  </a:lnTo>
                  <a:lnTo>
                    <a:pt x="868" y="5929"/>
                  </a:lnTo>
                  <a:lnTo>
                    <a:pt x="876" y="5934"/>
                  </a:lnTo>
                  <a:lnTo>
                    <a:pt x="884" y="5938"/>
                  </a:lnTo>
                  <a:lnTo>
                    <a:pt x="890" y="5941"/>
                  </a:lnTo>
                  <a:lnTo>
                    <a:pt x="897" y="5941"/>
                  </a:lnTo>
                  <a:lnTo>
                    <a:pt x="909" y="5941"/>
                  </a:lnTo>
                  <a:lnTo>
                    <a:pt x="921" y="5939"/>
                  </a:lnTo>
                  <a:lnTo>
                    <a:pt x="932" y="5938"/>
                  </a:lnTo>
                  <a:lnTo>
                    <a:pt x="941" y="5935"/>
                  </a:lnTo>
                  <a:lnTo>
                    <a:pt x="960" y="5931"/>
                  </a:lnTo>
                  <a:lnTo>
                    <a:pt x="981" y="5929"/>
                  </a:lnTo>
                  <a:lnTo>
                    <a:pt x="993" y="5930"/>
                  </a:lnTo>
                  <a:lnTo>
                    <a:pt x="1004" y="5933"/>
                  </a:lnTo>
                  <a:lnTo>
                    <a:pt x="1013" y="5938"/>
                  </a:lnTo>
                  <a:lnTo>
                    <a:pt x="1021" y="5943"/>
                  </a:lnTo>
                  <a:lnTo>
                    <a:pt x="1037" y="5956"/>
                  </a:lnTo>
                  <a:lnTo>
                    <a:pt x="1053" y="5971"/>
                  </a:lnTo>
                  <a:lnTo>
                    <a:pt x="1064" y="5978"/>
                  </a:lnTo>
                  <a:lnTo>
                    <a:pt x="1073" y="5984"/>
                  </a:lnTo>
                  <a:lnTo>
                    <a:pt x="1082" y="5992"/>
                  </a:lnTo>
                  <a:lnTo>
                    <a:pt x="1090" y="6000"/>
                  </a:lnTo>
                  <a:lnTo>
                    <a:pt x="1097" y="6010"/>
                  </a:lnTo>
                  <a:lnTo>
                    <a:pt x="1104" y="6019"/>
                  </a:lnTo>
                  <a:lnTo>
                    <a:pt x="1109" y="6028"/>
                  </a:lnTo>
                  <a:lnTo>
                    <a:pt x="1116" y="6038"/>
                  </a:lnTo>
                  <a:lnTo>
                    <a:pt x="1125" y="6059"/>
                  </a:lnTo>
                  <a:lnTo>
                    <a:pt x="1133" y="6080"/>
                  </a:lnTo>
                  <a:lnTo>
                    <a:pt x="1140" y="6103"/>
                  </a:lnTo>
                  <a:lnTo>
                    <a:pt x="1146" y="6127"/>
                  </a:lnTo>
                  <a:lnTo>
                    <a:pt x="1157" y="6174"/>
                  </a:lnTo>
                  <a:lnTo>
                    <a:pt x="1172" y="6219"/>
                  </a:lnTo>
                  <a:lnTo>
                    <a:pt x="1180" y="6240"/>
                  </a:lnTo>
                  <a:lnTo>
                    <a:pt x="1189" y="6260"/>
                  </a:lnTo>
                  <a:lnTo>
                    <a:pt x="1196" y="6271"/>
                  </a:lnTo>
                  <a:lnTo>
                    <a:pt x="1201" y="6279"/>
                  </a:lnTo>
                  <a:lnTo>
                    <a:pt x="1209" y="6288"/>
                  </a:lnTo>
                  <a:lnTo>
                    <a:pt x="1216" y="6296"/>
                  </a:lnTo>
                  <a:lnTo>
                    <a:pt x="1217" y="6304"/>
                  </a:lnTo>
                  <a:lnTo>
                    <a:pt x="1220" y="6312"/>
                  </a:lnTo>
                  <a:lnTo>
                    <a:pt x="1224" y="6319"/>
                  </a:lnTo>
                  <a:lnTo>
                    <a:pt x="1228" y="6327"/>
                  </a:lnTo>
                  <a:lnTo>
                    <a:pt x="1233" y="6334"/>
                  </a:lnTo>
                  <a:lnTo>
                    <a:pt x="1235" y="6340"/>
                  </a:lnTo>
                  <a:lnTo>
                    <a:pt x="1238" y="6348"/>
                  </a:lnTo>
                  <a:lnTo>
                    <a:pt x="1239" y="6356"/>
                  </a:lnTo>
                  <a:lnTo>
                    <a:pt x="1239" y="6362"/>
                  </a:lnTo>
                  <a:lnTo>
                    <a:pt x="1238" y="6367"/>
                  </a:lnTo>
                  <a:lnTo>
                    <a:pt x="1235" y="6372"/>
                  </a:lnTo>
                  <a:lnTo>
                    <a:pt x="1233" y="6376"/>
                  </a:lnTo>
                  <a:lnTo>
                    <a:pt x="1226" y="6384"/>
                  </a:lnTo>
                  <a:lnTo>
                    <a:pt x="1218" y="6391"/>
                  </a:lnTo>
                  <a:lnTo>
                    <a:pt x="1210" y="6398"/>
                  </a:lnTo>
                  <a:lnTo>
                    <a:pt x="1202" y="6404"/>
                  </a:lnTo>
                  <a:lnTo>
                    <a:pt x="1196" y="6410"/>
                  </a:lnTo>
                  <a:lnTo>
                    <a:pt x="1192" y="6416"/>
                  </a:lnTo>
                  <a:lnTo>
                    <a:pt x="1189" y="6430"/>
                  </a:lnTo>
                  <a:lnTo>
                    <a:pt x="1188" y="6440"/>
                  </a:lnTo>
                  <a:lnTo>
                    <a:pt x="1188" y="6451"/>
                  </a:lnTo>
                  <a:lnTo>
                    <a:pt x="1188" y="6460"/>
                  </a:lnTo>
                  <a:lnTo>
                    <a:pt x="1186" y="6470"/>
                  </a:lnTo>
                  <a:lnTo>
                    <a:pt x="1185" y="6478"/>
                  </a:lnTo>
                  <a:lnTo>
                    <a:pt x="1181" y="6486"/>
                  </a:lnTo>
                  <a:lnTo>
                    <a:pt x="1174" y="6495"/>
                  </a:lnTo>
                  <a:lnTo>
                    <a:pt x="1166" y="6504"/>
                  </a:lnTo>
                  <a:lnTo>
                    <a:pt x="1158" y="6514"/>
                  </a:lnTo>
                  <a:lnTo>
                    <a:pt x="1149" y="6522"/>
                  </a:lnTo>
                  <a:lnTo>
                    <a:pt x="1138" y="6530"/>
                  </a:lnTo>
                  <a:lnTo>
                    <a:pt x="1118" y="6545"/>
                  </a:lnTo>
                  <a:lnTo>
                    <a:pt x="1097" y="6561"/>
                  </a:lnTo>
                  <a:lnTo>
                    <a:pt x="1088" y="6569"/>
                  </a:lnTo>
                  <a:lnTo>
                    <a:pt x="1078" y="6580"/>
                  </a:lnTo>
                  <a:lnTo>
                    <a:pt x="1069" y="6589"/>
                  </a:lnTo>
                  <a:lnTo>
                    <a:pt x="1062" y="6601"/>
                  </a:lnTo>
                  <a:lnTo>
                    <a:pt x="1056" y="6615"/>
                  </a:lnTo>
                  <a:lnTo>
                    <a:pt x="1052" y="6629"/>
                  </a:lnTo>
                  <a:lnTo>
                    <a:pt x="1048" y="6645"/>
                  </a:lnTo>
                  <a:lnTo>
                    <a:pt x="1048" y="6664"/>
                  </a:lnTo>
                  <a:lnTo>
                    <a:pt x="1054" y="6671"/>
                  </a:lnTo>
                  <a:lnTo>
                    <a:pt x="1069" y="6688"/>
                  </a:lnTo>
                  <a:lnTo>
                    <a:pt x="1085" y="6707"/>
                  </a:lnTo>
                  <a:lnTo>
                    <a:pt x="1096" y="6717"/>
                  </a:lnTo>
                  <a:lnTo>
                    <a:pt x="1198" y="6717"/>
                  </a:lnTo>
                  <a:lnTo>
                    <a:pt x="1205" y="6725"/>
                  </a:lnTo>
                  <a:lnTo>
                    <a:pt x="1213" y="6732"/>
                  </a:lnTo>
                  <a:lnTo>
                    <a:pt x="1222" y="6737"/>
                  </a:lnTo>
                  <a:lnTo>
                    <a:pt x="1233" y="6741"/>
                  </a:lnTo>
                  <a:lnTo>
                    <a:pt x="1242" y="6744"/>
                  </a:lnTo>
                  <a:lnTo>
                    <a:pt x="1254" y="6747"/>
                  </a:lnTo>
                  <a:lnTo>
                    <a:pt x="1265" y="6748"/>
                  </a:lnTo>
                  <a:lnTo>
                    <a:pt x="1275" y="6748"/>
                  </a:lnTo>
                  <a:lnTo>
                    <a:pt x="1291" y="6748"/>
                  </a:lnTo>
                  <a:lnTo>
                    <a:pt x="1305" y="6747"/>
                  </a:lnTo>
                  <a:lnTo>
                    <a:pt x="1319" y="6744"/>
                  </a:lnTo>
                  <a:lnTo>
                    <a:pt x="1333" y="6741"/>
                  </a:lnTo>
                  <a:lnTo>
                    <a:pt x="1346" y="6737"/>
                  </a:lnTo>
                  <a:lnTo>
                    <a:pt x="1358" y="6732"/>
                  </a:lnTo>
                  <a:lnTo>
                    <a:pt x="1370" y="6727"/>
                  </a:lnTo>
                  <a:lnTo>
                    <a:pt x="1382" y="6721"/>
                  </a:lnTo>
                  <a:lnTo>
                    <a:pt x="1393" y="6715"/>
                  </a:lnTo>
                  <a:lnTo>
                    <a:pt x="1403" y="6708"/>
                  </a:lnTo>
                  <a:lnTo>
                    <a:pt x="1414" y="6700"/>
                  </a:lnTo>
                  <a:lnTo>
                    <a:pt x="1425" y="6692"/>
                  </a:lnTo>
                  <a:lnTo>
                    <a:pt x="1443" y="6673"/>
                  </a:lnTo>
                  <a:lnTo>
                    <a:pt x="1461" y="6653"/>
                  </a:lnTo>
                  <a:lnTo>
                    <a:pt x="1477" y="6632"/>
                  </a:lnTo>
                  <a:lnTo>
                    <a:pt x="1491" y="6609"/>
                  </a:lnTo>
                  <a:lnTo>
                    <a:pt x="1505" y="6587"/>
                  </a:lnTo>
                  <a:lnTo>
                    <a:pt x="1517" y="6563"/>
                  </a:lnTo>
                  <a:lnTo>
                    <a:pt x="1539" y="6514"/>
                  </a:lnTo>
                  <a:lnTo>
                    <a:pt x="1559" y="6464"/>
                  </a:lnTo>
                  <a:lnTo>
                    <a:pt x="1565" y="6458"/>
                  </a:lnTo>
                  <a:lnTo>
                    <a:pt x="1571" y="6451"/>
                  </a:lnTo>
                  <a:lnTo>
                    <a:pt x="1578" y="6446"/>
                  </a:lnTo>
                  <a:lnTo>
                    <a:pt x="1586" y="6443"/>
                  </a:lnTo>
                  <a:lnTo>
                    <a:pt x="1601" y="6436"/>
                  </a:lnTo>
                  <a:lnTo>
                    <a:pt x="1613" y="6428"/>
                  </a:lnTo>
                  <a:lnTo>
                    <a:pt x="1617" y="6424"/>
                  </a:lnTo>
                  <a:lnTo>
                    <a:pt x="1618" y="6420"/>
                  </a:lnTo>
                  <a:lnTo>
                    <a:pt x="1621" y="6414"/>
                  </a:lnTo>
                  <a:lnTo>
                    <a:pt x="1621" y="6408"/>
                  </a:lnTo>
                  <a:lnTo>
                    <a:pt x="1622" y="6394"/>
                  </a:lnTo>
                  <a:lnTo>
                    <a:pt x="1623" y="6379"/>
                  </a:lnTo>
                  <a:lnTo>
                    <a:pt x="1623" y="6363"/>
                  </a:lnTo>
                  <a:lnTo>
                    <a:pt x="1626" y="6350"/>
                  </a:lnTo>
                  <a:lnTo>
                    <a:pt x="1627" y="6344"/>
                  </a:lnTo>
                  <a:lnTo>
                    <a:pt x="1630" y="6339"/>
                  </a:lnTo>
                  <a:lnTo>
                    <a:pt x="1633" y="6335"/>
                  </a:lnTo>
                  <a:lnTo>
                    <a:pt x="1637" y="6332"/>
                  </a:lnTo>
                  <a:lnTo>
                    <a:pt x="1649" y="6326"/>
                  </a:lnTo>
                  <a:lnTo>
                    <a:pt x="1663" y="6320"/>
                  </a:lnTo>
                  <a:lnTo>
                    <a:pt x="1677" y="6314"/>
                  </a:lnTo>
                  <a:lnTo>
                    <a:pt x="1693" y="6308"/>
                  </a:lnTo>
                  <a:lnTo>
                    <a:pt x="1726" y="6299"/>
                  </a:lnTo>
                  <a:lnTo>
                    <a:pt x="1761" y="6292"/>
                  </a:lnTo>
                  <a:lnTo>
                    <a:pt x="1795" y="6286"/>
                  </a:lnTo>
                  <a:lnTo>
                    <a:pt x="1829" y="6282"/>
                  </a:lnTo>
                  <a:lnTo>
                    <a:pt x="1859" y="6279"/>
                  </a:lnTo>
                  <a:lnTo>
                    <a:pt x="1885" y="6278"/>
                  </a:lnTo>
                  <a:lnTo>
                    <a:pt x="1889" y="6268"/>
                  </a:lnTo>
                  <a:lnTo>
                    <a:pt x="1891" y="6258"/>
                  </a:lnTo>
                  <a:lnTo>
                    <a:pt x="1891" y="6251"/>
                  </a:lnTo>
                  <a:lnTo>
                    <a:pt x="1890" y="6246"/>
                  </a:lnTo>
                  <a:lnTo>
                    <a:pt x="1887" y="6240"/>
                  </a:lnTo>
                  <a:lnTo>
                    <a:pt x="1885" y="6236"/>
                  </a:lnTo>
                  <a:lnTo>
                    <a:pt x="1877" y="6235"/>
                  </a:lnTo>
                  <a:lnTo>
                    <a:pt x="1869" y="6232"/>
                  </a:lnTo>
                  <a:lnTo>
                    <a:pt x="1861" y="6227"/>
                  </a:lnTo>
                  <a:lnTo>
                    <a:pt x="1854" y="6222"/>
                  </a:lnTo>
                  <a:lnTo>
                    <a:pt x="1839" y="6206"/>
                  </a:lnTo>
                  <a:lnTo>
                    <a:pt x="1825" y="6188"/>
                  </a:lnTo>
                  <a:lnTo>
                    <a:pt x="1811" y="6168"/>
                  </a:lnTo>
                  <a:lnTo>
                    <a:pt x="1797" y="6150"/>
                  </a:lnTo>
                  <a:lnTo>
                    <a:pt x="1790" y="6142"/>
                  </a:lnTo>
                  <a:lnTo>
                    <a:pt x="1783" y="6134"/>
                  </a:lnTo>
                  <a:lnTo>
                    <a:pt x="1777" y="6127"/>
                  </a:lnTo>
                  <a:lnTo>
                    <a:pt x="1770" y="6122"/>
                  </a:lnTo>
                  <a:lnTo>
                    <a:pt x="1762" y="6116"/>
                  </a:lnTo>
                  <a:lnTo>
                    <a:pt x="1753" y="6111"/>
                  </a:lnTo>
                  <a:lnTo>
                    <a:pt x="1747" y="6107"/>
                  </a:lnTo>
                  <a:lnTo>
                    <a:pt x="1743" y="6103"/>
                  </a:lnTo>
                  <a:lnTo>
                    <a:pt x="1741" y="6098"/>
                  </a:lnTo>
                  <a:lnTo>
                    <a:pt x="1739" y="6091"/>
                  </a:lnTo>
                  <a:lnTo>
                    <a:pt x="1742" y="6086"/>
                  </a:lnTo>
                  <a:lnTo>
                    <a:pt x="1749" y="6076"/>
                  </a:lnTo>
                  <a:lnTo>
                    <a:pt x="1759" y="6066"/>
                  </a:lnTo>
                  <a:lnTo>
                    <a:pt x="1771" y="6054"/>
                  </a:lnTo>
                  <a:lnTo>
                    <a:pt x="1783" y="6043"/>
                  </a:lnTo>
                  <a:lnTo>
                    <a:pt x="1795" y="6034"/>
                  </a:lnTo>
                  <a:lnTo>
                    <a:pt x="1806" y="6027"/>
                  </a:lnTo>
                  <a:lnTo>
                    <a:pt x="1811" y="6026"/>
                  </a:lnTo>
                  <a:lnTo>
                    <a:pt x="1829" y="6026"/>
                  </a:lnTo>
                  <a:lnTo>
                    <a:pt x="1843" y="6024"/>
                  </a:lnTo>
                  <a:lnTo>
                    <a:pt x="1857" y="6023"/>
                  </a:lnTo>
                  <a:lnTo>
                    <a:pt x="1866" y="6019"/>
                  </a:lnTo>
                  <a:lnTo>
                    <a:pt x="1870" y="6015"/>
                  </a:lnTo>
                  <a:lnTo>
                    <a:pt x="1874" y="6012"/>
                  </a:lnTo>
                  <a:lnTo>
                    <a:pt x="1877" y="6007"/>
                  </a:lnTo>
                  <a:lnTo>
                    <a:pt x="1879" y="6003"/>
                  </a:lnTo>
                  <a:lnTo>
                    <a:pt x="1882" y="5996"/>
                  </a:lnTo>
                  <a:lnTo>
                    <a:pt x="1883" y="5988"/>
                  </a:lnTo>
                  <a:lnTo>
                    <a:pt x="1883" y="5980"/>
                  </a:lnTo>
                  <a:lnTo>
                    <a:pt x="1885" y="5971"/>
                  </a:lnTo>
                  <a:lnTo>
                    <a:pt x="1883" y="5962"/>
                  </a:lnTo>
                  <a:lnTo>
                    <a:pt x="1882" y="5954"/>
                  </a:lnTo>
                  <a:lnTo>
                    <a:pt x="1878" y="5946"/>
                  </a:lnTo>
                  <a:lnTo>
                    <a:pt x="1875" y="5938"/>
                  </a:lnTo>
                  <a:lnTo>
                    <a:pt x="1871" y="5930"/>
                  </a:lnTo>
                  <a:lnTo>
                    <a:pt x="1869" y="5922"/>
                  </a:lnTo>
                  <a:lnTo>
                    <a:pt x="1867" y="5914"/>
                  </a:lnTo>
                  <a:lnTo>
                    <a:pt x="1866" y="5905"/>
                  </a:lnTo>
                  <a:lnTo>
                    <a:pt x="1867" y="5894"/>
                  </a:lnTo>
                  <a:lnTo>
                    <a:pt x="1870" y="5885"/>
                  </a:lnTo>
                  <a:lnTo>
                    <a:pt x="1874" y="5874"/>
                  </a:lnTo>
                  <a:lnTo>
                    <a:pt x="1878" y="5865"/>
                  </a:lnTo>
                  <a:lnTo>
                    <a:pt x="1882" y="5854"/>
                  </a:lnTo>
                  <a:lnTo>
                    <a:pt x="1886" y="5842"/>
                  </a:lnTo>
                  <a:lnTo>
                    <a:pt x="1889" y="5830"/>
                  </a:lnTo>
                  <a:lnTo>
                    <a:pt x="1890" y="5815"/>
                  </a:lnTo>
                  <a:lnTo>
                    <a:pt x="1889" y="5802"/>
                  </a:lnTo>
                  <a:lnTo>
                    <a:pt x="1886" y="5790"/>
                  </a:lnTo>
                  <a:lnTo>
                    <a:pt x="1882" y="5781"/>
                  </a:lnTo>
                  <a:lnTo>
                    <a:pt x="1878" y="5770"/>
                  </a:lnTo>
                  <a:lnTo>
                    <a:pt x="1874" y="5761"/>
                  </a:lnTo>
                  <a:lnTo>
                    <a:pt x="1870" y="5751"/>
                  </a:lnTo>
                  <a:lnTo>
                    <a:pt x="1867" y="5741"/>
                  </a:lnTo>
                  <a:lnTo>
                    <a:pt x="1866" y="5730"/>
                  </a:lnTo>
                  <a:lnTo>
                    <a:pt x="1867" y="5722"/>
                  </a:lnTo>
                  <a:lnTo>
                    <a:pt x="1871" y="5713"/>
                  </a:lnTo>
                  <a:lnTo>
                    <a:pt x="1877" y="5702"/>
                  </a:lnTo>
                  <a:lnTo>
                    <a:pt x="1882" y="5689"/>
                  </a:lnTo>
                  <a:lnTo>
                    <a:pt x="1889" y="5675"/>
                  </a:lnTo>
                  <a:lnTo>
                    <a:pt x="1894" y="5662"/>
                  </a:lnTo>
                  <a:lnTo>
                    <a:pt x="1899" y="5647"/>
                  </a:lnTo>
                  <a:lnTo>
                    <a:pt x="1902" y="5634"/>
                  </a:lnTo>
                  <a:lnTo>
                    <a:pt x="1911" y="5631"/>
                  </a:lnTo>
                  <a:lnTo>
                    <a:pt x="1919" y="5627"/>
                  </a:lnTo>
                  <a:lnTo>
                    <a:pt x="1929" y="5622"/>
                  </a:lnTo>
                  <a:lnTo>
                    <a:pt x="1935" y="5617"/>
                  </a:lnTo>
                  <a:lnTo>
                    <a:pt x="1943" y="5610"/>
                  </a:lnTo>
                  <a:lnTo>
                    <a:pt x="1950" y="5603"/>
                  </a:lnTo>
                  <a:lnTo>
                    <a:pt x="1957" y="5595"/>
                  </a:lnTo>
                  <a:lnTo>
                    <a:pt x="1962" y="5587"/>
                  </a:lnTo>
                  <a:lnTo>
                    <a:pt x="1967" y="5578"/>
                  </a:lnTo>
                  <a:lnTo>
                    <a:pt x="1973" y="5570"/>
                  </a:lnTo>
                  <a:lnTo>
                    <a:pt x="1977" y="5561"/>
                  </a:lnTo>
                  <a:lnTo>
                    <a:pt x="1981" y="5551"/>
                  </a:lnTo>
                  <a:lnTo>
                    <a:pt x="1983" y="5542"/>
                  </a:lnTo>
                  <a:lnTo>
                    <a:pt x="1985" y="5533"/>
                  </a:lnTo>
                  <a:lnTo>
                    <a:pt x="1986" y="5522"/>
                  </a:lnTo>
                  <a:lnTo>
                    <a:pt x="1987" y="5514"/>
                  </a:lnTo>
                  <a:lnTo>
                    <a:pt x="1986" y="5502"/>
                  </a:lnTo>
                  <a:lnTo>
                    <a:pt x="1983" y="5493"/>
                  </a:lnTo>
                  <a:lnTo>
                    <a:pt x="1981" y="5483"/>
                  </a:lnTo>
                  <a:lnTo>
                    <a:pt x="1977" y="5474"/>
                  </a:lnTo>
                  <a:lnTo>
                    <a:pt x="1966" y="5458"/>
                  </a:lnTo>
                  <a:lnTo>
                    <a:pt x="1954" y="5442"/>
                  </a:lnTo>
                  <a:lnTo>
                    <a:pt x="1942" y="5427"/>
                  </a:lnTo>
                  <a:lnTo>
                    <a:pt x="1931" y="5411"/>
                  </a:lnTo>
                  <a:lnTo>
                    <a:pt x="1926" y="5403"/>
                  </a:lnTo>
                  <a:lnTo>
                    <a:pt x="1923" y="5394"/>
                  </a:lnTo>
                  <a:lnTo>
                    <a:pt x="1921" y="5385"/>
                  </a:lnTo>
                  <a:lnTo>
                    <a:pt x="1921" y="5375"/>
                  </a:lnTo>
                  <a:lnTo>
                    <a:pt x="1921" y="5360"/>
                  </a:lnTo>
                  <a:lnTo>
                    <a:pt x="1922" y="5344"/>
                  </a:lnTo>
                  <a:lnTo>
                    <a:pt x="1923" y="5328"/>
                  </a:lnTo>
                  <a:lnTo>
                    <a:pt x="1926" y="5313"/>
                  </a:lnTo>
                  <a:lnTo>
                    <a:pt x="1929" y="5297"/>
                  </a:lnTo>
                  <a:lnTo>
                    <a:pt x="1933" y="5282"/>
                  </a:lnTo>
                  <a:lnTo>
                    <a:pt x="1937" y="5269"/>
                  </a:lnTo>
                  <a:lnTo>
                    <a:pt x="1942" y="5256"/>
                  </a:lnTo>
                  <a:lnTo>
                    <a:pt x="1947" y="5245"/>
                  </a:lnTo>
                  <a:lnTo>
                    <a:pt x="1954" y="5233"/>
                  </a:lnTo>
                  <a:lnTo>
                    <a:pt x="1961" y="5224"/>
                  </a:lnTo>
                  <a:lnTo>
                    <a:pt x="1969" y="5216"/>
                  </a:lnTo>
                  <a:lnTo>
                    <a:pt x="1977" y="5209"/>
                  </a:lnTo>
                  <a:lnTo>
                    <a:pt x="1986" y="5205"/>
                  </a:lnTo>
                  <a:lnTo>
                    <a:pt x="1995" y="5201"/>
                  </a:lnTo>
                  <a:lnTo>
                    <a:pt x="2004" y="5201"/>
                  </a:lnTo>
                  <a:lnTo>
                    <a:pt x="2022" y="5201"/>
                  </a:lnTo>
                  <a:lnTo>
                    <a:pt x="2039" y="5201"/>
                  </a:lnTo>
                  <a:lnTo>
                    <a:pt x="2059" y="5201"/>
                  </a:lnTo>
                  <a:lnTo>
                    <a:pt x="2083" y="5201"/>
                  </a:lnTo>
                  <a:lnTo>
                    <a:pt x="2095" y="5200"/>
                  </a:lnTo>
                  <a:lnTo>
                    <a:pt x="2107" y="5196"/>
                  </a:lnTo>
                  <a:lnTo>
                    <a:pt x="2118" y="5192"/>
                  </a:lnTo>
                  <a:lnTo>
                    <a:pt x="2127" y="5185"/>
                  </a:lnTo>
                  <a:lnTo>
                    <a:pt x="2136" y="5177"/>
                  </a:lnTo>
                  <a:lnTo>
                    <a:pt x="2144" y="5168"/>
                  </a:lnTo>
                  <a:lnTo>
                    <a:pt x="2151" y="5158"/>
                  </a:lnTo>
                  <a:lnTo>
                    <a:pt x="2158" y="5149"/>
                  </a:lnTo>
                  <a:lnTo>
                    <a:pt x="2171" y="5130"/>
                  </a:lnTo>
                  <a:lnTo>
                    <a:pt x="2184" y="5114"/>
                  </a:lnTo>
                  <a:lnTo>
                    <a:pt x="2191" y="5108"/>
                  </a:lnTo>
                  <a:lnTo>
                    <a:pt x="2199" y="5102"/>
                  </a:lnTo>
                  <a:lnTo>
                    <a:pt x="2207" y="5100"/>
                  </a:lnTo>
                  <a:lnTo>
                    <a:pt x="2215" y="5098"/>
                  </a:lnTo>
                  <a:lnTo>
                    <a:pt x="2222" y="5098"/>
                  </a:lnTo>
                  <a:lnTo>
                    <a:pt x="2228" y="5100"/>
                  </a:lnTo>
                  <a:lnTo>
                    <a:pt x="2235" y="5102"/>
                  </a:lnTo>
                  <a:lnTo>
                    <a:pt x="2240" y="5105"/>
                  </a:lnTo>
                  <a:lnTo>
                    <a:pt x="2250" y="5112"/>
                  </a:lnTo>
                  <a:lnTo>
                    <a:pt x="2258" y="5121"/>
                  </a:lnTo>
                  <a:lnTo>
                    <a:pt x="2264" y="5132"/>
                  </a:lnTo>
                  <a:lnTo>
                    <a:pt x="2270" y="5144"/>
                  </a:lnTo>
                  <a:lnTo>
                    <a:pt x="2275" y="5157"/>
                  </a:lnTo>
                  <a:lnTo>
                    <a:pt x="2279" y="5170"/>
                  </a:lnTo>
                  <a:lnTo>
                    <a:pt x="2284" y="5184"/>
                  </a:lnTo>
                  <a:lnTo>
                    <a:pt x="2290" y="5197"/>
                  </a:lnTo>
                  <a:lnTo>
                    <a:pt x="2295" y="5209"/>
                  </a:lnTo>
                  <a:lnTo>
                    <a:pt x="2303" y="5220"/>
                  </a:lnTo>
                  <a:lnTo>
                    <a:pt x="2307" y="5225"/>
                  </a:lnTo>
                  <a:lnTo>
                    <a:pt x="2311" y="5229"/>
                  </a:lnTo>
                  <a:lnTo>
                    <a:pt x="2316" y="5233"/>
                  </a:lnTo>
                  <a:lnTo>
                    <a:pt x="2322" y="5237"/>
                  </a:lnTo>
                  <a:lnTo>
                    <a:pt x="2327" y="5240"/>
                  </a:lnTo>
                  <a:lnTo>
                    <a:pt x="2334" y="5241"/>
                  </a:lnTo>
                  <a:lnTo>
                    <a:pt x="2340" y="5242"/>
                  </a:lnTo>
                  <a:lnTo>
                    <a:pt x="2348" y="5242"/>
                  </a:lnTo>
                  <a:lnTo>
                    <a:pt x="2352" y="5242"/>
                  </a:lnTo>
                  <a:lnTo>
                    <a:pt x="2355" y="5241"/>
                  </a:lnTo>
                  <a:lnTo>
                    <a:pt x="2356" y="5237"/>
                  </a:lnTo>
                  <a:lnTo>
                    <a:pt x="2358" y="5234"/>
                  </a:lnTo>
                  <a:lnTo>
                    <a:pt x="2359" y="5224"/>
                  </a:lnTo>
                  <a:lnTo>
                    <a:pt x="2356" y="5212"/>
                  </a:lnTo>
                  <a:lnTo>
                    <a:pt x="2351" y="5182"/>
                  </a:lnTo>
                  <a:lnTo>
                    <a:pt x="2348" y="5153"/>
                  </a:lnTo>
                  <a:lnTo>
                    <a:pt x="2351" y="5128"/>
                  </a:lnTo>
                  <a:lnTo>
                    <a:pt x="2358" y="5090"/>
                  </a:lnTo>
                  <a:lnTo>
                    <a:pt x="2363" y="5072"/>
                  </a:lnTo>
                  <a:lnTo>
                    <a:pt x="2368" y="5056"/>
                  </a:lnTo>
                  <a:lnTo>
                    <a:pt x="2371" y="5049"/>
                  </a:lnTo>
                  <a:lnTo>
                    <a:pt x="2374" y="5044"/>
                  </a:lnTo>
                  <a:lnTo>
                    <a:pt x="2375" y="5040"/>
                  </a:lnTo>
                  <a:lnTo>
                    <a:pt x="2378" y="5038"/>
                  </a:lnTo>
                  <a:lnTo>
                    <a:pt x="2388" y="5036"/>
                  </a:lnTo>
                  <a:lnTo>
                    <a:pt x="2398" y="5037"/>
                  </a:lnTo>
                  <a:lnTo>
                    <a:pt x="2403" y="5036"/>
                  </a:lnTo>
                  <a:lnTo>
                    <a:pt x="2407" y="5034"/>
                  </a:lnTo>
                  <a:lnTo>
                    <a:pt x="2411" y="5032"/>
                  </a:lnTo>
                  <a:lnTo>
                    <a:pt x="2414" y="5026"/>
                  </a:lnTo>
                  <a:lnTo>
                    <a:pt x="2416" y="5010"/>
                  </a:lnTo>
                  <a:lnTo>
                    <a:pt x="2419" y="4997"/>
                  </a:lnTo>
                  <a:lnTo>
                    <a:pt x="2420" y="4990"/>
                  </a:lnTo>
                  <a:lnTo>
                    <a:pt x="2423" y="4985"/>
                  </a:lnTo>
                  <a:lnTo>
                    <a:pt x="2427" y="4978"/>
                  </a:lnTo>
                  <a:lnTo>
                    <a:pt x="2432" y="4972"/>
                  </a:lnTo>
                  <a:lnTo>
                    <a:pt x="2455" y="4948"/>
                  </a:lnTo>
                  <a:lnTo>
                    <a:pt x="2483" y="4922"/>
                  </a:lnTo>
                  <a:lnTo>
                    <a:pt x="2496" y="4908"/>
                  </a:lnTo>
                  <a:lnTo>
                    <a:pt x="2507" y="4894"/>
                  </a:lnTo>
                  <a:lnTo>
                    <a:pt x="2511" y="4886"/>
                  </a:lnTo>
                  <a:lnTo>
                    <a:pt x="2514" y="4878"/>
                  </a:lnTo>
                  <a:lnTo>
                    <a:pt x="2516" y="4872"/>
                  </a:lnTo>
                  <a:lnTo>
                    <a:pt x="2516" y="4864"/>
                  </a:lnTo>
                  <a:lnTo>
                    <a:pt x="2516" y="4857"/>
                  </a:lnTo>
                  <a:lnTo>
                    <a:pt x="2514" y="4853"/>
                  </a:lnTo>
                  <a:lnTo>
                    <a:pt x="2511" y="4849"/>
                  </a:lnTo>
                  <a:lnTo>
                    <a:pt x="2507" y="4846"/>
                  </a:lnTo>
                  <a:lnTo>
                    <a:pt x="2499" y="4841"/>
                  </a:lnTo>
                  <a:lnTo>
                    <a:pt x="2492" y="4833"/>
                  </a:lnTo>
                  <a:lnTo>
                    <a:pt x="2492" y="4828"/>
                  </a:lnTo>
                  <a:lnTo>
                    <a:pt x="2492" y="4809"/>
                  </a:lnTo>
                  <a:lnTo>
                    <a:pt x="2492" y="4800"/>
                  </a:lnTo>
                  <a:lnTo>
                    <a:pt x="2494" y="4792"/>
                  </a:lnTo>
                  <a:lnTo>
                    <a:pt x="2495" y="4788"/>
                  </a:lnTo>
                  <a:lnTo>
                    <a:pt x="2498" y="4785"/>
                  </a:lnTo>
                  <a:lnTo>
                    <a:pt x="2500" y="4781"/>
                  </a:lnTo>
                  <a:lnTo>
                    <a:pt x="2504" y="4779"/>
                  </a:lnTo>
                  <a:lnTo>
                    <a:pt x="2510" y="4771"/>
                  </a:lnTo>
                  <a:lnTo>
                    <a:pt x="2516" y="4764"/>
                  </a:lnTo>
                  <a:lnTo>
                    <a:pt x="2524" y="4757"/>
                  </a:lnTo>
                  <a:lnTo>
                    <a:pt x="2534" y="4752"/>
                  </a:lnTo>
                  <a:lnTo>
                    <a:pt x="2542" y="4748"/>
                  </a:lnTo>
                  <a:lnTo>
                    <a:pt x="2552" y="4745"/>
                  </a:lnTo>
                  <a:lnTo>
                    <a:pt x="2562" y="4744"/>
                  </a:lnTo>
                  <a:lnTo>
                    <a:pt x="2571" y="4743"/>
                  </a:lnTo>
                  <a:lnTo>
                    <a:pt x="2574" y="4744"/>
                  </a:lnTo>
                  <a:lnTo>
                    <a:pt x="2576" y="4744"/>
                  </a:lnTo>
                  <a:lnTo>
                    <a:pt x="2579" y="4745"/>
                  </a:lnTo>
                  <a:lnTo>
                    <a:pt x="2582" y="4748"/>
                  </a:lnTo>
                  <a:lnTo>
                    <a:pt x="2584" y="4753"/>
                  </a:lnTo>
                  <a:lnTo>
                    <a:pt x="2588" y="4760"/>
                  </a:lnTo>
                  <a:lnTo>
                    <a:pt x="2594" y="4776"/>
                  </a:lnTo>
                  <a:lnTo>
                    <a:pt x="2600" y="4790"/>
                  </a:lnTo>
                  <a:lnTo>
                    <a:pt x="2620" y="4802"/>
                  </a:lnTo>
                  <a:lnTo>
                    <a:pt x="2664" y="4828"/>
                  </a:lnTo>
                  <a:lnTo>
                    <a:pt x="2690" y="4841"/>
                  </a:lnTo>
                  <a:lnTo>
                    <a:pt x="2712" y="4852"/>
                  </a:lnTo>
                  <a:lnTo>
                    <a:pt x="2723" y="4857"/>
                  </a:lnTo>
                  <a:lnTo>
                    <a:pt x="2732" y="4860"/>
                  </a:lnTo>
                  <a:lnTo>
                    <a:pt x="2740" y="4862"/>
                  </a:lnTo>
                  <a:lnTo>
                    <a:pt x="2746" y="4864"/>
                  </a:lnTo>
                  <a:lnTo>
                    <a:pt x="2760" y="4862"/>
                  </a:lnTo>
                  <a:lnTo>
                    <a:pt x="2771" y="4860"/>
                  </a:lnTo>
                  <a:lnTo>
                    <a:pt x="2781" y="4854"/>
                  </a:lnTo>
                  <a:lnTo>
                    <a:pt x="2788" y="4849"/>
                  </a:lnTo>
                  <a:lnTo>
                    <a:pt x="2793" y="4842"/>
                  </a:lnTo>
                  <a:lnTo>
                    <a:pt x="2797" y="4836"/>
                  </a:lnTo>
                  <a:lnTo>
                    <a:pt x="2799" y="4828"/>
                  </a:lnTo>
                  <a:lnTo>
                    <a:pt x="2799" y="4821"/>
                  </a:lnTo>
                  <a:lnTo>
                    <a:pt x="2799" y="4817"/>
                  </a:lnTo>
                  <a:lnTo>
                    <a:pt x="2799" y="4806"/>
                  </a:lnTo>
                  <a:lnTo>
                    <a:pt x="2799" y="4793"/>
                  </a:lnTo>
                  <a:lnTo>
                    <a:pt x="2799" y="4779"/>
                  </a:lnTo>
                  <a:lnTo>
                    <a:pt x="2800" y="4771"/>
                  </a:lnTo>
                  <a:lnTo>
                    <a:pt x="2803" y="4763"/>
                  </a:lnTo>
                  <a:lnTo>
                    <a:pt x="2807" y="4756"/>
                  </a:lnTo>
                  <a:lnTo>
                    <a:pt x="2811" y="4749"/>
                  </a:lnTo>
                  <a:lnTo>
                    <a:pt x="2816" y="4744"/>
                  </a:lnTo>
                  <a:lnTo>
                    <a:pt x="2820" y="4737"/>
                  </a:lnTo>
                  <a:lnTo>
                    <a:pt x="2823" y="4732"/>
                  </a:lnTo>
                  <a:lnTo>
                    <a:pt x="2824" y="4725"/>
                  </a:lnTo>
                  <a:lnTo>
                    <a:pt x="2824" y="4715"/>
                  </a:lnTo>
                  <a:lnTo>
                    <a:pt x="2824" y="4695"/>
                  </a:lnTo>
                  <a:lnTo>
                    <a:pt x="2820" y="4688"/>
                  </a:lnTo>
                  <a:lnTo>
                    <a:pt x="2816" y="4681"/>
                  </a:lnTo>
                  <a:lnTo>
                    <a:pt x="2812" y="4676"/>
                  </a:lnTo>
                  <a:lnTo>
                    <a:pt x="2807" y="4669"/>
                  </a:lnTo>
                  <a:lnTo>
                    <a:pt x="2793" y="4659"/>
                  </a:lnTo>
                  <a:lnTo>
                    <a:pt x="2780" y="4648"/>
                  </a:lnTo>
                  <a:lnTo>
                    <a:pt x="2767" y="4639"/>
                  </a:lnTo>
                  <a:lnTo>
                    <a:pt x="2756" y="4629"/>
                  </a:lnTo>
                  <a:lnTo>
                    <a:pt x="2751" y="4624"/>
                  </a:lnTo>
                  <a:lnTo>
                    <a:pt x="2748" y="4620"/>
                  </a:lnTo>
                  <a:lnTo>
                    <a:pt x="2746" y="4615"/>
                  </a:lnTo>
                  <a:lnTo>
                    <a:pt x="2746" y="4611"/>
                  </a:lnTo>
                  <a:lnTo>
                    <a:pt x="2746" y="4601"/>
                  </a:lnTo>
                  <a:lnTo>
                    <a:pt x="2748" y="4592"/>
                  </a:lnTo>
                  <a:lnTo>
                    <a:pt x="2751" y="4584"/>
                  </a:lnTo>
                  <a:lnTo>
                    <a:pt x="2756" y="4577"/>
                  </a:lnTo>
                  <a:lnTo>
                    <a:pt x="2767" y="4565"/>
                  </a:lnTo>
                  <a:lnTo>
                    <a:pt x="2779" y="4555"/>
                  </a:lnTo>
                  <a:lnTo>
                    <a:pt x="2791" y="4543"/>
                  </a:lnTo>
                  <a:lnTo>
                    <a:pt x="2801" y="4532"/>
                  </a:lnTo>
                  <a:lnTo>
                    <a:pt x="2805" y="4525"/>
                  </a:lnTo>
                  <a:lnTo>
                    <a:pt x="2808" y="4519"/>
                  </a:lnTo>
                  <a:lnTo>
                    <a:pt x="2811" y="4511"/>
                  </a:lnTo>
                  <a:lnTo>
                    <a:pt x="2811" y="4503"/>
                  </a:lnTo>
                  <a:lnTo>
                    <a:pt x="2811" y="4492"/>
                  </a:lnTo>
                  <a:lnTo>
                    <a:pt x="2808" y="4481"/>
                  </a:lnTo>
                  <a:lnTo>
                    <a:pt x="2805" y="4473"/>
                  </a:lnTo>
                  <a:lnTo>
                    <a:pt x="2801" y="4464"/>
                  </a:lnTo>
                  <a:lnTo>
                    <a:pt x="2793" y="4449"/>
                  </a:lnTo>
                  <a:lnTo>
                    <a:pt x="2787" y="4436"/>
                  </a:lnTo>
                  <a:lnTo>
                    <a:pt x="2679" y="4436"/>
                  </a:lnTo>
                  <a:lnTo>
                    <a:pt x="2672" y="4427"/>
                  </a:lnTo>
                  <a:lnTo>
                    <a:pt x="2668" y="4415"/>
                  </a:lnTo>
                  <a:lnTo>
                    <a:pt x="2663" y="4400"/>
                  </a:lnTo>
                  <a:lnTo>
                    <a:pt x="2660" y="4384"/>
                  </a:lnTo>
                  <a:lnTo>
                    <a:pt x="2658" y="4365"/>
                  </a:lnTo>
                  <a:lnTo>
                    <a:pt x="2656" y="4347"/>
                  </a:lnTo>
                  <a:lnTo>
                    <a:pt x="2655" y="4328"/>
                  </a:lnTo>
                  <a:lnTo>
                    <a:pt x="2655" y="4309"/>
                  </a:lnTo>
                  <a:lnTo>
                    <a:pt x="2656" y="4289"/>
                  </a:lnTo>
                  <a:lnTo>
                    <a:pt x="2659" y="4273"/>
                  </a:lnTo>
                  <a:lnTo>
                    <a:pt x="2663" y="4261"/>
                  </a:lnTo>
                  <a:lnTo>
                    <a:pt x="2668" y="4251"/>
                  </a:lnTo>
                  <a:lnTo>
                    <a:pt x="2672" y="4240"/>
                  </a:lnTo>
                  <a:lnTo>
                    <a:pt x="2678" y="4229"/>
                  </a:lnTo>
                  <a:lnTo>
                    <a:pt x="2682" y="4217"/>
                  </a:lnTo>
                  <a:lnTo>
                    <a:pt x="2686" y="4202"/>
                  </a:lnTo>
                  <a:lnTo>
                    <a:pt x="2680" y="4200"/>
                  </a:lnTo>
                  <a:lnTo>
                    <a:pt x="2678" y="4200"/>
                  </a:lnTo>
                  <a:lnTo>
                    <a:pt x="2674" y="4199"/>
                  </a:lnTo>
                  <a:lnTo>
                    <a:pt x="2671" y="4196"/>
                  </a:lnTo>
                  <a:lnTo>
                    <a:pt x="2666" y="4188"/>
                  </a:lnTo>
                  <a:lnTo>
                    <a:pt x="2662" y="4178"/>
                  </a:lnTo>
                  <a:lnTo>
                    <a:pt x="2674" y="4170"/>
                  </a:lnTo>
                  <a:lnTo>
                    <a:pt x="2683" y="4163"/>
                  </a:lnTo>
                  <a:lnTo>
                    <a:pt x="2690" y="4155"/>
                  </a:lnTo>
                  <a:lnTo>
                    <a:pt x="2698" y="4146"/>
                  </a:lnTo>
                  <a:lnTo>
                    <a:pt x="2704" y="4138"/>
                  </a:lnTo>
                  <a:lnTo>
                    <a:pt x="2712" y="4128"/>
                  </a:lnTo>
                  <a:lnTo>
                    <a:pt x="2722" y="4120"/>
                  </a:lnTo>
                  <a:lnTo>
                    <a:pt x="2734" y="4111"/>
                  </a:lnTo>
                  <a:lnTo>
                    <a:pt x="2739" y="4103"/>
                  </a:lnTo>
                  <a:lnTo>
                    <a:pt x="2747" y="4094"/>
                  </a:lnTo>
                  <a:lnTo>
                    <a:pt x="2751" y="4090"/>
                  </a:lnTo>
                  <a:lnTo>
                    <a:pt x="2755" y="4084"/>
                  </a:lnTo>
                  <a:lnTo>
                    <a:pt x="2756" y="4076"/>
                  </a:lnTo>
                  <a:lnTo>
                    <a:pt x="2757" y="4068"/>
                  </a:lnTo>
                  <a:lnTo>
                    <a:pt x="2757" y="4062"/>
                  </a:lnTo>
                  <a:lnTo>
                    <a:pt x="2759" y="4054"/>
                  </a:lnTo>
                  <a:lnTo>
                    <a:pt x="2761" y="4047"/>
                  </a:lnTo>
                  <a:lnTo>
                    <a:pt x="2764" y="4040"/>
                  </a:lnTo>
                  <a:lnTo>
                    <a:pt x="2771" y="4028"/>
                  </a:lnTo>
                  <a:lnTo>
                    <a:pt x="2779" y="4016"/>
                  </a:lnTo>
                  <a:lnTo>
                    <a:pt x="2785" y="4004"/>
                  </a:lnTo>
                  <a:lnTo>
                    <a:pt x="2793" y="3991"/>
                  </a:lnTo>
                  <a:lnTo>
                    <a:pt x="2796" y="3984"/>
                  </a:lnTo>
                  <a:lnTo>
                    <a:pt x="2797" y="3978"/>
                  </a:lnTo>
                  <a:lnTo>
                    <a:pt x="2799" y="3968"/>
                  </a:lnTo>
                  <a:lnTo>
                    <a:pt x="2799" y="3960"/>
                  </a:lnTo>
                  <a:lnTo>
                    <a:pt x="2799" y="3954"/>
                  </a:lnTo>
                  <a:lnTo>
                    <a:pt x="2796" y="3948"/>
                  </a:lnTo>
                  <a:lnTo>
                    <a:pt x="2792" y="3943"/>
                  </a:lnTo>
                  <a:lnTo>
                    <a:pt x="2787" y="3938"/>
                  </a:lnTo>
                  <a:lnTo>
                    <a:pt x="2783" y="3932"/>
                  </a:lnTo>
                  <a:lnTo>
                    <a:pt x="2779" y="3924"/>
                  </a:lnTo>
                  <a:lnTo>
                    <a:pt x="2776" y="3916"/>
                  </a:lnTo>
                  <a:lnTo>
                    <a:pt x="2775" y="3906"/>
                  </a:lnTo>
                  <a:lnTo>
                    <a:pt x="2776" y="3899"/>
                  </a:lnTo>
                  <a:lnTo>
                    <a:pt x="2779" y="3892"/>
                  </a:lnTo>
                  <a:lnTo>
                    <a:pt x="2783" y="3886"/>
                  </a:lnTo>
                  <a:lnTo>
                    <a:pt x="2787" y="3878"/>
                  </a:lnTo>
                  <a:lnTo>
                    <a:pt x="2792" y="3871"/>
                  </a:lnTo>
                  <a:lnTo>
                    <a:pt x="2796" y="3863"/>
                  </a:lnTo>
                  <a:lnTo>
                    <a:pt x="2799" y="3855"/>
                  </a:lnTo>
                  <a:lnTo>
                    <a:pt x="2799" y="3846"/>
                  </a:lnTo>
                  <a:lnTo>
                    <a:pt x="2799" y="3835"/>
                  </a:lnTo>
                  <a:lnTo>
                    <a:pt x="2796" y="3826"/>
                  </a:lnTo>
                  <a:lnTo>
                    <a:pt x="2792" y="3818"/>
                  </a:lnTo>
                  <a:lnTo>
                    <a:pt x="2787" y="3810"/>
                  </a:lnTo>
                  <a:lnTo>
                    <a:pt x="2775" y="3796"/>
                  </a:lnTo>
                  <a:lnTo>
                    <a:pt x="2760" y="3784"/>
                  </a:lnTo>
                  <a:lnTo>
                    <a:pt x="2746" y="3772"/>
                  </a:lnTo>
                  <a:lnTo>
                    <a:pt x="2734" y="3759"/>
                  </a:lnTo>
                  <a:lnTo>
                    <a:pt x="2728" y="3751"/>
                  </a:lnTo>
                  <a:lnTo>
                    <a:pt x="2724" y="3742"/>
                  </a:lnTo>
                  <a:lnTo>
                    <a:pt x="2722" y="3731"/>
                  </a:lnTo>
                  <a:lnTo>
                    <a:pt x="2722" y="3719"/>
                  </a:lnTo>
                  <a:lnTo>
                    <a:pt x="2722" y="3712"/>
                  </a:lnTo>
                  <a:lnTo>
                    <a:pt x="2723" y="3704"/>
                  </a:lnTo>
                  <a:lnTo>
                    <a:pt x="2724" y="3699"/>
                  </a:lnTo>
                  <a:lnTo>
                    <a:pt x="2727" y="3692"/>
                  </a:lnTo>
                  <a:lnTo>
                    <a:pt x="2732" y="3683"/>
                  </a:lnTo>
                  <a:lnTo>
                    <a:pt x="2739" y="3674"/>
                  </a:lnTo>
                  <a:lnTo>
                    <a:pt x="2746" y="3666"/>
                  </a:lnTo>
                  <a:lnTo>
                    <a:pt x="2752" y="3658"/>
                  </a:lnTo>
                  <a:lnTo>
                    <a:pt x="2756" y="3650"/>
                  </a:lnTo>
                  <a:lnTo>
                    <a:pt x="2757" y="3640"/>
                  </a:lnTo>
                  <a:lnTo>
                    <a:pt x="2757" y="3635"/>
                  </a:lnTo>
                  <a:lnTo>
                    <a:pt x="2756" y="3631"/>
                  </a:lnTo>
                  <a:lnTo>
                    <a:pt x="2754" y="3626"/>
                  </a:lnTo>
                  <a:lnTo>
                    <a:pt x="2752" y="3622"/>
                  </a:lnTo>
                  <a:lnTo>
                    <a:pt x="2746" y="3614"/>
                  </a:lnTo>
                  <a:lnTo>
                    <a:pt x="2739" y="3605"/>
                  </a:lnTo>
                  <a:lnTo>
                    <a:pt x="2732" y="3595"/>
                  </a:lnTo>
                  <a:lnTo>
                    <a:pt x="2727" y="3583"/>
                  </a:lnTo>
                  <a:lnTo>
                    <a:pt x="2724" y="3577"/>
                  </a:lnTo>
                  <a:lnTo>
                    <a:pt x="2723" y="3569"/>
                  </a:lnTo>
                  <a:lnTo>
                    <a:pt x="2722" y="3561"/>
                  </a:lnTo>
                  <a:lnTo>
                    <a:pt x="2722" y="3551"/>
                  </a:lnTo>
                  <a:lnTo>
                    <a:pt x="2722" y="3543"/>
                  </a:lnTo>
                  <a:lnTo>
                    <a:pt x="2723" y="3535"/>
                  </a:lnTo>
                  <a:lnTo>
                    <a:pt x="2724" y="3529"/>
                  </a:lnTo>
                  <a:lnTo>
                    <a:pt x="2727" y="3522"/>
                  </a:lnTo>
                  <a:lnTo>
                    <a:pt x="2732" y="3511"/>
                  </a:lnTo>
                  <a:lnTo>
                    <a:pt x="2740" y="3503"/>
                  </a:lnTo>
                  <a:lnTo>
                    <a:pt x="2750" y="3497"/>
                  </a:lnTo>
                  <a:lnTo>
                    <a:pt x="2760" y="3490"/>
                  </a:lnTo>
                  <a:lnTo>
                    <a:pt x="2772" y="3486"/>
                  </a:lnTo>
                  <a:lnTo>
                    <a:pt x="2784" y="3482"/>
                  </a:lnTo>
                  <a:lnTo>
                    <a:pt x="2809" y="3474"/>
                  </a:lnTo>
                  <a:lnTo>
                    <a:pt x="2833" y="3465"/>
                  </a:lnTo>
                  <a:lnTo>
                    <a:pt x="2843" y="3458"/>
                  </a:lnTo>
                  <a:lnTo>
                    <a:pt x="2852" y="3451"/>
                  </a:lnTo>
                  <a:lnTo>
                    <a:pt x="2856" y="3446"/>
                  </a:lnTo>
                  <a:lnTo>
                    <a:pt x="2860" y="3442"/>
                  </a:lnTo>
                  <a:lnTo>
                    <a:pt x="2863" y="3437"/>
                  </a:lnTo>
                  <a:lnTo>
                    <a:pt x="2865" y="3430"/>
                  </a:lnTo>
                  <a:lnTo>
                    <a:pt x="2865" y="3406"/>
                  </a:lnTo>
                  <a:lnTo>
                    <a:pt x="2857" y="3406"/>
                  </a:lnTo>
                  <a:lnTo>
                    <a:pt x="2853" y="3406"/>
                  </a:lnTo>
                  <a:lnTo>
                    <a:pt x="2832" y="3409"/>
                  </a:lnTo>
                  <a:lnTo>
                    <a:pt x="2811" y="3411"/>
                  </a:lnTo>
                  <a:lnTo>
                    <a:pt x="2801" y="3411"/>
                  </a:lnTo>
                  <a:lnTo>
                    <a:pt x="2791" y="3411"/>
                  </a:lnTo>
                  <a:lnTo>
                    <a:pt x="2780" y="3410"/>
                  </a:lnTo>
                  <a:lnTo>
                    <a:pt x="2769" y="3406"/>
                  </a:lnTo>
                  <a:lnTo>
                    <a:pt x="2746" y="3398"/>
                  </a:lnTo>
                  <a:lnTo>
                    <a:pt x="2728" y="3390"/>
                  </a:lnTo>
                  <a:lnTo>
                    <a:pt x="2722" y="3387"/>
                  </a:lnTo>
                  <a:lnTo>
                    <a:pt x="2714" y="3385"/>
                  </a:lnTo>
                  <a:lnTo>
                    <a:pt x="2706" y="3383"/>
                  </a:lnTo>
                  <a:lnTo>
                    <a:pt x="2698" y="3382"/>
                  </a:lnTo>
                  <a:lnTo>
                    <a:pt x="2670" y="3383"/>
                  </a:lnTo>
                  <a:lnTo>
                    <a:pt x="2643" y="3387"/>
                  </a:lnTo>
                  <a:lnTo>
                    <a:pt x="2630" y="3387"/>
                  </a:lnTo>
                  <a:lnTo>
                    <a:pt x="2616" y="3387"/>
                  </a:lnTo>
                  <a:lnTo>
                    <a:pt x="2602" y="3386"/>
                  </a:lnTo>
                  <a:lnTo>
                    <a:pt x="2588" y="3382"/>
                  </a:lnTo>
                  <a:lnTo>
                    <a:pt x="2588" y="3327"/>
                  </a:lnTo>
                  <a:lnTo>
                    <a:pt x="2588" y="3299"/>
                  </a:lnTo>
                  <a:lnTo>
                    <a:pt x="2588" y="3279"/>
                  </a:lnTo>
                  <a:lnTo>
                    <a:pt x="2588" y="3243"/>
                  </a:lnTo>
                  <a:lnTo>
                    <a:pt x="2590" y="3234"/>
                  </a:lnTo>
                  <a:lnTo>
                    <a:pt x="2591" y="3225"/>
                  </a:lnTo>
                  <a:lnTo>
                    <a:pt x="2594" y="3217"/>
                  </a:lnTo>
                  <a:lnTo>
                    <a:pt x="2598" y="3209"/>
                  </a:lnTo>
                  <a:lnTo>
                    <a:pt x="2606" y="3194"/>
                  </a:lnTo>
                  <a:lnTo>
                    <a:pt x="2616" y="3181"/>
                  </a:lnTo>
                  <a:lnTo>
                    <a:pt x="2626" y="3169"/>
                  </a:lnTo>
                  <a:lnTo>
                    <a:pt x="2635" y="3157"/>
                  </a:lnTo>
                  <a:lnTo>
                    <a:pt x="2638" y="3151"/>
                  </a:lnTo>
                  <a:lnTo>
                    <a:pt x="2640" y="3146"/>
                  </a:lnTo>
                  <a:lnTo>
                    <a:pt x="2643" y="3141"/>
                  </a:lnTo>
                  <a:lnTo>
                    <a:pt x="2643" y="3135"/>
                  </a:lnTo>
                  <a:lnTo>
                    <a:pt x="2642" y="3121"/>
                  </a:lnTo>
                  <a:lnTo>
                    <a:pt x="2639" y="3107"/>
                  </a:lnTo>
                  <a:lnTo>
                    <a:pt x="2634" y="3094"/>
                  </a:lnTo>
                  <a:lnTo>
                    <a:pt x="2627" y="3082"/>
                  </a:lnTo>
                  <a:lnTo>
                    <a:pt x="2619" y="3070"/>
                  </a:lnTo>
                  <a:lnTo>
                    <a:pt x="2610" y="3058"/>
                  </a:lnTo>
                  <a:lnTo>
                    <a:pt x="2600" y="3047"/>
                  </a:lnTo>
                  <a:lnTo>
                    <a:pt x="2590" y="3035"/>
                  </a:lnTo>
                  <a:lnTo>
                    <a:pt x="2570" y="3013"/>
                  </a:lnTo>
                  <a:lnTo>
                    <a:pt x="2551" y="2990"/>
                  </a:lnTo>
                  <a:lnTo>
                    <a:pt x="2543" y="2977"/>
                  </a:lnTo>
                  <a:lnTo>
                    <a:pt x="2536" y="2965"/>
                  </a:lnTo>
                  <a:lnTo>
                    <a:pt x="2532" y="2952"/>
                  </a:lnTo>
                  <a:lnTo>
                    <a:pt x="2528" y="2937"/>
                  </a:lnTo>
                  <a:lnTo>
                    <a:pt x="2527" y="2929"/>
                  </a:lnTo>
                  <a:lnTo>
                    <a:pt x="2526" y="2921"/>
                  </a:lnTo>
                  <a:lnTo>
                    <a:pt x="2526" y="2914"/>
                  </a:lnTo>
                  <a:lnTo>
                    <a:pt x="2526" y="2908"/>
                  </a:lnTo>
                  <a:lnTo>
                    <a:pt x="2528" y="2893"/>
                  </a:lnTo>
                  <a:lnTo>
                    <a:pt x="2531" y="2881"/>
                  </a:lnTo>
                  <a:lnTo>
                    <a:pt x="2535" y="2868"/>
                  </a:lnTo>
                  <a:lnTo>
                    <a:pt x="2536" y="2854"/>
                  </a:lnTo>
                  <a:lnTo>
                    <a:pt x="2538" y="2848"/>
                  </a:lnTo>
                  <a:lnTo>
                    <a:pt x="2538" y="2842"/>
                  </a:lnTo>
                  <a:lnTo>
                    <a:pt x="2536" y="2836"/>
                  </a:lnTo>
                  <a:lnTo>
                    <a:pt x="2535" y="2829"/>
                  </a:lnTo>
                  <a:lnTo>
                    <a:pt x="2532" y="2824"/>
                  </a:lnTo>
                  <a:lnTo>
                    <a:pt x="2530" y="2818"/>
                  </a:lnTo>
                  <a:lnTo>
                    <a:pt x="2527" y="2814"/>
                  </a:lnTo>
                  <a:lnTo>
                    <a:pt x="2522" y="2810"/>
                  </a:lnTo>
                  <a:lnTo>
                    <a:pt x="2511" y="2804"/>
                  </a:lnTo>
                  <a:lnTo>
                    <a:pt x="2498" y="2798"/>
                  </a:lnTo>
                  <a:lnTo>
                    <a:pt x="2467" y="2792"/>
                  </a:lnTo>
                  <a:lnTo>
                    <a:pt x="2438" y="2786"/>
                  </a:lnTo>
                  <a:lnTo>
                    <a:pt x="2442" y="2776"/>
                  </a:lnTo>
                  <a:lnTo>
                    <a:pt x="2446" y="2766"/>
                  </a:lnTo>
                  <a:lnTo>
                    <a:pt x="2451" y="2758"/>
                  </a:lnTo>
                  <a:lnTo>
                    <a:pt x="2458" y="2752"/>
                  </a:lnTo>
                  <a:lnTo>
                    <a:pt x="2472" y="2740"/>
                  </a:lnTo>
                  <a:lnTo>
                    <a:pt x="2488" y="2729"/>
                  </a:lnTo>
                  <a:lnTo>
                    <a:pt x="2503" y="2718"/>
                  </a:lnTo>
                  <a:lnTo>
                    <a:pt x="2516" y="2706"/>
                  </a:lnTo>
                  <a:lnTo>
                    <a:pt x="2522" y="2700"/>
                  </a:lnTo>
                  <a:lnTo>
                    <a:pt x="2526" y="2692"/>
                  </a:lnTo>
                  <a:lnTo>
                    <a:pt x="2527" y="2682"/>
                  </a:lnTo>
                  <a:lnTo>
                    <a:pt x="2528" y="2672"/>
                  </a:lnTo>
                  <a:lnTo>
                    <a:pt x="2527" y="2633"/>
                  </a:lnTo>
                  <a:lnTo>
                    <a:pt x="2524" y="2596"/>
                  </a:lnTo>
                  <a:lnTo>
                    <a:pt x="2520" y="2558"/>
                  </a:lnTo>
                  <a:lnTo>
                    <a:pt x="2515" y="2522"/>
                  </a:lnTo>
                  <a:lnTo>
                    <a:pt x="2507" y="2485"/>
                  </a:lnTo>
                  <a:lnTo>
                    <a:pt x="2499" y="2449"/>
                  </a:lnTo>
                  <a:lnTo>
                    <a:pt x="2488" y="2415"/>
                  </a:lnTo>
                  <a:lnTo>
                    <a:pt x="2478" y="2380"/>
                  </a:lnTo>
                  <a:lnTo>
                    <a:pt x="2464" y="2345"/>
                  </a:lnTo>
                  <a:lnTo>
                    <a:pt x="2451" y="2312"/>
                  </a:lnTo>
                  <a:lnTo>
                    <a:pt x="2438" y="2279"/>
                  </a:lnTo>
                  <a:lnTo>
                    <a:pt x="2422" y="2247"/>
                  </a:lnTo>
                  <a:lnTo>
                    <a:pt x="2406" y="2215"/>
                  </a:lnTo>
                  <a:lnTo>
                    <a:pt x="2388" y="2184"/>
                  </a:lnTo>
                  <a:lnTo>
                    <a:pt x="2371" y="2153"/>
                  </a:lnTo>
                  <a:lnTo>
                    <a:pt x="2354" y="2124"/>
                  </a:lnTo>
                  <a:lnTo>
                    <a:pt x="2364" y="2119"/>
                  </a:lnTo>
                  <a:lnTo>
                    <a:pt x="2374" y="2112"/>
                  </a:lnTo>
                  <a:lnTo>
                    <a:pt x="2383" y="2104"/>
                  </a:lnTo>
                  <a:lnTo>
                    <a:pt x="2394" y="2096"/>
                  </a:lnTo>
                  <a:lnTo>
                    <a:pt x="2412" y="2076"/>
                  </a:lnTo>
                  <a:lnTo>
                    <a:pt x="2430" y="2056"/>
                  </a:lnTo>
                  <a:lnTo>
                    <a:pt x="2447" y="2036"/>
                  </a:lnTo>
                  <a:lnTo>
                    <a:pt x="2463" y="2019"/>
                  </a:lnTo>
                  <a:lnTo>
                    <a:pt x="2471" y="2012"/>
                  </a:lnTo>
                  <a:lnTo>
                    <a:pt x="2478" y="2005"/>
                  </a:lnTo>
                  <a:lnTo>
                    <a:pt x="2486" y="2000"/>
                  </a:lnTo>
                  <a:lnTo>
                    <a:pt x="2492" y="1997"/>
                  </a:lnTo>
                  <a:lnTo>
                    <a:pt x="2500" y="1995"/>
                  </a:lnTo>
                  <a:lnTo>
                    <a:pt x="2508" y="1993"/>
                  </a:lnTo>
                  <a:lnTo>
                    <a:pt x="2516" y="1992"/>
                  </a:lnTo>
                  <a:lnTo>
                    <a:pt x="2526" y="1992"/>
                  </a:lnTo>
                  <a:lnTo>
                    <a:pt x="2542" y="1992"/>
                  </a:lnTo>
                  <a:lnTo>
                    <a:pt x="2556" y="1992"/>
                  </a:lnTo>
                  <a:lnTo>
                    <a:pt x="2563" y="1992"/>
                  </a:lnTo>
                  <a:lnTo>
                    <a:pt x="2570" y="1991"/>
                  </a:lnTo>
                  <a:lnTo>
                    <a:pt x="2575" y="1988"/>
                  </a:lnTo>
                  <a:lnTo>
                    <a:pt x="2579" y="1985"/>
                  </a:lnTo>
                  <a:lnTo>
                    <a:pt x="2583" y="1980"/>
                  </a:lnTo>
                  <a:lnTo>
                    <a:pt x="2587" y="1973"/>
                  </a:lnTo>
                  <a:lnTo>
                    <a:pt x="2588" y="1965"/>
                  </a:lnTo>
                  <a:lnTo>
                    <a:pt x="2588" y="1955"/>
                  </a:lnTo>
                  <a:lnTo>
                    <a:pt x="2587" y="1944"/>
                  </a:lnTo>
                  <a:lnTo>
                    <a:pt x="2584" y="1935"/>
                  </a:lnTo>
                  <a:lnTo>
                    <a:pt x="2579" y="1925"/>
                  </a:lnTo>
                  <a:lnTo>
                    <a:pt x="2574" y="1916"/>
                  </a:lnTo>
                  <a:lnTo>
                    <a:pt x="2568" y="1907"/>
                  </a:lnTo>
                  <a:lnTo>
                    <a:pt x="2563" y="1897"/>
                  </a:lnTo>
                  <a:lnTo>
                    <a:pt x="2560" y="1888"/>
                  </a:lnTo>
                  <a:lnTo>
                    <a:pt x="2559" y="1877"/>
                  </a:lnTo>
                  <a:lnTo>
                    <a:pt x="2643" y="1660"/>
                  </a:lnTo>
                  <a:lnTo>
                    <a:pt x="2654" y="1652"/>
                  </a:lnTo>
                  <a:lnTo>
                    <a:pt x="2670" y="1643"/>
                  </a:lnTo>
                  <a:lnTo>
                    <a:pt x="2686" y="1635"/>
                  </a:lnTo>
                  <a:lnTo>
                    <a:pt x="2703" y="1626"/>
                  </a:lnTo>
                  <a:lnTo>
                    <a:pt x="2711" y="1620"/>
                  </a:lnTo>
                  <a:lnTo>
                    <a:pt x="2719" y="1615"/>
                  </a:lnTo>
                  <a:lnTo>
                    <a:pt x="2727" y="1608"/>
                  </a:lnTo>
                  <a:lnTo>
                    <a:pt x="2732" y="1602"/>
                  </a:lnTo>
                  <a:lnTo>
                    <a:pt x="2738" y="1594"/>
                  </a:lnTo>
                  <a:lnTo>
                    <a:pt x="2742" y="1584"/>
                  </a:lnTo>
                  <a:lnTo>
                    <a:pt x="2744" y="1575"/>
                  </a:lnTo>
                  <a:lnTo>
                    <a:pt x="2746" y="1564"/>
                  </a:lnTo>
                  <a:lnTo>
                    <a:pt x="2744" y="1555"/>
                  </a:lnTo>
                  <a:lnTo>
                    <a:pt x="2743" y="1548"/>
                  </a:lnTo>
                  <a:lnTo>
                    <a:pt x="2740" y="1540"/>
                  </a:lnTo>
                  <a:lnTo>
                    <a:pt x="2736" y="1535"/>
                  </a:lnTo>
                  <a:lnTo>
                    <a:pt x="2727" y="1524"/>
                  </a:lnTo>
                  <a:lnTo>
                    <a:pt x="2716" y="1516"/>
                  </a:lnTo>
                  <a:lnTo>
                    <a:pt x="2704" y="1508"/>
                  </a:lnTo>
                  <a:lnTo>
                    <a:pt x="2692" y="1502"/>
                  </a:lnTo>
                  <a:lnTo>
                    <a:pt x="2682" y="1494"/>
                  </a:lnTo>
                  <a:lnTo>
                    <a:pt x="2674" y="1486"/>
                  </a:lnTo>
                  <a:lnTo>
                    <a:pt x="2668" y="1476"/>
                  </a:lnTo>
                  <a:lnTo>
                    <a:pt x="2664" y="1467"/>
                  </a:lnTo>
                  <a:lnTo>
                    <a:pt x="2662" y="1458"/>
                  </a:lnTo>
                  <a:lnTo>
                    <a:pt x="2659" y="1448"/>
                  </a:lnTo>
                  <a:lnTo>
                    <a:pt x="2656" y="1428"/>
                  </a:lnTo>
                  <a:lnTo>
                    <a:pt x="2654" y="1408"/>
                  </a:lnTo>
                  <a:lnTo>
                    <a:pt x="2652" y="1388"/>
                  </a:lnTo>
                  <a:lnTo>
                    <a:pt x="2648" y="1370"/>
                  </a:lnTo>
                  <a:lnTo>
                    <a:pt x="2646" y="1360"/>
                  </a:lnTo>
                  <a:lnTo>
                    <a:pt x="2642" y="1351"/>
                  </a:lnTo>
                  <a:lnTo>
                    <a:pt x="2638" y="1343"/>
                  </a:lnTo>
                  <a:lnTo>
                    <a:pt x="2631" y="1335"/>
                  </a:lnTo>
                  <a:lnTo>
                    <a:pt x="2622" y="1324"/>
                  </a:lnTo>
                  <a:lnTo>
                    <a:pt x="2612" y="1315"/>
                  </a:lnTo>
                  <a:lnTo>
                    <a:pt x="2603" y="1306"/>
                  </a:lnTo>
                  <a:lnTo>
                    <a:pt x="2594" y="1298"/>
                  </a:lnTo>
                  <a:lnTo>
                    <a:pt x="2574" y="1282"/>
                  </a:lnTo>
                  <a:lnTo>
                    <a:pt x="2554" y="1267"/>
                  </a:lnTo>
                  <a:lnTo>
                    <a:pt x="2535" y="1253"/>
                  </a:lnTo>
                  <a:lnTo>
                    <a:pt x="2518" y="1235"/>
                  </a:lnTo>
                  <a:lnTo>
                    <a:pt x="2508" y="1226"/>
                  </a:lnTo>
                  <a:lnTo>
                    <a:pt x="2500" y="1215"/>
                  </a:lnTo>
                  <a:lnTo>
                    <a:pt x="2494" y="1203"/>
                  </a:lnTo>
                  <a:lnTo>
                    <a:pt x="2487" y="1191"/>
                  </a:lnTo>
                  <a:lnTo>
                    <a:pt x="2480" y="1179"/>
                  </a:lnTo>
                  <a:lnTo>
                    <a:pt x="2475" y="1169"/>
                  </a:lnTo>
                  <a:lnTo>
                    <a:pt x="2472" y="1159"/>
                  </a:lnTo>
                  <a:lnTo>
                    <a:pt x="2470" y="1150"/>
                  </a:lnTo>
                  <a:lnTo>
                    <a:pt x="2464" y="1133"/>
                  </a:lnTo>
                  <a:lnTo>
                    <a:pt x="2460" y="1117"/>
                  </a:lnTo>
                  <a:lnTo>
                    <a:pt x="2458" y="1110"/>
                  </a:lnTo>
                  <a:lnTo>
                    <a:pt x="2455" y="1103"/>
                  </a:lnTo>
                  <a:lnTo>
                    <a:pt x="2451" y="1097"/>
                  </a:lnTo>
                  <a:lnTo>
                    <a:pt x="2446" y="1091"/>
                  </a:lnTo>
                  <a:lnTo>
                    <a:pt x="2439" y="1085"/>
                  </a:lnTo>
                  <a:lnTo>
                    <a:pt x="2431" y="1079"/>
                  </a:lnTo>
                  <a:lnTo>
                    <a:pt x="2420" y="1075"/>
                  </a:lnTo>
                  <a:lnTo>
                    <a:pt x="2408" y="1070"/>
                  </a:lnTo>
                  <a:lnTo>
                    <a:pt x="2418" y="1043"/>
                  </a:lnTo>
                  <a:lnTo>
                    <a:pt x="2427" y="1022"/>
                  </a:lnTo>
                  <a:lnTo>
                    <a:pt x="2432" y="1013"/>
                  </a:lnTo>
                  <a:lnTo>
                    <a:pt x="2435" y="1003"/>
                  </a:lnTo>
                  <a:lnTo>
                    <a:pt x="2438" y="995"/>
                  </a:lnTo>
                  <a:lnTo>
                    <a:pt x="2438" y="986"/>
                  </a:lnTo>
                  <a:lnTo>
                    <a:pt x="2440" y="974"/>
                  </a:lnTo>
                  <a:lnTo>
                    <a:pt x="2444" y="961"/>
                  </a:lnTo>
                  <a:lnTo>
                    <a:pt x="2447" y="953"/>
                  </a:lnTo>
                  <a:lnTo>
                    <a:pt x="2448" y="943"/>
                  </a:lnTo>
                  <a:lnTo>
                    <a:pt x="2450" y="930"/>
                  </a:lnTo>
                  <a:lnTo>
                    <a:pt x="2450" y="914"/>
                  </a:lnTo>
                  <a:lnTo>
                    <a:pt x="2432" y="914"/>
                  </a:lnTo>
                  <a:lnTo>
                    <a:pt x="2423" y="909"/>
                  </a:lnTo>
                  <a:lnTo>
                    <a:pt x="2414" y="903"/>
                  </a:lnTo>
                  <a:lnTo>
                    <a:pt x="2403" y="898"/>
                  </a:lnTo>
                  <a:lnTo>
                    <a:pt x="2390" y="890"/>
                  </a:lnTo>
                  <a:lnTo>
                    <a:pt x="2374" y="895"/>
                  </a:lnTo>
                  <a:lnTo>
                    <a:pt x="2360" y="899"/>
                  </a:lnTo>
                  <a:lnTo>
                    <a:pt x="2350" y="905"/>
                  </a:lnTo>
                  <a:lnTo>
                    <a:pt x="2340" y="910"/>
                  </a:lnTo>
                  <a:lnTo>
                    <a:pt x="2332" y="915"/>
                  </a:lnTo>
                  <a:lnTo>
                    <a:pt x="2327" y="919"/>
                  </a:lnTo>
                  <a:lnTo>
                    <a:pt x="2323" y="925"/>
                  </a:lnTo>
                  <a:lnTo>
                    <a:pt x="2320" y="930"/>
                  </a:lnTo>
                  <a:lnTo>
                    <a:pt x="2319" y="935"/>
                  </a:lnTo>
                  <a:lnTo>
                    <a:pt x="2319" y="939"/>
                  </a:lnTo>
                  <a:lnTo>
                    <a:pt x="2320" y="945"/>
                  </a:lnTo>
                  <a:lnTo>
                    <a:pt x="2323" y="950"/>
                  </a:lnTo>
                  <a:lnTo>
                    <a:pt x="2330" y="959"/>
                  </a:lnTo>
                  <a:lnTo>
                    <a:pt x="2339" y="969"/>
                  </a:lnTo>
                  <a:lnTo>
                    <a:pt x="2360" y="987"/>
                  </a:lnTo>
                  <a:lnTo>
                    <a:pt x="2380" y="1003"/>
                  </a:lnTo>
                  <a:lnTo>
                    <a:pt x="2383" y="1009"/>
                  </a:lnTo>
                  <a:lnTo>
                    <a:pt x="2386" y="1013"/>
                  </a:lnTo>
                  <a:lnTo>
                    <a:pt x="2387" y="1015"/>
                  </a:lnTo>
                  <a:lnTo>
                    <a:pt x="2388" y="1019"/>
                  </a:lnTo>
                  <a:lnTo>
                    <a:pt x="2388" y="1023"/>
                  </a:lnTo>
                  <a:lnTo>
                    <a:pt x="2386" y="1027"/>
                  </a:lnTo>
                  <a:lnTo>
                    <a:pt x="2383" y="1031"/>
                  </a:lnTo>
                  <a:lnTo>
                    <a:pt x="2378" y="1034"/>
                  </a:lnTo>
                  <a:lnTo>
                    <a:pt x="2372" y="1046"/>
                  </a:lnTo>
                  <a:lnTo>
                    <a:pt x="2366" y="1058"/>
                  </a:lnTo>
                  <a:lnTo>
                    <a:pt x="2359" y="1069"/>
                  </a:lnTo>
                  <a:lnTo>
                    <a:pt x="2351" y="1079"/>
                  </a:lnTo>
                  <a:lnTo>
                    <a:pt x="2336" y="1098"/>
                  </a:lnTo>
                  <a:lnTo>
                    <a:pt x="2319" y="1115"/>
                  </a:lnTo>
                  <a:lnTo>
                    <a:pt x="2300" y="1130"/>
                  </a:lnTo>
                  <a:lnTo>
                    <a:pt x="2282" y="1143"/>
                  </a:lnTo>
                  <a:lnTo>
                    <a:pt x="2263" y="1157"/>
                  </a:lnTo>
                  <a:lnTo>
                    <a:pt x="2243" y="1169"/>
                  </a:lnTo>
                  <a:lnTo>
                    <a:pt x="2204" y="1190"/>
                  </a:lnTo>
                  <a:lnTo>
                    <a:pt x="2168" y="1210"/>
                  </a:lnTo>
                  <a:lnTo>
                    <a:pt x="2152" y="1221"/>
                  </a:lnTo>
                  <a:lnTo>
                    <a:pt x="2138" y="1233"/>
                  </a:lnTo>
                  <a:lnTo>
                    <a:pt x="2124" y="1245"/>
                  </a:lnTo>
                  <a:lnTo>
                    <a:pt x="2112" y="1257"/>
                  </a:lnTo>
                  <a:lnTo>
                    <a:pt x="2114" y="1243"/>
                  </a:lnTo>
                  <a:lnTo>
                    <a:pt x="2116" y="1227"/>
                  </a:lnTo>
                  <a:lnTo>
                    <a:pt x="2120" y="1211"/>
                  </a:lnTo>
                  <a:lnTo>
                    <a:pt x="2127" y="1194"/>
                  </a:lnTo>
                  <a:lnTo>
                    <a:pt x="2135" y="1177"/>
                  </a:lnTo>
                  <a:lnTo>
                    <a:pt x="2144" y="1157"/>
                  </a:lnTo>
                  <a:lnTo>
                    <a:pt x="2155" y="1137"/>
                  </a:lnTo>
                  <a:lnTo>
                    <a:pt x="2167" y="1117"/>
                  </a:lnTo>
                  <a:lnTo>
                    <a:pt x="2224" y="1026"/>
                  </a:lnTo>
                  <a:lnTo>
                    <a:pt x="2291" y="926"/>
                  </a:lnTo>
                  <a:lnTo>
                    <a:pt x="2326" y="873"/>
                  </a:lnTo>
                  <a:lnTo>
                    <a:pt x="2359" y="819"/>
                  </a:lnTo>
                  <a:lnTo>
                    <a:pt x="2374" y="791"/>
                  </a:lnTo>
                  <a:lnTo>
                    <a:pt x="2390" y="763"/>
                  </a:lnTo>
                  <a:lnTo>
                    <a:pt x="2403" y="737"/>
                  </a:lnTo>
                  <a:lnTo>
                    <a:pt x="2416" y="709"/>
                  </a:lnTo>
                  <a:lnTo>
                    <a:pt x="2430" y="681"/>
                  </a:lnTo>
                  <a:lnTo>
                    <a:pt x="2440" y="653"/>
                  </a:lnTo>
                  <a:lnTo>
                    <a:pt x="2450" y="625"/>
                  </a:lnTo>
                  <a:lnTo>
                    <a:pt x="2459" y="597"/>
                  </a:lnTo>
                  <a:lnTo>
                    <a:pt x="2466" y="569"/>
                  </a:lnTo>
                  <a:lnTo>
                    <a:pt x="2470" y="541"/>
                  </a:lnTo>
                  <a:lnTo>
                    <a:pt x="2474" y="513"/>
                  </a:lnTo>
                  <a:lnTo>
                    <a:pt x="2474" y="486"/>
                  </a:lnTo>
                  <a:lnTo>
                    <a:pt x="2474" y="476"/>
                  </a:lnTo>
                  <a:lnTo>
                    <a:pt x="2472" y="465"/>
                  </a:lnTo>
                  <a:lnTo>
                    <a:pt x="2470" y="454"/>
                  </a:lnTo>
                  <a:lnTo>
                    <a:pt x="2466" y="442"/>
                  </a:lnTo>
                  <a:lnTo>
                    <a:pt x="2456" y="418"/>
                  </a:lnTo>
                  <a:lnTo>
                    <a:pt x="2444" y="393"/>
                  </a:lnTo>
                  <a:lnTo>
                    <a:pt x="2430" y="368"/>
                  </a:lnTo>
                  <a:lnTo>
                    <a:pt x="2412" y="341"/>
                  </a:lnTo>
                  <a:lnTo>
                    <a:pt x="2392" y="316"/>
                  </a:lnTo>
                  <a:lnTo>
                    <a:pt x="2371" y="292"/>
                  </a:lnTo>
                  <a:lnTo>
                    <a:pt x="2348" y="269"/>
                  </a:lnTo>
                  <a:lnTo>
                    <a:pt x="2326" y="248"/>
                  </a:lnTo>
                  <a:lnTo>
                    <a:pt x="2302" y="229"/>
                  </a:lnTo>
                  <a:lnTo>
                    <a:pt x="2279" y="212"/>
                  </a:lnTo>
                  <a:lnTo>
                    <a:pt x="2267" y="205"/>
                  </a:lnTo>
                  <a:lnTo>
                    <a:pt x="2255" y="198"/>
                  </a:lnTo>
                  <a:lnTo>
                    <a:pt x="2244" y="193"/>
                  </a:lnTo>
                  <a:lnTo>
                    <a:pt x="2232" y="188"/>
                  </a:lnTo>
                  <a:lnTo>
                    <a:pt x="2222" y="184"/>
                  </a:lnTo>
                  <a:lnTo>
                    <a:pt x="2211" y="181"/>
                  </a:lnTo>
                  <a:lnTo>
                    <a:pt x="2200" y="180"/>
                  </a:lnTo>
                  <a:lnTo>
                    <a:pt x="2191" y="180"/>
                  </a:lnTo>
                  <a:lnTo>
                    <a:pt x="2159" y="180"/>
                  </a:lnTo>
                  <a:lnTo>
                    <a:pt x="2119" y="182"/>
                  </a:lnTo>
                  <a:lnTo>
                    <a:pt x="2099" y="185"/>
                  </a:lnTo>
                  <a:lnTo>
                    <a:pt x="2079" y="189"/>
                  </a:lnTo>
                  <a:lnTo>
                    <a:pt x="2070" y="192"/>
                  </a:lnTo>
                  <a:lnTo>
                    <a:pt x="2062" y="196"/>
                  </a:lnTo>
                  <a:lnTo>
                    <a:pt x="2054" y="198"/>
                  </a:lnTo>
                  <a:lnTo>
                    <a:pt x="2047" y="204"/>
                  </a:lnTo>
                  <a:lnTo>
                    <a:pt x="2044" y="222"/>
                  </a:lnTo>
                  <a:lnTo>
                    <a:pt x="2040" y="238"/>
                  </a:lnTo>
                  <a:lnTo>
                    <a:pt x="2036" y="252"/>
                  </a:lnTo>
                  <a:lnTo>
                    <a:pt x="2031" y="264"/>
                  </a:lnTo>
                  <a:lnTo>
                    <a:pt x="2024" y="272"/>
                  </a:lnTo>
                  <a:lnTo>
                    <a:pt x="2019" y="280"/>
                  </a:lnTo>
                  <a:lnTo>
                    <a:pt x="2011" y="285"/>
                  </a:lnTo>
                  <a:lnTo>
                    <a:pt x="2004" y="289"/>
                  </a:lnTo>
                  <a:lnTo>
                    <a:pt x="1996" y="292"/>
                  </a:lnTo>
                  <a:lnTo>
                    <a:pt x="1990" y="293"/>
                  </a:lnTo>
                  <a:lnTo>
                    <a:pt x="1982" y="294"/>
                  </a:lnTo>
                  <a:lnTo>
                    <a:pt x="1974" y="294"/>
                  </a:lnTo>
                  <a:lnTo>
                    <a:pt x="1959" y="294"/>
                  </a:lnTo>
                  <a:lnTo>
                    <a:pt x="1945" y="293"/>
                  </a:lnTo>
                  <a:lnTo>
                    <a:pt x="1942" y="293"/>
                  </a:lnTo>
                  <a:lnTo>
                    <a:pt x="1941" y="292"/>
                  </a:lnTo>
                  <a:lnTo>
                    <a:pt x="1941" y="289"/>
                  </a:lnTo>
                  <a:lnTo>
                    <a:pt x="1941" y="285"/>
                  </a:lnTo>
                  <a:lnTo>
                    <a:pt x="1946" y="276"/>
                  </a:lnTo>
                  <a:lnTo>
                    <a:pt x="1953" y="264"/>
                  </a:lnTo>
                  <a:lnTo>
                    <a:pt x="1961" y="249"/>
                  </a:lnTo>
                  <a:lnTo>
                    <a:pt x="1969" y="233"/>
                  </a:lnTo>
                  <a:lnTo>
                    <a:pt x="1975" y="217"/>
                  </a:lnTo>
                  <a:lnTo>
                    <a:pt x="1979" y="201"/>
                  </a:lnTo>
                  <a:lnTo>
                    <a:pt x="1981" y="193"/>
                  </a:lnTo>
                  <a:lnTo>
                    <a:pt x="1981" y="185"/>
                  </a:lnTo>
                  <a:lnTo>
                    <a:pt x="1979" y="178"/>
                  </a:lnTo>
                  <a:lnTo>
                    <a:pt x="1978" y="170"/>
                  </a:lnTo>
                  <a:lnTo>
                    <a:pt x="1974" y="165"/>
                  </a:lnTo>
                  <a:lnTo>
                    <a:pt x="1969" y="158"/>
                  </a:lnTo>
                  <a:lnTo>
                    <a:pt x="1961" y="153"/>
                  </a:lnTo>
                  <a:lnTo>
                    <a:pt x="1953" y="149"/>
                  </a:lnTo>
                  <a:lnTo>
                    <a:pt x="1941" y="145"/>
                  </a:lnTo>
                  <a:lnTo>
                    <a:pt x="1927" y="142"/>
                  </a:lnTo>
                  <a:lnTo>
                    <a:pt x="1913" y="141"/>
                  </a:lnTo>
                  <a:lnTo>
                    <a:pt x="1894" y="140"/>
                  </a:lnTo>
                  <a:lnTo>
                    <a:pt x="1873" y="140"/>
                  </a:lnTo>
                  <a:lnTo>
                    <a:pt x="1850" y="141"/>
                  </a:lnTo>
                  <a:lnTo>
                    <a:pt x="1823" y="145"/>
                  </a:lnTo>
                  <a:lnTo>
                    <a:pt x="1794" y="149"/>
                  </a:lnTo>
                  <a:lnTo>
                    <a:pt x="1791" y="146"/>
                  </a:lnTo>
                  <a:lnTo>
                    <a:pt x="1790" y="145"/>
                  </a:lnTo>
                  <a:lnTo>
                    <a:pt x="1789" y="142"/>
                  </a:lnTo>
                  <a:lnTo>
                    <a:pt x="1789" y="140"/>
                  </a:lnTo>
                  <a:lnTo>
                    <a:pt x="1793" y="136"/>
                  </a:lnTo>
                  <a:lnTo>
                    <a:pt x="1799" y="132"/>
                  </a:lnTo>
                  <a:lnTo>
                    <a:pt x="1817" y="122"/>
                  </a:lnTo>
                  <a:lnTo>
                    <a:pt x="1838" y="111"/>
                  </a:lnTo>
                  <a:lnTo>
                    <a:pt x="1847" y="104"/>
                  </a:lnTo>
                  <a:lnTo>
                    <a:pt x="1855" y="96"/>
                  </a:lnTo>
                  <a:lnTo>
                    <a:pt x="1859" y="92"/>
                  </a:lnTo>
                  <a:lnTo>
                    <a:pt x="1862" y="87"/>
                  </a:lnTo>
                  <a:lnTo>
                    <a:pt x="1863" y="83"/>
                  </a:lnTo>
                  <a:lnTo>
                    <a:pt x="1865" y="77"/>
                  </a:lnTo>
                  <a:lnTo>
                    <a:pt x="1866" y="72"/>
                  </a:lnTo>
                  <a:lnTo>
                    <a:pt x="1865" y="65"/>
                  </a:lnTo>
                  <a:lnTo>
                    <a:pt x="1863" y="60"/>
                  </a:lnTo>
                  <a:lnTo>
                    <a:pt x="1861" y="53"/>
                  </a:lnTo>
                  <a:lnTo>
                    <a:pt x="1857" y="47"/>
                  </a:lnTo>
                  <a:lnTo>
                    <a:pt x="1851" y="39"/>
                  </a:lnTo>
                  <a:lnTo>
                    <a:pt x="1845" y="31"/>
                  </a:lnTo>
                  <a:lnTo>
                    <a:pt x="1837" y="23"/>
                  </a:lnTo>
                  <a:lnTo>
                    <a:pt x="1822" y="16"/>
                  </a:lnTo>
                  <a:lnTo>
                    <a:pt x="1809" y="12"/>
                  </a:lnTo>
                  <a:lnTo>
                    <a:pt x="1795" y="8"/>
                  </a:lnTo>
                  <a:lnTo>
                    <a:pt x="1783" y="4"/>
                  </a:lnTo>
                  <a:lnTo>
                    <a:pt x="1771" y="3"/>
                  </a:lnTo>
                  <a:lnTo>
                    <a:pt x="1761" y="1"/>
                  </a:lnTo>
                  <a:lnTo>
                    <a:pt x="1751" y="0"/>
                  </a:lnTo>
                  <a:lnTo>
                    <a:pt x="1743" y="1"/>
                  </a:lnTo>
                  <a:lnTo>
                    <a:pt x="1734" y="3"/>
                  </a:lnTo>
                  <a:lnTo>
                    <a:pt x="1727" y="4"/>
                  </a:lnTo>
                  <a:lnTo>
                    <a:pt x="1721" y="7"/>
                  </a:lnTo>
                  <a:lnTo>
                    <a:pt x="1715" y="11"/>
                  </a:lnTo>
                  <a:lnTo>
                    <a:pt x="1711" y="13"/>
                  </a:lnTo>
                  <a:lnTo>
                    <a:pt x="1707" y="19"/>
                  </a:lnTo>
                  <a:lnTo>
                    <a:pt x="1705" y="24"/>
                  </a:lnTo>
                  <a:lnTo>
                    <a:pt x="1703" y="29"/>
                  </a:lnTo>
                  <a:lnTo>
                    <a:pt x="1697" y="36"/>
                  </a:lnTo>
                  <a:lnTo>
                    <a:pt x="1690" y="45"/>
                  </a:lnTo>
                  <a:lnTo>
                    <a:pt x="1683" y="55"/>
                  </a:lnTo>
                  <a:lnTo>
                    <a:pt x="1677" y="65"/>
                  </a:lnTo>
                  <a:lnTo>
                    <a:pt x="1665" y="89"/>
                  </a:lnTo>
                  <a:lnTo>
                    <a:pt x="1651" y="115"/>
                  </a:lnTo>
                  <a:lnTo>
                    <a:pt x="1638" y="141"/>
                  </a:lnTo>
                  <a:lnTo>
                    <a:pt x="1625" y="166"/>
                  </a:lnTo>
                  <a:lnTo>
                    <a:pt x="1610" y="189"/>
                  </a:lnTo>
                  <a:lnTo>
                    <a:pt x="1595" y="209"/>
                  </a:lnTo>
                  <a:lnTo>
                    <a:pt x="1591" y="214"/>
                  </a:lnTo>
                  <a:lnTo>
                    <a:pt x="1589" y="220"/>
                  </a:lnTo>
                  <a:lnTo>
                    <a:pt x="1587" y="225"/>
                  </a:lnTo>
                  <a:lnTo>
                    <a:pt x="1586" y="230"/>
                  </a:lnTo>
                  <a:lnTo>
                    <a:pt x="1586" y="241"/>
                  </a:lnTo>
                  <a:lnTo>
                    <a:pt x="1589" y="253"/>
                  </a:lnTo>
                  <a:lnTo>
                    <a:pt x="1597" y="276"/>
                  </a:lnTo>
                  <a:lnTo>
                    <a:pt x="1606" y="300"/>
                  </a:lnTo>
                  <a:lnTo>
                    <a:pt x="1609" y="312"/>
                  </a:lnTo>
                  <a:lnTo>
                    <a:pt x="1611" y="324"/>
                  </a:lnTo>
                  <a:lnTo>
                    <a:pt x="1611" y="329"/>
                  </a:lnTo>
                  <a:lnTo>
                    <a:pt x="1610" y="334"/>
                  </a:lnTo>
                  <a:lnTo>
                    <a:pt x="1609" y="341"/>
                  </a:lnTo>
                  <a:lnTo>
                    <a:pt x="1607" y="346"/>
                  </a:lnTo>
                  <a:lnTo>
                    <a:pt x="1605" y="352"/>
                  </a:lnTo>
                  <a:lnTo>
                    <a:pt x="1601" y="358"/>
                  </a:lnTo>
                  <a:lnTo>
                    <a:pt x="1595" y="364"/>
                  </a:lnTo>
                  <a:lnTo>
                    <a:pt x="1590" y="369"/>
                  </a:lnTo>
                  <a:lnTo>
                    <a:pt x="1582" y="374"/>
                  </a:lnTo>
                  <a:lnTo>
                    <a:pt x="1574" y="380"/>
                  </a:lnTo>
                  <a:lnTo>
                    <a:pt x="1565" y="385"/>
                  </a:lnTo>
                  <a:lnTo>
                    <a:pt x="1553" y="390"/>
                  </a:lnTo>
                  <a:lnTo>
                    <a:pt x="1546" y="388"/>
                  </a:lnTo>
                  <a:lnTo>
                    <a:pt x="1529" y="384"/>
                  </a:lnTo>
                  <a:lnTo>
                    <a:pt x="1518" y="382"/>
                  </a:lnTo>
                  <a:lnTo>
                    <a:pt x="1506" y="381"/>
                  </a:lnTo>
                  <a:lnTo>
                    <a:pt x="1495" y="381"/>
                  </a:lnTo>
                  <a:lnTo>
                    <a:pt x="1486" y="381"/>
                  </a:lnTo>
                  <a:lnTo>
                    <a:pt x="1482" y="382"/>
                  </a:lnTo>
                  <a:lnTo>
                    <a:pt x="1478" y="385"/>
                  </a:lnTo>
                  <a:lnTo>
                    <a:pt x="1475" y="386"/>
                  </a:lnTo>
                  <a:lnTo>
                    <a:pt x="1473" y="389"/>
                  </a:lnTo>
                  <a:lnTo>
                    <a:pt x="1471" y="393"/>
                  </a:lnTo>
                  <a:lnTo>
                    <a:pt x="1471" y="397"/>
                  </a:lnTo>
                  <a:lnTo>
                    <a:pt x="1473" y="402"/>
                  </a:lnTo>
                  <a:lnTo>
                    <a:pt x="1474" y="408"/>
                  </a:lnTo>
                  <a:lnTo>
                    <a:pt x="1477" y="414"/>
                  </a:lnTo>
                  <a:lnTo>
                    <a:pt x="1482" y="421"/>
                  </a:lnTo>
                  <a:lnTo>
                    <a:pt x="1487" y="430"/>
                  </a:lnTo>
                  <a:lnTo>
                    <a:pt x="1495" y="438"/>
                  </a:lnTo>
                  <a:lnTo>
                    <a:pt x="1514" y="461"/>
                  </a:lnTo>
                  <a:lnTo>
                    <a:pt x="1541" y="486"/>
                  </a:lnTo>
                  <a:lnTo>
                    <a:pt x="1519" y="477"/>
                  </a:lnTo>
                  <a:lnTo>
                    <a:pt x="1502" y="470"/>
                  </a:lnTo>
                  <a:lnTo>
                    <a:pt x="1487" y="468"/>
                  </a:lnTo>
                  <a:lnTo>
                    <a:pt x="1478" y="466"/>
                  </a:lnTo>
                  <a:lnTo>
                    <a:pt x="1463" y="466"/>
                  </a:lnTo>
                  <a:lnTo>
                    <a:pt x="1450" y="468"/>
                  </a:lnTo>
                  <a:lnTo>
                    <a:pt x="1437" y="484"/>
                  </a:lnTo>
                  <a:lnTo>
                    <a:pt x="1407" y="516"/>
                  </a:lnTo>
                  <a:lnTo>
                    <a:pt x="1391" y="533"/>
                  </a:lnTo>
                  <a:lnTo>
                    <a:pt x="1374" y="548"/>
                  </a:lnTo>
                  <a:lnTo>
                    <a:pt x="1365" y="553"/>
                  </a:lnTo>
                  <a:lnTo>
                    <a:pt x="1357" y="557"/>
                  </a:lnTo>
                  <a:lnTo>
                    <a:pt x="1349" y="558"/>
                  </a:lnTo>
                  <a:lnTo>
                    <a:pt x="1342" y="558"/>
                  </a:lnTo>
                  <a:lnTo>
                    <a:pt x="1339" y="558"/>
                  </a:lnTo>
                  <a:lnTo>
                    <a:pt x="1337" y="557"/>
                  </a:lnTo>
                  <a:lnTo>
                    <a:pt x="1335" y="554"/>
                  </a:lnTo>
                  <a:lnTo>
                    <a:pt x="1334" y="553"/>
                  </a:lnTo>
                  <a:lnTo>
                    <a:pt x="1334" y="546"/>
                  </a:lnTo>
                  <a:lnTo>
                    <a:pt x="1335" y="540"/>
                  </a:lnTo>
                  <a:lnTo>
                    <a:pt x="1342" y="524"/>
                  </a:lnTo>
                  <a:lnTo>
                    <a:pt x="1350" y="505"/>
                  </a:lnTo>
                  <a:lnTo>
                    <a:pt x="1354" y="496"/>
                  </a:lnTo>
                  <a:lnTo>
                    <a:pt x="1358" y="488"/>
                  </a:lnTo>
                  <a:lnTo>
                    <a:pt x="1359" y="478"/>
                  </a:lnTo>
                  <a:lnTo>
                    <a:pt x="1359" y="472"/>
                  </a:lnTo>
                  <a:lnTo>
                    <a:pt x="1359" y="468"/>
                  </a:lnTo>
                  <a:lnTo>
                    <a:pt x="1358" y="465"/>
                  </a:lnTo>
                  <a:lnTo>
                    <a:pt x="1357" y="462"/>
                  </a:lnTo>
                  <a:lnTo>
                    <a:pt x="1354" y="461"/>
                  </a:lnTo>
                  <a:lnTo>
                    <a:pt x="1351" y="458"/>
                  </a:lnTo>
                  <a:lnTo>
                    <a:pt x="1347" y="457"/>
                  </a:lnTo>
                  <a:lnTo>
                    <a:pt x="1342" y="457"/>
                  </a:lnTo>
                  <a:lnTo>
                    <a:pt x="1337" y="456"/>
                  </a:lnTo>
                  <a:lnTo>
                    <a:pt x="1322" y="468"/>
                  </a:lnTo>
                  <a:lnTo>
                    <a:pt x="1309" y="477"/>
                  </a:lnTo>
                  <a:lnTo>
                    <a:pt x="1295" y="486"/>
                  </a:lnTo>
                  <a:lnTo>
                    <a:pt x="1282" y="493"/>
                  </a:lnTo>
                  <a:lnTo>
                    <a:pt x="1270" y="498"/>
                  </a:lnTo>
                  <a:lnTo>
                    <a:pt x="1259" y="504"/>
                  </a:lnTo>
                  <a:lnTo>
                    <a:pt x="1249" y="506"/>
                  </a:lnTo>
                  <a:lnTo>
                    <a:pt x="1238" y="509"/>
                  </a:lnTo>
                  <a:lnTo>
                    <a:pt x="1198" y="517"/>
                  </a:lnTo>
                  <a:lnTo>
                    <a:pt x="1162" y="522"/>
                  </a:lnTo>
                  <a:lnTo>
                    <a:pt x="1142" y="524"/>
                  </a:lnTo>
                  <a:lnTo>
                    <a:pt x="1128" y="525"/>
                  </a:lnTo>
                  <a:lnTo>
                    <a:pt x="1118" y="528"/>
                  </a:lnTo>
                  <a:lnTo>
                    <a:pt x="1112" y="532"/>
                  </a:lnTo>
                  <a:lnTo>
                    <a:pt x="1110" y="533"/>
                  </a:lnTo>
                  <a:lnTo>
                    <a:pt x="1110" y="536"/>
                  </a:lnTo>
                  <a:lnTo>
                    <a:pt x="1110" y="538"/>
                  </a:lnTo>
                  <a:lnTo>
                    <a:pt x="1110" y="541"/>
                  </a:lnTo>
                  <a:lnTo>
                    <a:pt x="1113" y="548"/>
                  </a:lnTo>
                  <a:lnTo>
                    <a:pt x="1117" y="553"/>
                  </a:lnTo>
                  <a:lnTo>
                    <a:pt x="1128" y="566"/>
                  </a:lnTo>
                  <a:lnTo>
                    <a:pt x="1137" y="581"/>
                  </a:lnTo>
                  <a:lnTo>
                    <a:pt x="1140" y="588"/>
                  </a:lnTo>
                  <a:lnTo>
                    <a:pt x="1140" y="594"/>
                  </a:lnTo>
                  <a:lnTo>
                    <a:pt x="1140" y="598"/>
                  </a:lnTo>
                  <a:lnTo>
                    <a:pt x="1137" y="601"/>
                  </a:lnTo>
                  <a:lnTo>
                    <a:pt x="1136" y="604"/>
                  </a:lnTo>
                  <a:lnTo>
                    <a:pt x="1132" y="606"/>
                  </a:lnTo>
                  <a:lnTo>
                    <a:pt x="1125" y="612"/>
                  </a:lnTo>
                  <a:lnTo>
                    <a:pt x="1117" y="616"/>
                  </a:lnTo>
                  <a:lnTo>
                    <a:pt x="1106" y="618"/>
                  </a:lnTo>
                  <a:lnTo>
                    <a:pt x="1096" y="622"/>
                  </a:lnTo>
                  <a:lnTo>
                    <a:pt x="1069" y="629"/>
                  </a:lnTo>
                  <a:lnTo>
                    <a:pt x="1041" y="637"/>
                  </a:lnTo>
                  <a:lnTo>
                    <a:pt x="1010" y="645"/>
                  </a:lnTo>
                  <a:lnTo>
                    <a:pt x="980" y="656"/>
                  </a:lnTo>
                  <a:lnTo>
                    <a:pt x="965" y="662"/>
                  </a:lnTo>
                  <a:lnTo>
                    <a:pt x="952" y="669"/>
                  </a:lnTo>
                  <a:lnTo>
                    <a:pt x="938" y="677"/>
                  </a:lnTo>
                  <a:lnTo>
                    <a:pt x="926" y="685"/>
                  </a:lnTo>
                  <a:lnTo>
                    <a:pt x="906" y="698"/>
                  </a:lnTo>
                  <a:lnTo>
                    <a:pt x="888" y="713"/>
                  </a:lnTo>
                  <a:lnTo>
                    <a:pt x="870" y="726"/>
                  </a:lnTo>
                  <a:lnTo>
                    <a:pt x="854" y="741"/>
                  </a:lnTo>
                  <a:lnTo>
                    <a:pt x="822" y="769"/>
                  </a:lnTo>
                  <a:lnTo>
                    <a:pt x="796" y="797"/>
                  </a:lnTo>
                  <a:lnTo>
                    <a:pt x="769" y="826"/>
                  </a:lnTo>
                  <a:lnTo>
                    <a:pt x="746" y="855"/>
                  </a:lnTo>
                  <a:lnTo>
                    <a:pt x="725" y="885"/>
                  </a:lnTo>
                  <a:lnTo>
                    <a:pt x="704" y="914"/>
                  </a:lnTo>
                  <a:lnTo>
                    <a:pt x="700" y="921"/>
                  </a:lnTo>
                  <a:lnTo>
                    <a:pt x="696" y="930"/>
                  </a:lnTo>
                  <a:lnTo>
                    <a:pt x="694" y="939"/>
                  </a:lnTo>
                  <a:lnTo>
                    <a:pt x="693" y="950"/>
                  </a:lnTo>
                  <a:lnTo>
                    <a:pt x="694" y="962"/>
                  </a:lnTo>
                  <a:lnTo>
                    <a:pt x="696" y="974"/>
                  </a:lnTo>
                  <a:lnTo>
                    <a:pt x="698" y="986"/>
                  </a:lnTo>
                  <a:lnTo>
                    <a:pt x="701" y="999"/>
                  </a:lnTo>
                  <a:lnTo>
                    <a:pt x="709" y="1026"/>
                  </a:lnTo>
                  <a:lnTo>
                    <a:pt x="720" y="1054"/>
                  </a:lnTo>
                  <a:lnTo>
                    <a:pt x="729" y="1081"/>
                  </a:lnTo>
                  <a:lnTo>
                    <a:pt x="740" y="1106"/>
                  </a:lnTo>
                  <a:lnTo>
                    <a:pt x="748" y="1129"/>
                  </a:lnTo>
                  <a:lnTo>
                    <a:pt x="753" y="1147"/>
                  </a:lnTo>
                  <a:lnTo>
                    <a:pt x="756" y="1155"/>
                  </a:lnTo>
                  <a:lnTo>
                    <a:pt x="756" y="1162"/>
                  </a:lnTo>
                  <a:lnTo>
                    <a:pt x="756" y="1167"/>
                  </a:lnTo>
                  <a:lnTo>
                    <a:pt x="754" y="1170"/>
                  </a:lnTo>
                  <a:lnTo>
                    <a:pt x="750" y="1173"/>
                  </a:lnTo>
                  <a:lnTo>
                    <a:pt x="746" y="1173"/>
                  </a:lnTo>
                  <a:lnTo>
                    <a:pt x="740" y="1171"/>
                  </a:lnTo>
                  <a:lnTo>
                    <a:pt x="732" y="1167"/>
                  </a:lnTo>
                  <a:lnTo>
                    <a:pt x="722" y="1162"/>
                  </a:lnTo>
                  <a:lnTo>
                    <a:pt x="710" y="1154"/>
                  </a:lnTo>
                  <a:lnTo>
                    <a:pt x="696" y="1143"/>
                  </a:lnTo>
                  <a:lnTo>
                    <a:pt x="680" y="1130"/>
                  </a:lnTo>
                  <a:lnTo>
                    <a:pt x="649" y="1137"/>
                  </a:lnTo>
                  <a:lnTo>
                    <a:pt x="621" y="1142"/>
                  </a:lnTo>
                  <a:lnTo>
                    <a:pt x="594" y="1146"/>
                  </a:lnTo>
                  <a:lnTo>
                    <a:pt x="570" y="1149"/>
                  </a:lnTo>
                  <a:lnTo>
                    <a:pt x="526" y="1153"/>
                  </a:lnTo>
                  <a:lnTo>
                    <a:pt x="486" y="1153"/>
                  </a:lnTo>
                  <a:lnTo>
                    <a:pt x="451" y="1153"/>
                  </a:lnTo>
                  <a:lnTo>
                    <a:pt x="415" y="1151"/>
                  </a:lnTo>
                  <a:lnTo>
                    <a:pt x="380" y="1150"/>
                  </a:lnTo>
                  <a:lnTo>
                    <a:pt x="343" y="1149"/>
                  </a:lnTo>
                  <a:lnTo>
                    <a:pt x="317" y="1150"/>
                  </a:lnTo>
                  <a:lnTo>
                    <a:pt x="295" y="1151"/>
                  </a:lnTo>
                  <a:lnTo>
                    <a:pt x="273" y="1155"/>
                  </a:lnTo>
                  <a:lnTo>
                    <a:pt x="256" y="1161"/>
                  </a:lnTo>
                  <a:lnTo>
                    <a:pt x="241" y="1166"/>
                  </a:lnTo>
                  <a:lnTo>
                    <a:pt x="229" y="1175"/>
                  </a:lnTo>
                  <a:lnTo>
                    <a:pt x="224" y="1179"/>
                  </a:lnTo>
                  <a:lnTo>
                    <a:pt x="220" y="1185"/>
                  </a:lnTo>
                  <a:lnTo>
                    <a:pt x="216" y="1190"/>
                  </a:lnTo>
                  <a:lnTo>
                    <a:pt x="213" y="1195"/>
                  </a:lnTo>
                  <a:lnTo>
                    <a:pt x="211" y="1202"/>
                  </a:lnTo>
                  <a:lnTo>
                    <a:pt x="209" y="1207"/>
                  </a:lnTo>
                  <a:lnTo>
                    <a:pt x="208" y="1215"/>
                  </a:lnTo>
                  <a:lnTo>
                    <a:pt x="207" y="1222"/>
                  </a:lnTo>
                  <a:lnTo>
                    <a:pt x="208" y="1238"/>
                  </a:lnTo>
                  <a:lnTo>
                    <a:pt x="211" y="1255"/>
                  </a:lnTo>
                  <a:lnTo>
                    <a:pt x="216" y="1274"/>
                  </a:lnTo>
                  <a:lnTo>
                    <a:pt x="224" y="1295"/>
                  </a:lnTo>
                  <a:lnTo>
                    <a:pt x="233" y="1318"/>
                  </a:lnTo>
                  <a:lnTo>
                    <a:pt x="247" y="1342"/>
                  </a:lnTo>
                  <a:lnTo>
                    <a:pt x="249" y="1350"/>
                  </a:lnTo>
                  <a:lnTo>
                    <a:pt x="251" y="1359"/>
                  </a:lnTo>
                  <a:lnTo>
                    <a:pt x="249" y="1371"/>
                  </a:lnTo>
                  <a:lnTo>
                    <a:pt x="247" y="1382"/>
                  </a:lnTo>
                  <a:lnTo>
                    <a:pt x="240" y="1408"/>
                  </a:lnTo>
                  <a:lnTo>
                    <a:pt x="235" y="1435"/>
                  </a:lnTo>
                  <a:lnTo>
                    <a:pt x="233" y="1450"/>
                  </a:lnTo>
                  <a:lnTo>
                    <a:pt x="233" y="1463"/>
                  </a:lnTo>
                  <a:lnTo>
                    <a:pt x="235" y="1476"/>
                  </a:lnTo>
                  <a:lnTo>
                    <a:pt x="240" y="1490"/>
                  </a:lnTo>
                  <a:lnTo>
                    <a:pt x="243" y="1495"/>
                  </a:lnTo>
                  <a:lnTo>
                    <a:pt x="248" y="1502"/>
                  </a:lnTo>
                  <a:lnTo>
                    <a:pt x="253" y="1508"/>
                  </a:lnTo>
                  <a:lnTo>
                    <a:pt x="259" y="1514"/>
                  </a:lnTo>
                  <a:lnTo>
                    <a:pt x="267" y="1519"/>
                  </a:lnTo>
                  <a:lnTo>
                    <a:pt x="275" y="1524"/>
                  </a:lnTo>
                  <a:lnTo>
                    <a:pt x="284" y="1530"/>
                  </a:lnTo>
                  <a:lnTo>
                    <a:pt x="295" y="1534"/>
                  </a:lnTo>
                  <a:lnTo>
                    <a:pt x="299" y="1531"/>
                  </a:lnTo>
                  <a:lnTo>
                    <a:pt x="301" y="1530"/>
                  </a:lnTo>
                  <a:lnTo>
                    <a:pt x="305" y="1530"/>
                  </a:lnTo>
                  <a:lnTo>
                    <a:pt x="308" y="1531"/>
                  </a:lnTo>
                  <a:lnTo>
                    <a:pt x="313" y="1534"/>
                  </a:lnTo>
                  <a:lnTo>
                    <a:pt x="317" y="1540"/>
                  </a:lnTo>
                  <a:lnTo>
                    <a:pt x="325" y="1559"/>
                  </a:lnTo>
                  <a:lnTo>
                    <a:pt x="332" y="1582"/>
                  </a:lnTo>
                  <a:lnTo>
                    <a:pt x="335" y="1592"/>
                  </a:lnTo>
                  <a:lnTo>
                    <a:pt x="339" y="1603"/>
                  </a:lnTo>
                  <a:lnTo>
                    <a:pt x="341" y="1614"/>
                  </a:lnTo>
                  <a:lnTo>
                    <a:pt x="347" y="1622"/>
                  </a:lnTo>
                  <a:lnTo>
                    <a:pt x="349" y="1624"/>
                  </a:lnTo>
                  <a:lnTo>
                    <a:pt x="352" y="1627"/>
                  </a:lnTo>
                  <a:lnTo>
                    <a:pt x="355" y="1628"/>
                  </a:lnTo>
                  <a:lnTo>
                    <a:pt x="357" y="1630"/>
                  </a:lnTo>
                  <a:lnTo>
                    <a:pt x="361" y="1630"/>
                  </a:lnTo>
                  <a:lnTo>
                    <a:pt x="364" y="1628"/>
                  </a:lnTo>
                  <a:lnTo>
                    <a:pt x="368" y="1627"/>
                  </a:lnTo>
                  <a:lnTo>
                    <a:pt x="373" y="1624"/>
                  </a:lnTo>
                  <a:lnTo>
                    <a:pt x="392" y="1650"/>
                  </a:lnTo>
                  <a:lnTo>
                    <a:pt x="407" y="1672"/>
                  </a:lnTo>
                  <a:lnTo>
                    <a:pt x="412" y="1683"/>
                  </a:lnTo>
                  <a:lnTo>
                    <a:pt x="417" y="1694"/>
                  </a:lnTo>
                  <a:lnTo>
                    <a:pt x="420" y="1703"/>
                  </a:lnTo>
                  <a:lnTo>
                    <a:pt x="421" y="1714"/>
                  </a:lnTo>
                  <a:lnTo>
                    <a:pt x="421" y="1724"/>
                  </a:lnTo>
                  <a:lnTo>
                    <a:pt x="420" y="1735"/>
                  </a:lnTo>
                  <a:lnTo>
                    <a:pt x="416" y="1747"/>
                  </a:lnTo>
                  <a:lnTo>
                    <a:pt x="411" y="1759"/>
                  </a:lnTo>
                  <a:lnTo>
                    <a:pt x="404" y="1772"/>
                  </a:lnTo>
                  <a:lnTo>
                    <a:pt x="393" y="1786"/>
                  </a:lnTo>
                  <a:lnTo>
                    <a:pt x="381" y="1800"/>
                  </a:lnTo>
                  <a:lnTo>
                    <a:pt x="367" y="1816"/>
                  </a:lnTo>
                  <a:lnTo>
                    <a:pt x="377" y="1842"/>
                  </a:lnTo>
                  <a:lnTo>
                    <a:pt x="397" y="1897"/>
                  </a:lnTo>
                  <a:lnTo>
                    <a:pt x="408" y="1929"/>
                  </a:lnTo>
                  <a:lnTo>
                    <a:pt x="415" y="1961"/>
                  </a:lnTo>
                  <a:lnTo>
                    <a:pt x="417" y="1976"/>
                  </a:lnTo>
                  <a:lnTo>
                    <a:pt x="419" y="1989"/>
                  </a:lnTo>
                  <a:lnTo>
                    <a:pt x="417" y="2000"/>
                  </a:lnTo>
                  <a:lnTo>
                    <a:pt x="415" y="2009"/>
                  </a:lnTo>
                  <a:lnTo>
                    <a:pt x="401" y="2033"/>
                  </a:lnTo>
                  <a:lnTo>
                    <a:pt x="389" y="2053"/>
                  </a:lnTo>
                  <a:lnTo>
                    <a:pt x="379" y="2069"/>
                  </a:lnTo>
                  <a:lnTo>
                    <a:pt x="369" y="2081"/>
                  </a:lnTo>
                  <a:lnTo>
                    <a:pt x="361" y="2091"/>
                  </a:lnTo>
                  <a:lnTo>
                    <a:pt x="355" y="2097"/>
                  </a:lnTo>
                  <a:lnTo>
                    <a:pt x="349" y="2101"/>
                  </a:lnTo>
                  <a:lnTo>
                    <a:pt x="344" y="2103"/>
                  </a:lnTo>
                  <a:lnTo>
                    <a:pt x="340" y="2101"/>
                  </a:lnTo>
                  <a:lnTo>
                    <a:pt x="336" y="2099"/>
                  </a:lnTo>
                  <a:lnTo>
                    <a:pt x="333" y="2095"/>
                  </a:lnTo>
                  <a:lnTo>
                    <a:pt x="331" y="2089"/>
                  </a:lnTo>
                  <a:lnTo>
                    <a:pt x="325" y="2077"/>
                  </a:lnTo>
                  <a:lnTo>
                    <a:pt x="319" y="2064"/>
                  </a:lnTo>
                  <a:lnTo>
                    <a:pt x="335" y="2025"/>
                  </a:lnTo>
                  <a:lnTo>
                    <a:pt x="347" y="1992"/>
                  </a:lnTo>
                  <a:lnTo>
                    <a:pt x="355" y="1961"/>
                  </a:lnTo>
                  <a:lnTo>
                    <a:pt x="360" y="1936"/>
                  </a:lnTo>
                  <a:lnTo>
                    <a:pt x="363" y="1915"/>
                  </a:lnTo>
                  <a:lnTo>
                    <a:pt x="361" y="1897"/>
                  </a:lnTo>
                  <a:lnTo>
                    <a:pt x="360" y="1891"/>
                  </a:lnTo>
                  <a:lnTo>
                    <a:pt x="359" y="1885"/>
                  </a:lnTo>
                  <a:lnTo>
                    <a:pt x="356" y="1881"/>
                  </a:lnTo>
                  <a:lnTo>
                    <a:pt x="353" y="1877"/>
                  </a:lnTo>
                  <a:lnTo>
                    <a:pt x="349" y="1876"/>
                  </a:lnTo>
                  <a:lnTo>
                    <a:pt x="347" y="1876"/>
                  </a:lnTo>
                  <a:lnTo>
                    <a:pt x="343" y="1876"/>
                  </a:lnTo>
                  <a:lnTo>
                    <a:pt x="337" y="1879"/>
                  </a:lnTo>
                  <a:lnTo>
                    <a:pt x="333" y="1883"/>
                  </a:lnTo>
                  <a:lnTo>
                    <a:pt x="328" y="1888"/>
                  </a:lnTo>
                  <a:lnTo>
                    <a:pt x="323" y="1893"/>
                  </a:lnTo>
                  <a:lnTo>
                    <a:pt x="317" y="1901"/>
                  </a:lnTo>
                  <a:lnTo>
                    <a:pt x="305" y="1923"/>
                  </a:lnTo>
                  <a:lnTo>
                    <a:pt x="293" y="1949"/>
                  </a:lnTo>
                  <a:lnTo>
                    <a:pt x="283" y="1981"/>
                  </a:lnTo>
                  <a:lnTo>
                    <a:pt x="271" y="2021"/>
                  </a:lnTo>
                  <a:lnTo>
                    <a:pt x="272" y="2003"/>
                  </a:lnTo>
                  <a:lnTo>
                    <a:pt x="276" y="1973"/>
                  </a:lnTo>
                  <a:lnTo>
                    <a:pt x="283" y="1939"/>
                  </a:lnTo>
                  <a:lnTo>
                    <a:pt x="292" y="1901"/>
                  </a:lnTo>
                  <a:lnTo>
                    <a:pt x="301" y="1863"/>
                  </a:lnTo>
                  <a:lnTo>
                    <a:pt x="311" y="1828"/>
                  </a:lnTo>
                  <a:lnTo>
                    <a:pt x="316" y="1814"/>
                  </a:lnTo>
                  <a:lnTo>
                    <a:pt x="321" y="1800"/>
                  </a:lnTo>
                  <a:lnTo>
                    <a:pt x="327" y="1790"/>
                  </a:lnTo>
                  <a:lnTo>
                    <a:pt x="331" y="1780"/>
                  </a:lnTo>
                  <a:lnTo>
                    <a:pt x="351" y="1744"/>
                  </a:lnTo>
                  <a:lnTo>
                    <a:pt x="365" y="1716"/>
                  </a:lnTo>
                  <a:lnTo>
                    <a:pt x="369" y="1704"/>
                  </a:lnTo>
                  <a:lnTo>
                    <a:pt x="373" y="1695"/>
                  </a:lnTo>
                  <a:lnTo>
                    <a:pt x="375" y="1687"/>
                  </a:lnTo>
                  <a:lnTo>
                    <a:pt x="376" y="1679"/>
                  </a:lnTo>
                  <a:lnTo>
                    <a:pt x="376" y="1674"/>
                  </a:lnTo>
                  <a:lnTo>
                    <a:pt x="375" y="1670"/>
                  </a:lnTo>
                  <a:lnTo>
                    <a:pt x="372" y="1666"/>
                  </a:lnTo>
                  <a:lnTo>
                    <a:pt x="369" y="1663"/>
                  </a:lnTo>
                  <a:lnTo>
                    <a:pt x="365" y="1662"/>
                  </a:lnTo>
                  <a:lnTo>
                    <a:pt x="360" y="1662"/>
                  </a:lnTo>
                  <a:lnTo>
                    <a:pt x="356" y="1660"/>
                  </a:lnTo>
                  <a:lnTo>
                    <a:pt x="349" y="1662"/>
                  </a:lnTo>
                  <a:lnTo>
                    <a:pt x="323" y="1664"/>
                  </a:lnTo>
                  <a:lnTo>
                    <a:pt x="292" y="1667"/>
                  </a:lnTo>
                  <a:lnTo>
                    <a:pt x="285" y="1666"/>
                  </a:lnTo>
                  <a:lnTo>
                    <a:pt x="279" y="1664"/>
                  </a:lnTo>
                  <a:lnTo>
                    <a:pt x="272" y="1663"/>
                  </a:lnTo>
                  <a:lnTo>
                    <a:pt x="265" y="1659"/>
                  </a:lnTo>
                  <a:lnTo>
                    <a:pt x="260" y="1655"/>
                  </a:lnTo>
                  <a:lnTo>
                    <a:pt x="255" y="1651"/>
                  </a:lnTo>
                  <a:lnTo>
                    <a:pt x="251" y="1644"/>
                  </a:lnTo>
                  <a:lnTo>
                    <a:pt x="247" y="1636"/>
                  </a:lnTo>
                  <a:lnTo>
                    <a:pt x="239" y="1619"/>
                  </a:lnTo>
                  <a:lnTo>
                    <a:pt x="231" y="1604"/>
                  </a:lnTo>
                  <a:lnTo>
                    <a:pt x="223" y="1591"/>
                  </a:lnTo>
                  <a:lnTo>
                    <a:pt x="215" y="1579"/>
                  </a:lnTo>
                  <a:lnTo>
                    <a:pt x="199" y="1559"/>
                  </a:lnTo>
                  <a:lnTo>
                    <a:pt x="181" y="1542"/>
                  </a:lnTo>
                  <a:lnTo>
                    <a:pt x="163" y="1524"/>
                  </a:lnTo>
                  <a:lnTo>
                    <a:pt x="141" y="1506"/>
                  </a:lnTo>
                  <a:lnTo>
                    <a:pt x="117" y="1483"/>
                  </a:lnTo>
                  <a:lnTo>
                    <a:pt x="89" y="1455"/>
                  </a:lnTo>
                  <a:lnTo>
                    <a:pt x="89" y="1458"/>
                  </a:lnTo>
                  <a:lnTo>
                    <a:pt x="88" y="1460"/>
                  </a:lnTo>
                  <a:lnTo>
                    <a:pt x="85" y="1462"/>
                  </a:lnTo>
                  <a:lnTo>
                    <a:pt x="81" y="1464"/>
                  </a:lnTo>
                  <a:lnTo>
                    <a:pt x="72" y="1467"/>
                  </a:lnTo>
                  <a:lnTo>
                    <a:pt x="60" y="1467"/>
                  </a:lnTo>
                  <a:lnTo>
                    <a:pt x="56" y="1474"/>
                  </a:lnTo>
                  <a:lnTo>
                    <a:pt x="53" y="1479"/>
                  </a:lnTo>
                  <a:lnTo>
                    <a:pt x="52" y="1484"/>
                  </a:lnTo>
                  <a:lnTo>
                    <a:pt x="52" y="1488"/>
                  </a:lnTo>
                  <a:lnTo>
                    <a:pt x="53" y="1498"/>
                  </a:lnTo>
                  <a:lnTo>
                    <a:pt x="53" y="1510"/>
                  </a:lnTo>
                  <a:lnTo>
                    <a:pt x="55" y="1522"/>
                  </a:lnTo>
                  <a:lnTo>
                    <a:pt x="59" y="1531"/>
                  </a:lnTo>
                  <a:lnTo>
                    <a:pt x="64" y="1538"/>
                  </a:lnTo>
                  <a:lnTo>
                    <a:pt x="71" y="1544"/>
                  </a:lnTo>
                  <a:lnTo>
                    <a:pt x="79" y="1550"/>
                  </a:lnTo>
                  <a:lnTo>
                    <a:pt x="88" y="1554"/>
                  </a:lnTo>
                  <a:lnTo>
                    <a:pt x="99" y="1558"/>
                  </a:lnTo>
                  <a:lnTo>
                    <a:pt x="108" y="1562"/>
                  </a:lnTo>
                  <a:lnTo>
                    <a:pt x="119" y="1566"/>
                  </a:lnTo>
                  <a:lnTo>
                    <a:pt x="129" y="1570"/>
                  </a:lnTo>
                  <a:lnTo>
                    <a:pt x="139" y="1575"/>
                  </a:lnTo>
                  <a:lnTo>
                    <a:pt x="148" y="1580"/>
                  </a:lnTo>
                  <a:lnTo>
                    <a:pt x="155" y="1587"/>
                  </a:lnTo>
                  <a:lnTo>
                    <a:pt x="161" y="1595"/>
                  </a:lnTo>
                  <a:lnTo>
                    <a:pt x="165" y="1606"/>
                  </a:lnTo>
                  <a:lnTo>
                    <a:pt x="168" y="1618"/>
                  </a:lnTo>
                  <a:lnTo>
                    <a:pt x="169" y="1636"/>
                  </a:lnTo>
                  <a:lnTo>
                    <a:pt x="168" y="1652"/>
                  </a:lnTo>
                  <a:lnTo>
                    <a:pt x="165" y="1664"/>
                  </a:lnTo>
                  <a:lnTo>
                    <a:pt x="160" y="1674"/>
                  </a:lnTo>
                  <a:lnTo>
                    <a:pt x="153" y="1682"/>
                  </a:lnTo>
                  <a:lnTo>
                    <a:pt x="147" y="1688"/>
                  </a:lnTo>
                  <a:lnTo>
                    <a:pt x="139" y="1692"/>
                  </a:lnTo>
                  <a:lnTo>
                    <a:pt x="131" y="1696"/>
                  </a:lnTo>
                  <a:lnTo>
                    <a:pt x="113" y="1703"/>
                  </a:lnTo>
                  <a:lnTo>
                    <a:pt x="99" y="1710"/>
                  </a:lnTo>
                  <a:lnTo>
                    <a:pt x="92" y="1715"/>
                  </a:lnTo>
                  <a:lnTo>
                    <a:pt x="88" y="1720"/>
                  </a:lnTo>
                  <a:lnTo>
                    <a:pt x="85" y="1728"/>
                  </a:lnTo>
                  <a:lnTo>
                    <a:pt x="84" y="1739"/>
                  </a:lnTo>
                  <a:lnTo>
                    <a:pt x="85" y="1748"/>
                  </a:lnTo>
                  <a:lnTo>
                    <a:pt x="88" y="1758"/>
                  </a:lnTo>
                  <a:lnTo>
                    <a:pt x="92" y="1767"/>
                  </a:lnTo>
                  <a:lnTo>
                    <a:pt x="97" y="1776"/>
                  </a:lnTo>
                  <a:lnTo>
                    <a:pt x="111" y="1794"/>
                  </a:lnTo>
                  <a:lnTo>
                    <a:pt x="125" y="1814"/>
                  </a:lnTo>
                  <a:lnTo>
                    <a:pt x="133" y="1823"/>
                  </a:lnTo>
                  <a:lnTo>
                    <a:pt x="141" y="1834"/>
                  </a:lnTo>
                  <a:lnTo>
                    <a:pt x="148" y="1846"/>
                  </a:lnTo>
                  <a:lnTo>
                    <a:pt x="155" y="1858"/>
                  </a:lnTo>
                  <a:lnTo>
                    <a:pt x="160" y="1871"/>
                  </a:lnTo>
                  <a:lnTo>
                    <a:pt x="164" y="1885"/>
                  </a:lnTo>
                  <a:lnTo>
                    <a:pt x="167" y="1901"/>
                  </a:lnTo>
                  <a:lnTo>
                    <a:pt x="168" y="1919"/>
                  </a:lnTo>
                  <a:lnTo>
                    <a:pt x="168" y="1933"/>
                  </a:lnTo>
                  <a:lnTo>
                    <a:pt x="167" y="1945"/>
                  </a:lnTo>
                  <a:lnTo>
                    <a:pt x="164" y="1957"/>
                  </a:lnTo>
                  <a:lnTo>
                    <a:pt x="161" y="1968"/>
                  </a:lnTo>
                  <a:lnTo>
                    <a:pt x="157" y="1977"/>
                  </a:lnTo>
                  <a:lnTo>
                    <a:pt x="152" y="1987"/>
                  </a:lnTo>
                  <a:lnTo>
                    <a:pt x="148" y="1995"/>
                  </a:lnTo>
                  <a:lnTo>
                    <a:pt x="141" y="2001"/>
                  </a:lnTo>
                  <a:lnTo>
                    <a:pt x="129" y="2015"/>
                  </a:lnTo>
                  <a:lnTo>
                    <a:pt x="115" y="2024"/>
                  </a:lnTo>
                  <a:lnTo>
                    <a:pt x="100" y="2033"/>
                  </a:lnTo>
                  <a:lnTo>
                    <a:pt x="84" y="2041"/>
                  </a:lnTo>
                  <a:lnTo>
                    <a:pt x="68" y="2051"/>
                  </a:lnTo>
                  <a:lnTo>
                    <a:pt x="53" y="2059"/>
                  </a:lnTo>
                  <a:lnTo>
                    <a:pt x="39" y="2069"/>
                  </a:lnTo>
                  <a:lnTo>
                    <a:pt x="25" y="2081"/>
                  </a:lnTo>
                  <a:lnTo>
                    <a:pt x="20" y="2088"/>
                  </a:lnTo>
                  <a:lnTo>
                    <a:pt x="15" y="2095"/>
                  </a:lnTo>
                  <a:lnTo>
                    <a:pt x="11" y="2104"/>
                  </a:lnTo>
                  <a:lnTo>
                    <a:pt x="7" y="2113"/>
                  </a:lnTo>
                  <a:lnTo>
                    <a:pt x="4" y="2123"/>
                  </a:lnTo>
                  <a:lnTo>
                    <a:pt x="1" y="2135"/>
                  </a:lnTo>
                  <a:lnTo>
                    <a:pt x="0" y="2147"/>
                  </a:lnTo>
                  <a:lnTo>
                    <a:pt x="0" y="2160"/>
                  </a:lnTo>
                  <a:lnTo>
                    <a:pt x="0" y="2172"/>
                  </a:lnTo>
                  <a:lnTo>
                    <a:pt x="4" y="2184"/>
                  </a:lnTo>
                  <a:lnTo>
                    <a:pt x="9" y="2197"/>
                  </a:lnTo>
                  <a:lnTo>
                    <a:pt x="17" y="2211"/>
                  </a:lnTo>
                  <a:lnTo>
                    <a:pt x="27" y="2224"/>
                  </a:lnTo>
                  <a:lnTo>
                    <a:pt x="37" y="2237"/>
                  </a:lnTo>
                  <a:lnTo>
                    <a:pt x="48" y="2251"/>
                  </a:lnTo>
                  <a:lnTo>
                    <a:pt x="61" y="2264"/>
                  </a:lnTo>
                  <a:lnTo>
                    <a:pt x="75" y="2276"/>
                  </a:lnTo>
                  <a:lnTo>
                    <a:pt x="88" y="2287"/>
                  </a:lnTo>
                  <a:lnTo>
                    <a:pt x="103" y="2297"/>
                  </a:lnTo>
                  <a:lnTo>
                    <a:pt x="116" y="2305"/>
                  </a:lnTo>
                  <a:lnTo>
                    <a:pt x="131" y="2313"/>
                  </a:lnTo>
                  <a:lnTo>
                    <a:pt x="144" y="2319"/>
                  </a:lnTo>
                  <a:lnTo>
                    <a:pt x="156" y="2321"/>
                  </a:lnTo>
                  <a:lnTo>
                    <a:pt x="168" y="2323"/>
                  </a:lnTo>
                  <a:lnTo>
                    <a:pt x="180" y="2323"/>
                  </a:lnTo>
                  <a:lnTo>
                    <a:pt x="188" y="2321"/>
                  </a:lnTo>
                  <a:lnTo>
                    <a:pt x="195" y="2319"/>
                  </a:lnTo>
                  <a:lnTo>
                    <a:pt x="199" y="2317"/>
                  </a:lnTo>
                  <a:lnTo>
                    <a:pt x="203" y="2316"/>
                  </a:lnTo>
                  <a:lnTo>
                    <a:pt x="207" y="2315"/>
                  </a:lnTo>
                  <a:lnTo>
                    <a:pt x="211" y="2315"/>
                  </a:lnTo>
                  <a:lnTo>
                    <a:pt x="216" y="2316"/>
                  </a:lnTo>
                  <a:lnTo>
                    <a:pt x="227" y="2329"/>
                  </a:lnTo>
                  <a:lnTo>
                    <a:pt x="239" y="2340"/>
                  </a:lnTo>
                  <a:lnTo>
                    <a:pt x="252" y="2352"/>
                  </a:lnTo>
                  <a:lnTo>
                    <a:pt x="264" y="2364"/>
                  </a:lnTo>
                  <a:lnTo>
                    <a:pt x="271" y="2369"/>
                  </a:lnTo>
                  <a:lnTo>
                    <a:pt x="276" y="2377"/>
                  </a:lnTo>
                  <a:lnTo>
                    <a:pt x="281" y="2384"/>
                  </a:lnTo>
                  <a:lnTo>
                    <a:pt x="285" y="2393"/>
                  </a:lnTo>
                  <a:lnTo>
                    <a:pt x="289" y="2403"/>
                  </a:lnTo>
                  <a:lnTo>
                    <a:pt x="292" y="2413"/>
                  </a:lnTo>
                  <a:lnTo>
                    <a:pt x="293" y="2424"/>
                  </a:lnTo>
                  <a:lnTo>
                    <a:pt x="295" y="2437"/>
                  </a:lnTo>
                  <a:lnTo>
                    <a:pt x="295" y="2449"/>
                  </a:lnTo>
                  <a:lnTo>
                    <a:pt x="295" y="2461"/>
                  </a:lnTo>
                  <a:lnTo>
                    <a:pt x="293" y="2470"/>
                  </a:lnTo>
                  <a:lnTo>
                    <a:pt x="291" y="2480"/>
                  </a:lnTo>
                  <a:lnTo>
                    <a:pt x="287" y="2488"/>
                  </a:lnTo>
                  <a:lnTo>
                    <a:pt x="281" y="2496"/>
                  </a:lnTo>
                  <a:lnTo>
                    <a:pt x="275" y="2502"/>
                  </a:lnTo>
                  <a:lnTo>
                    <a:pt x="264" y="2509"/>
                  </a:lnTo>
                  <a:lnTo>
                    <a:pt x="271" y="2540"/>
                  </a:lnTo>
                  <a:lnTo>
                    <a:pt x="276" y="255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6861497" y="3413125"/>
              <a:ext cx="1179513" cy="1990725"/>
            </a:xfrm>
            <a:custGeom>
              <a:avLst/>
              <a:gdLst/>
              <a:ahLst/>
              <a:cxnLst>
                <a:cxn ang="0">
                  <a:pos x="1091" y="3591"/>
                </a:cxn>
                <a:cxn ang="0">
                  <a:pos x="969" y="3538"/>
                </a:cxn>
                <a:cxn ang="0">
                  <a:pos x="879" y="3385"/>
                </a:cxn>
                <a:cxn ang="0">
                  <a:pos x="885" y="3222"/>
                </a:cxn>
                <a:cxn ang="0">
                  <a:pos x="998" y="3006"/>
                </a:cxn>
                <a:cxn ang="0">
                  <a:pos x="947" y="2908"/>
                </a:cxn>
                <a:cxn ang="0">
                  <a:pos x="1135" y="2812"/>
                </a:cxn>
                <a:cxn ang="0">
                  <a:pos x="1015" y="2582"/>
                </a:cxn>
                <a:cxn ang="0">
                  <a:pos x="877" y="2680"/>
                </a:cxn>
                <a:cxn ang="0">
                  <a:pos x="769" y="2834"/>
                </a:cxn>
                <a:cxn ang="0">
                  <a:pos x="657" y="2884"/>
                </a:cxn>
                <a:cxn ang="0">
                  <a:pos x="482" y="2853"/>
                </a:cxn>
                <a:cxn ang="0">
                  <a:pos x="469" y="2730"/>
                </a:cxn>
                <a:cxn ang="0">
                  <a:pos x="469" y="2617"/>
                </a:cxn>
                <a:cxn ang="0">
                  <a:pos x="502" y="2349"/>
                </a:cxn>
                <a:cxn ang="0">
                  <a:pos x="258" y="2444"/>
                </a:cxn>
                <a:cxn ang="0">
                  <a:pos x="206" y="2152"/>
                </a:cxn>
                <a:cxn ang="0">
                  <a:pos x="126" y="2040"/>
                </a:cxn>
                <a:cxn ang="0">
                  <a:pos x="54" y="1780"/>
                </a:cxn>
                <a:cxn ang="0">
                  <a:pos x="84" y="1511"/>
                </a:cxn>
                <a:cxn ang="0">
                  <a:pos x="229" y="1342"/>
                </a:cxn>
                <a:cxn ang="0">
                  <a:pos x="366" y="1270"/>
                </a:cxn>
                <a:cxn ang="0">
                  <a:pos x="426" y="1098"/>
                </a:cxn>
                <a:cxn ang="0">
                  <a:pos x="318" y="915"/>
                </a:cxn>
                <a:cxn ang="0">
                  <a:pos x="241" y="739"/>
                </a:cxn>
                <a:cxn ang="0">
                  <a:pos x="212" y="382"/>
                </a:cxn>
                <a:cxn ang="0">
                  <a:pos x="378" y="318"/>
                </a:cxn>
                <a:cxn ang="0">
                  <a:pos x="537" y="222"/>
                </a:cxn>
                <a:cxn ang="0">
                  <a:pos x="674" y="180"/>
                </a:cxn>
                <a:cxn ang="0">
                  <a:pos x="786" y="0"/>
                </a:cxn>
                <a:cxn ang="0">
                  <a:pos x="993" y="186"/>
                </a:cxn>
                <a:cxn ang="0">
                  <a:pos x="997" y="317"/>
                </a:cxn>
                <a:cxn ang="0">
                  <a:pos x="1121" y="284"/>
                </a:cxn>
                <a:cxn ang="0">
                  <a:pos x="1257" y="342"/>
                </a:cxn>
                <a:cxn ang="0">
                  <a:pos x="1253" y="474"/>
                </a:cxn>
                <a:cxn ang="0">
                  <a:pos x="1067" y="613"/>
                </a:cxn>
                <a:cxn ang="0">
                  <a:pos x="919" y="785"/>
                </a:cxn>
                <a:cxn ang="0">
                  <a:pos x="930" y="1364"/>
                </a:cxn>
                <a:cxn ang="0">
                  <a:pos x="923" y="1895"/>
                </a:cxn>
                <a:cxn ang="0">
                  <a:pos x="902" y="2283"/>
                </a:cxn>
                <a:cxn ang="0">
                  <a:pos x="1122" y="2200"/>
                </a:cxn>
                <a:cxn ang="0">
                  <a:pos x="1193" y="2263"/>
                </a:cxn>
                <a:cxn ang="0">
                  <a:pos x="1263" y="2299"/>
                </a:cxn>
                <a:cxn ang="0">
                  <a:pos x="1386" y="2228"/>
                </a:cxn>
                <a:cxn ang="0">
                  <a:pos x="1451" y="1964"/>
                </a:cxn>
                <a:cxn ang="0">
                  <a:pos x="1683" y="2001"/>
                </a:cxn>
                <a:cxn ang="0">
                  <a:pos x="1764" y="2087"/>
                </a:cxn>
                <a:cxn ang="0">
                  <a:pos x="1908" y="2176"/>
                </a:cxn>
                <a:cxn ang="0">
                  <a:pos x="2239" y="2744"/>
                </a:cxn>
                <a:cxn ang="0">
                  <a:pos x="2419" y="3202"/>
                </a:cxn>
                <a:cxn ang="0">
                  <a:pos x="2353" y="3359"/>
                </a:cxn>
                <a:cxn ang="0">
                  <a:pos x="2168" y="3413"/>
                </a:cxn>
                <a:cxn ang="0">
                  <a:pos x="2279" y="3557"/>
                </a:cxn>
                <a:cxn ang="0">
                  <a:pos x="2253" y="3674"/>
                </a:cxn>
                <a:cxn ang="0">
                  <a:pos x="2164" y="3794"/>
                </a:cxn>
                <a:cxn ang="0">
                  <a:pos x="1927" y="3900"/>
                </a:cxn>
                <a:cxn ang="0">
                  <a:pos x="1928" y="4023"/>
                </a:cxn>
                <a:cxn ang="0">
                  <a:pos x="1860" y="3726"/>
                </a:cxn>
                <a:cxn ang="0">
                  <a:pos x="1703" y="3623"/>
                </a:cxn>
                <a:cxn ang="0">
                  <a:pos x="1400" y="4075"/>
                </a:cxn>
                <a:cxn ang="0">
                  <a:pos x="1222" y="3990"/>
                </a:cxn>
                <a:cxn ang="0">
                  <a:pos x="1167" y="3823"/>
                </a:cxn>
                <a:cxn ang="0">
                  <a:pos x="1203" y="3726"/>
                </a:cxn>
              </a:cxnLst>
              <a:rect l="0" t="0" r="r" b="b"/>
              <a:pathLst>
                <a:path w="2429" h="4104">
                  <a:moveTo>
                    <a:pt x="1203" y="3720"/>
                  </a:moveTo>
                  <a:lnTo>
                    <a:pt x="1210" y="3720"/>
                  </a:lnTo>
                  <a:lnTo>
                    <a:pt x="1201" y="3720"/>
                  </a:lnTo>
                  <a:lnTo>
                    <a:pt x="1193" y="3718"/>
                  </a:lnTo>
                  <a:lnTo>
                    <a:pt x="1186" y="3716"/>
                  </a:lnTo>
                  <a:lnTo>
                    <a:pt x="1178" y="3712"/>
                  </a:lnTo>
                  <a:lnTo>
                    <a:pt x="1171" y="3710"/>
                  </a:lnTo>
                  <a:lnTo>
                    <a:pt x="1165" y="3704"/>
                  </a:lnTo>
                  <a:lnTo>
                    <a:pt x="1159" y="3699"/>
                  </a:lnTo>
                  <a:lnTo>
                    <a:pt x="1154" y="3694"/>
                  </a:lnTo>
                  <a:lnTo>
                    <a:pt x="1143" y="3682"/>
                  </a:lnTo>
                  <a:lnTo>
                    <a:pt x="1134" y="3667"/>
                  </a:lnTo>
                  <a:lnTo>
                    <a:pt x="1126" y="3651"/>
                  </a:lnTo>
                  <a:lnTo>
                    <a:pt x="1117" y="3637"/>
                  </a:lnTo>
                  <a:lnTo>
                    <a:pt x="1109" y="3621"/>
                  </a:lnTo>
                  <a:lnTo>
                    <a:pt x="1101" y="3605"/>
                  </a:lnTo>
                  <a:lnTo>
                    <a:pt x="1091" y="3591"/>
                  </a:lnTo>
                  <a:lnTo>
                    <a:pt x="1082" y="3578"/>
                  </a:lnTo>
                  <a:lnTo>
                    <a:pt x="1077" y="3573"/>
                  </a:lnTo>
                  <a:lnTo>
                    <a:pt x="1071" y="3567"/>
                  </a:lnTo>
                  <a:lnTo>
                    <a:pt x="1065" y="3563"/>
                  </a:lnTo>
                  <a:lnTo>
                    <a:pt x="1059" y="3559"/>
                  </a:lnTo>
                  <a:lnTo>
                    <a:pt x="1053" y="3557"/>
                  </a:lnTo>
                  <a:lnTo>
                    <a:pt x="1045" y="3554"/>
                  </a:lnTo>
                  <a:lnTo>
                    <a:pt x="1038" y="3553"/>
                  </a:lnTo>
                  <a:lnTo>
                    <a:pt x="1029" y="3551"/>
                  </a:lnTo>
                  <a:lnTo>
                    <a:pt x="1019" y="3551"/>
                  </a:lnTo>
                  <a:lnTo>
                    <a:pt x="1014" y="3551"/>
                  </a:lnTo>
                  <a:lnTo>
                    <a:pt x="1006" y="3551"/>
                  </a:lnTo>
                  <a:lnTo>
                    <a:pt x="993" y="3551"/>
                  </a:lnTo>
                  <a:lnTo>
                    <a:pt x="985" y="3551"/>
                  </a:lnTo>
                  <a:lnTo>
                    <a:pt x="978" y="3547"/>
                  </a:lnTo>
                  <a:lnTo>
                    <a:pt x="973" y="3543"/>
                  </a:lnTo>
                  <a:lnTo>
                    <a:pt x="969" y="3538"/>
                  </a:lnTo>
                  <a:lnTo>
                    <a:pt x="962" y="3523"/>
                  </a:lnTo>
                  <a:lnTo>
                    <a:pt x="957" y="3510"/>
                  </a:lnTo>
                  <a:lnTo>
                    <a:pt x="945" y="3513"/>
                  </a:lnTo>
                  <a:lnTo>
                    <a:pt x="934" y="3513"/>
                  </a:lnTo>
                  <a:lnTo>
                    <a:pt x="925" y="3513"/>
                  </a:lnTo>
                  <a:lnTo>
                    <a:pt x="917" y="3510"/>
                  </a:lnTo>
                  <a:lnTo>
                    <a:pt x="910" y="3506"/>
                  </a:lnTo>
                  <a:lnTo>
                    <a:pt x="903" y="3501"/>
                  </a:lnTo>
                  <a:lnTo>
                    <a:pt x="898" y="3494"/>
                  </a:lnTo>
                  <a:lnTo>
                    <a:pt x="893" y="3487"/>
                  </a:lnTo>
                  <a:lnTo>
                    <a:pt x="889" y="3479"/>
                  </a:lnTo>
                  <a:lnTo>
                    <a:pt x="886" y="3470"/>
                  </a:lnTo>
                  <a:lnTo>
                    <a:pt x="883" y="3459"/>
                  </a:lnTo>
                  <a:lnTo>
                    <a:pt x="882" y="3449"/>
                  </a:lnTo>
                  <a:lnTo>
                    <a:pt x="879" y="3426"/>
                  </a:lnTo>
                  <a:lnTo>
                    <a:pt x="878" y="3401"/>
                  </a:lnTo>
                  <a:lnTo>
                    <a:pt x="879" y="3385"/>
                  </a:lnTo>
                  <a:lnTo>
                    <a:pt x="882" y="3369"/>
                  </a:lnTo>
                  <a:lnTo>
                    <a:pt x="887" y="3355"/>
                  </a:lnTo>
                  <a:lnTo>
                    <a:pt x="893" y="3343"/>
                  </a:lnTo>
                  <a:lnTo>
                    <a:pt x="905" y="3321"/>
                  </a:lnTo>
                  <a:lnTo>
                    <a:pt x="915" y="3299"/>
                  </a:lnTo>
                  <a:lnTo>
                    <a:pt x="907" y="3297"/>
                  </a:lnTo>
                  <a:lnTo>
                    <a:pt x="901" y="3293"/>
                  </a:lnTo>
                  <a:lnTo>
                    <a:pt x="894" y="3289"/>
                  </a:lnTo>
                  <a:lnTo>
                    <a:pt x="887" y="3283"/>
                  </a:lnTo>
                  <a:lnTo>
                    <a:pt x="881" y="3278"/>
                  </a:lnTo>
                  <a:lnTo>
                    <a:pt x="877" y="3270"/>
                  </a:lnTo>
                  <a:lnTo>
                    <a:pt x="874" y="3261"/>
                  </a:lnTo>
                  <a:lnTo>
                    <a:pt x="873" y="3250"/>
                  </a:lnTo>
                  <a:lnTo>
                    <a:pt x="874" y="3243"/>
                  </a:lnTo>
                  <a:lnTo>
                    <a:pt x="875" y="3237"/>
                  </a:lnTo>
                  <a:lnTo>
                    <a:pt x="879" y="3230"/>
                  </a:lnTo>
                  <a:lnTo>
                    <a:pt x="885" y="3222"/>
                  </a:lnTo>
                  <a:lnTo>
                    <a:pt x="898" y="3207"/>
                  </a:lnTo>
                  <a:lnTo>
                    <a:pt x="913" y="3190"/>
                  </a:lnTo>
                  <a:lnTo>
                    <a:pt x="927" y="3173"/>
                  </a:lnTo>
                  <a:lnTo>
                    <a:pt x="941" y="3154"/>
                  </a:lnTo>
                  <a:lnTo>
                    <a:pt x="947" y="3145"/>
                  </a:lnTo>
                  <a:lnTo>
                    <a:pt x="951" y="3134"/>
                  </a:lnTo>
                  <a:lnTo>
                    <a:pt x="955" y="3123"/>
                  </a:lnTo>
                  <a:lnTo>
                    <a:pt x="957" y="3113"/>
                  </a:lnTo>
                  <a:lnTo>
                    <a:pt x="957" y="3098"/>
                  </a:lnTo>
                  <a:lnTo>
                    <a:pt x="957" y="3075"/>
                  </a:lnTo>
                  <a:lnTo>
                    <a:pt x="958" y="3066"/>
                  </a:lnTo>
                  <a:lnTo>
                    <a:pt x="959" y="3058"/>
                  </a:lnTo>
                  <a:lnTo>
                    <a:pt x="962" y="3050"/>
                  </a:lnTo>
                  <a:lnTo>
                    <a:pt x="966" y="3042"/>
                  </a:lnTo>
                  <a:lnTo>
                    <a:pt x="975" y="3029"/>
                  </a:lnTo>
                  <a:lnTo>
                    <a:pt x="987" y="3017"/>
                  </a:lnTo>
                  <a:lnTo>
                    <a:pt x="998" y="3006"/>
                  </a:lnTo>
                  <a:lnTo>
                    <a:pt x="1007" y="2994"/>
                  </a:lnTo>
                  <a:lnTo>
                    <a:pt x="1011" y="2989"/>
                  </a:lnTo>
                  <a:lnTo>
                    <a:pt x="1014" y="2982"/>
                  </a:lnTo>
                  <a:lnTo>
                    <a:pt x="1017" y="2976"/>
                  </a:lnTo>
                  <a:lnTo>
                    <a:pt x="1017" y="2968"/>
                  </a:lnTo>
                  <a:lnTo>
                    <a:pt x="1017" y="2960"/>
                  </a:lnTo>
                  <a:lnTo>
                    <a:pt x="1014" y="2953"/>
                  </a:lnTo>
                  <a:lnTo>
                    <a:pt x="1010" y="2948"/>
                  </a:lnTo>
                  <a:lnTo>
                    <a:pt x="1006" y="2944"/>
                  </a:lnTo>
                  <a:lnTo>
                    <a:pt x="994" y="2938"/>
                  </a:lnTo>
                  <a:lnTo>
                    <a:pt x="981" y="2933"/>
                  </a:lnTo>
                  <a:lnTo>
                    <a:pt x="974" y="2930"/>
                  </a:lnTo>
                  <a:lnTo>
                    <a:pt x="967" y="2928"/>
                  </a:lnTo>
                  <a:lnTo>
                    <a:pt x="962" y="2925"/>
                  </a:lnTo>
                  <a:lnTo>
                    <a:pt x="957" y="2921"/>
                  </a:lnTo>
                  <a:lnTo>
                    <a:pt x="951" y="2914"/>
                  </a:lnTo>
                  <a:lnTo>
                    <a:pt x="947" y="2908"/>
                  </a:lnTo>
                  <a:lnTo>
                    <a:pt x="946" y="2900"/>
                  </a:lnTo>
                  <a:lnTo>
                    <a:pt x="945" y="2889"/>
                  </a:lnTo>
                  <a:lnTo>
                    <a:pt x="946" y="2885"/>
                  </a:lnTo>
                  <a:lnTo>
                    <a:pt x="947" y="2880"/>
                  </a:lnTo>
                  <a:lnTo>
                    <a:pt x="949" y="2874"/>
                  </a:lnTo>
                  <a:lnTo>
                    <a:pt x="953" y="2869"/>
                  </a:lnTo>
                  <a:lnTo>
                    <a:pt x="957" y="2864"/>
                  </a:lnTo>
                  <a:lnTo>
                    <a:pt x="961" y="2860"/>
                  </a:lnTo>
                  <a:lnTo>
                    <a:pt x="965" y="2856"/>
                  </a:lnTo>
                  <a:lnTo>
                    <a:pt x="969" y="2853"/>
                  </a:lnTo>
                  <a:lnTo>
                    <a:pt x="1066" y="2853"/>
                  </a:lnTo>
                  <a:lnTo>
                    <a:pt x="1087" y="2845"/>
                  </a:lnTo>
                  <a:lnTo>
                    <a:pt x="1110" y="2836"/>
                  </a:lnTo>
                  <a:lnTo>
                    <a:pt x="1121" y="2829"/>
                  </a:lnTo>
                  <a:lnTo>
                    <a:pt x="1130" y="2821"/>
                  </a:lnTo>
                  <a:lnTo>
                    <a:pt x="1133" y="2817"/>
                  </a:lnTo>
                  <a:lnTo>
                    <a:pt x="1135" y="2812"/>
                  </a:lnTo>
                  <a:lnTo>
                    <a:pt x="1137" y="2805"/>
                  </a:lnTo>
                  <a:lnTo>
                    <a:pt x="1138" y="2800"/>
                  </a:lnTo>
                  <a:lnTo>
                    <a:pt x="1137" y="2789"/>
                  </a:lnTo>
                  <a:lnTo>
                    <a:pt x="1134" y="2776"/>
                  </a:lnTo>
                  <a:lnTo>
                    <a:pt x="1129" y="2761"/>
                  </a:lnTo>
                  <a:lnTo>
                    <a:pt x="1123" y="2745"/>
                  </a:lnTo>
                  <a:lnTo>
                    <a:pt x="1107" y="2709"/>
                  </a:lnTo>
                  <a:lnTo>
                    <a:pt x="1087" y="2673"/>
                  </a:lnTo>
                  <a:lnTo>
                    <a:pt x="1078" y="2654"/>
                  </a:lnTo>
                  <a:lnTo>
                    <a:pt x="1067" y="2638"/>
                  </a:lnTo>
                  <a:lnTo>
                    <a:pt x="1057" y="2622"/>
                  </a:lnTo>
                  <a:lnTo>
                    <a:pt x="1046" y="2609"/>
                  </a:lnTo>
                  <a:lnTo>
                    <a:pt x="1037" y="2598"/>
                  </a:lnTo>
                  <a:lnTo>
                    <a:pt x="1027" y="2589"/>
                  </a:lnTo>
                  <a:lnTo>
                    <a:pt x="1022" y="2586"/>
                  </a:lnTo>
                  <a:lnTo>
                    <a:pt x="1018" y="2584"/>
                  </a:lnTo>
                  <a:lnTo>
                    <a:pt x="1015" y="2582"/>
                  </a:lnTo>
                  <a:lnTo>
                    <a:pt x="1011" y="2582"/>
                  </a:lnTo>
                  <a:lnTo>
                    <a:pt x="1003" y="2582"/>
                  </a:lnTo>
                  <a:lnTo>
                    <a:pt x="997" y="2585"/>
                  </a:lnTo>
                  <a:lnTo>
                    <a:pt x="990" y="2586"/>
                  </a:lnTo>
                  <a:lnTo>
                    <a:pt x="985" y="2590"/>
                  </a:lnTo>
                  <a:lnTo>
                    <a:pt x="974" y="2598"/>
                  </a:lnTo>
                  <a:lnTo>
                    <a:pt x="965" y="2609"/>
                  </a:lnTo>
                  <a:lnTo>
                    <a:pt x="957" y="2620"/>
                  </a:lnTo>
                  <a:lnTo>
                    <a:pt x="949" y="2630"/>
                  </a:lnTo>
                  <a:lnTo>
                    <a:pt x="942" y="2641"/>
                  </a:lnTo>
                  <a:lnTo>
                    <a:pt x="933" y="2649"/>
                  </a:lnTo>
                  <a:lnTo>
                    <a:pt x="923" y="2656"/>
                  </a:lnTo>
                  <a:lnTo>
                    <a:pt x="914" y="2662"/>
                  </a:lnTo>
                  <a:lnTo>
                    <a:pt x="905" y="2666"/>
                  </a:lnTo>
                  <a:lnTo>
                    <a:pt x="894" y="2670"/>
                  </a:lnTo>
                  <a:lnTo>
                    <a:pt x="885" y="2674"/>
                  </a:lnTo>
                  <a:lnTo>
                    <a:pt x="877" y="2680"/>
                  </a:lnTo>
                  <a:lnTo>
                    <a:pt x="867" y="2688"/>
                  </a:lnTo>
                  <a:lnTo>
                    <a:pt x="861" y="2697"/>
                  </a:lnTo>
                  <a:lnTo>
                    <a:pt x="857" y="2702"/>
                  </a:lnTo>
                  <a:lnTo>
                    <a:pt x="853" y="2709"/>
                  </a:lnTo>
                  <a:lnTo>
                    <a:pt x="850" y="2717"/>
                  </a:lnTo>
                  <a:lnTo>
                    <a:pt x="847" y="2724"/>
                  </a:lnTo>
                  <a:lnTo>
                    <a:pt x="842" y="2740"/>
                  </a:lnTo>
                  <a:lnTo>
                    <a:pt x="838" y="2757"/>
                  </a:lnTo>
                  <a:lnTo>
                    <a:pt x="833" y="2774"/>
                  </a:lnTo>
                  <a:lnTo>
                    <a:pt x="826" y="2790"/>
                  </a:lnTo>
                  <a:lnTo>
                    <a:pt x="823" y="2797"/>
                  </a:lnTo>
                  <a:lnTo>
                    <a:pt x="818" y="2805"/>
                  </a:lnTo>
                  <a:lnTo>
                    <a:pt x="813" y="2812"/>
                  </a:lnTo>
                  <a:lnTo>
                    <a:pt x="806" y="2817"/>
                  </a:lnTo>
                  <a:lnTo>
                    <a:pt x="791" y="2825"/>
                  </a:lnTo>
                  <a:lnTo>
                    <a:pt x="777" y="2830"/>
                  </a:lnTo>
                  <a:lnTo>
                    <a:pt x="769" y="2834"/>
                  </a:lnTo>
                  <a:lnTo>
                    <a:pt x="761" y="2840"/>
                  </a:lnTo>
                  <a:lnTo>
                    <a:pt x="753" y="2845"/>
                  </a:lnTo>
                  <a:lnTo>
                    <a:pt x="746" y="2853"/>
                  </a:lnTo>
                  <a:lnTo>
                    <a:pt x="741" y="2858"/>
                  </a:lnTo>
                  <a:lnTo>
                    <a:pt x="735" y="2865"/>
                  </a:lnTo>
                  <a:lnTo>
                    <a:pt x="731" y="2872"/>
                  </a:lnTo>
                  <a:lnTo>
                    <a:pt x="726" y="2878"/>
                  </a:lnTo>
                  <a:lnTo>
                    <a:pt x="722" y="2885"/>
                  </a:lnTo>
                  <a:lnTo>
                    <a:pt x="715" y="2890"/>
                  </a:lnTo>
                  <a:lnTo>
                    <a:pt x="711" y="2893"/>
                  </a:lnTo>
                  <a:lnTo>
                    <a:pt x="707" y="2894"/>
                  </a:lnTo>
                  <a:lnTo>
                    <a:pt x="703" y="2896"/>
                  </a:lnTo>
                  <a:lnTo>
                    <a:pt x="698" y="2896"/>
                  </a:lnTo>
                  <a:lnTo>
                    <a:pt x="685" y="2894"/>
                  </a:lnTo>
                  <a:lnTo>
                    <a:pt x="674" y="2893"/>
                  </a:lnTo>
                  <a:lnTo>
                    <a:pt x="665" y="2889"/>
                  </a:lnTo>
                  <a:lnTo>
                    <a:pt x="657" y="2884"/>
                  </a:lnTo>
                  <a:lnTo>
                    <a:pt x="643" y="2873"/>
                  </a:lnTo>
                  <a:lnTo>
                    <a:pt x="631" y="2860"/>
                  </a:lnTo>
                  <a:lnTo>
                    <a:pt x="621" y="2846"/>
                  </a:lnTo>
                  <a:lnTo>
                    <a:pt x="606" y="2834"/>
                  </a:lnTo>
                  <a:lnTo>
                    <a:pt x="598" y="2830"/>
                  </a:lnTo>
                  <a:lnTo>
                    <a:pt x="589" y="2826"/>
                  </a:lnTo>
                  <a:lnTo>
                    <a:pt x="578" y="2824"/>
                  </a:lnTo>
                  <a:lnTo>
                    <a:pt x="566" y="2824"/>
                  </a:lnTo>
                  <a:lnTo>
                    <a:pt x="556" y="2825"/>
                  </a:lnTo>
                  <a:lnTo>
                    <a:pt x="546" y="2828"/>
                  </a:lnTo>
                  <a:lnTo>
                    <a:pt x="540" y="2833"/>
                  </a:lnTo>
                  <a:lnTo>
                    <a:pt x="532" y="2838"/>
                  </a:lnTo>
                  <a:lnTo>
                    <a:pt x="524" y="2844"/>
                  </a:lnTo>
                  <a:lnTo>
                    <a:pt x="516" y="2849"/>
                  </a:lnTo>
                  <a:lnTo>
                    <a:pt x="505" y="2852"/>
                  </a:lnTo>
                  <a:lnTo>
                    <a:pt x="493" y="2853"/>
                  </a:lnTo>
                  <a:lnTo>
                    <a:pt x="482" y="2853"/>
                  </a:lnTo>
                  <a:lnTo>
                    <a:pt x="472" y="2850"/>
                  </a:lnTo>
                  <a:lnTo>
                    <a:pt x="461" y="2846"/>
                  </a:lnTo>
                  <a:lnTo>
                    <a:pt x="452" y="2841"/>
                  </a:lnTo>
                  <a:lnTo>
                    <a:pt x="444" y="2833"/>
                  </a:lnTo>
                  <a:lnTo>
                    <a:pt x="438" y="2825"/>
                  </a:lnTo>
                  <a:lnTo>
                    <a:pt x="436" y="2821"/>
                  </a:lnTo>
                  <a:lnTo>
                    <a:pt x="434" y="2816"/>
                  </a:lnTo>
                  <a:lnTo>
                    <a:pt x="433" y="2810"/>
                  </a:lnTo>
                  <a:lnTo>
                    <a:pt x="433" y="2805"/>
                  </a:lnTo>
                  <a:lnTo>
                    <a:pt x="433" y="2797"/>
                  </a:lnTo>
                  <a:lnTo>
                    <a:pt x="434" y="2790"/>
                  </a:lnTo>
                  <a:lnTo>
                    <a:pt x="437" y="2784"/>
                  </a:lnTo>
                  <a:lnTo>
                    <a:pt x="440" y="2777"/>
                  </a:lnTo>
                  <a:lnTo>
                    <a:pt x="446" y="2765"/>
                  </a:lnTo>
                  <a:lnTo>
                    <a:pt x="454" y="2754"/>
                  </a:lnTo>
                  <a:lnTo>
                    <a:pt x="462" y="2742"/>
                  </a:lnTo>
                  <a:lnTo>
                    <a:pt x="469" y="2730"/>
                  </a:lnTo>
                  <a:lnTo>
                    <a:pt x="472" y="2724"/>
                  </a:lnTo>
                  <a:lnTo>
                    <a:pt x="473" y="2717"/>
                  </a:lnTo>
                  <a:lnTo>
                    <a:pt x="474" y="2710"/>
                  </a:lnTo>
                  <a:lnTo>
                    <a:pt x="476" y="2702"/>
                  </a:lnTo>
                  <a:lnTo>
                    <a:pt x="474" y="2694"/>
                  </a:lnTo>
                  <a:lnTo>
                    <a:pt x="472" y="2688"/>
                  </a:lnTo>
                  <a:lnTo>
                    <a:pt x="468" y="2681"/>
                  </a:lnTo>
                  <a:lnTo>
                    <a:pt x="464" y="2674"/>
                  </a:lnTo>
                  <a:lnTo>
                    <a:pt x="458" y="2669"/>
                  </a:lnTo>
                  <a:lnTo>
                    <a:pt x="456" y="2661"/>
                  </a:lnTo>
                  <a:lnTo>
                    <a:pt x="452" y="2653"/>
                  </a:lnTo>
                  <a:lnTo>
                    <a:pt x="452" y="2642"/>
                  </a:lnTo>
                  <a:lnTo>
                    <a:pt x="452" y="2636"/>
                  </a:lnTo>
                  <a:lnTo>
                    <a:pt x="456" y="2630"/>
                  </a:lnTo>
                  <a:lnTo>
                    <a:pt x="460" y="2626"/>
                  </a:lnTo>
                  <a:lnTo>
                    <a:pt x="464" y="2621"/>
                  </a:lnTo>
                  <a:lnTo>
                    <a:pt x="469" y="2617"/>
                  </a:lnTo>
                  <a:lnTo>
                    <a:pt x="474" y="2612"/>
                  </a:lnTo>
                  <a:lnTo>
                    <a:pt x="478" y="2606"/>
                  </a:lnTo>
                  <a:lnTo>
                    <a:pt x="481" y="2601"/>
                  </a:lnTo>
                  <a:lnTo>
                    <a:pt x="496" y="2554"/>
                  </a:lnTo>
                  <a:lnTo>
                    <a:pt x="509" y="2506"/>
                  </a:lnTo>
                  <a:lnTo>
                    <a:pt x="514" y="2483"/>
                  </a:lnTo>
                  <a:lnTo>
                    <a:pt x="520" y="2457"/>
                  </a:lnTo>
                  <a:lnTo>
                    <a:pt x="522" y="2433"/>
                  </a:lnTo>
                  <a:lnTo>
                    <a:pt x="524" y="2408"/>
                  </a:lnTo>
                  <a:lnTo>
                    <a:pt x="522" y="2391"/>
                  </a:lnTo>
                  <a:lnTo>
                    <a:pt x="521" y="2377"/>
                  </a:lnTo>
                  <a:lnTo>
                    <a:pt x="520" y="2371"/>
                  </a:lnTo>
                  <a:lnTo>
                    <a:pt x="517" y="2365"/>
                  </a:lnTo>
                  <a:lnTo>
                    <a:pt x="514" y="2361"/>
                  </a:lnTo>
                  <a:lnTo>
                    <a:pt x="510" y="2357"/>
                  </a:lnTo>
                  <a:lnTo>
                    <a:pt x="506" y="2353"/>
                  </a:lnTo>
                  <a:lnTo>
                    <a:pt x="502" y="2349"/>
                  </a:lnTo>
                  <a:lnTo>
                    <a:pt x="497" y="2347"/>
                  </a:lnTo>
                  <a:lnTo>
                    <a:pt x="490" y="2345"/>
                  </a:lnTo>
                  <a:lnTo>
                    <a:pt x="476" y="2343"/>
                  </a:lnTo>
                  <a:lnTo>
                    <a:pt x="457" y="2341"/>
                  </a:lnTo>
                  <a:lnTo>
                    <a:pt x="444" y="2343"/>
                  </a:lnTo>
                  <a:lnTo>
                    <a:pt x="430" y="2344"/>
                  </a:lnTo>
                  <a:lnTo>
                    <a:pt x="417" y="2347"/>
                  </a:lnTo>
                  <a:lnTo>
                    <a:pt x="406" y="2351"/>
                  </a:lnTo>
                  <a:lnTo>
                    <a:pt x="394" y="2356"/>
                  </a:lnTo>
                  <a:lnTo>
                    <a:pt x="385" y="2361"/>
                  </a:lnTo>
                  <a:lnTo>
                    <a:pt x="374" y="2368"/>
                  </a:lnTo>
                  <a:lnTo>
                    <a:pt x="365" y="2375"/>
                  </a:lnTo>
                  <a:lnTo>
                    <a:pt x="348" y="2391"/>
                  </a:lnTo>
                  <a:lnTo>
                    <a:pt x="332" y="2408"/>
                  </a:lnTo>
                  <a:lnTo>
                    <a:pt x="316" y="2425"/>
                  </a:lnTo>
                  <a:lnTo>
                    <a:pt x="301" y="2444"/>
                  </a:lnTo>
                  <a:lnTo>
                    <a:pt x="258" y="2444"/>
                  </a:lnTo>
                  <a:lnTo>
                    <a:pt x="253" y="2411"/>
                  </a:lnTo>
                  <a:lnTo>
                    <a:pt x="248" y="2377"/>
                  </a:lnTo>
                  <a:lnTo>
                    <a:pt x="245" y="2345"/>
                  </a:lnTo>
                  <a:lnTo>
                    <a:pt x="242" y="2315"/>
                  </a:lnTo>
                  <a:lnTo>
                    <a:pt x="241" y="2284"/>
                  </a:lnTo>
                  <a:lnTo>
                    <a:pt x="241" y="2256"/>
                  </a:lnTo>
                  <a:lnTo>
                    <a:pt x="241" y="2229"/>
                  </a:lnTo>
                  <a:lnTo>
                    <a:pt x="241" y="2203"/>
                  </a:lnTo>
                  <a:lnTo>
                    <a:pt x="240" y="2196"/>
                  </a:lnTo>
                  <a:lnTo>
                    <a:pt x="238" y="2188"/>
                  </a:lnTo>
                  <a:lnTo>
                    <a:pt x="237" y="2183"/>
                  </a:lnTo>
                  <a:lnTo>
                    <a:pt x="234" y="2176"/>
                  </a:lnTo>
                  <a:lnTo>
                    <a:pt x="230" y="2171"/>
                  </a:lnTo>
                  <a:lnTo>
                    <a:pt x="228" y="2167"/>
                  </a:lnTo>
                  <a:lnTo>
                    <a:pt x="222" y="2163"/>
                  </a:lnTo>
                  <a:lnTo>
                    <a:pt x="218" y="2159"/>
                  </a:lnTo>
                  <a:lnTo>
                    <a:pt x="206" y="2152"/>
                  </a:lnTo>
                  <a:lnTo>
                    <a:pt x="194" y="2147"/>
                  </a:lnTo>
                  <a:lnTo>
                    <a:pt x="181" y="2141"/>
                  </a:lnTo>
                  <a:lnTo>
                    <a:pt x="168" y="2137"/>
                  </a:lnTo>
                  <a:lnTo>
                    <a:pt x="141" y="2131"/>
                  </a:lnTo>
                  <a:lnTo>
                    <a:pt x="118" y="2123"/>
                  </a:lnTo>
                  <a:lnTo>
                    <a:pt x="109" y="2117"/>
                  </a:lnTo>
                  <a:lnTo>
                    <a:pt x="102" y="2112"/>
                  </a:lnTo>
                  <a:lnTo>
                    <a:pt x="100" y="2108"/>
                  </a:lnTo>
                  <a:lnTo>
                    <a:pt x="97" y="2104"/>
                  </a:lnTo>
                  <a:lnTo>
                    <a:pt x="96" y="2100"/>
                  </a:lnTo>
                  <a:lnTo>
                    <a:pt x="96" y="2095"/>
                  </a:lnTo>
                  <a:lnTo>
                    <a:pt x="97" y="2087"/>
                  </a:lnTo>
                  <a:lnTo>
                    <a:pt x="98" y="2079"/>
                  </a:lnTo>
                  <a:lnTo>
                    <a:pt x="102" y="2072"/>
                  </a:lnTo>
                  <a:lnTo>
                    <a:pt x="106" y="2065"/>
                  </a:lnTo>
                  <a:lnTo>
                    <a:pt x="116" y="2053"/>
                  </a:lnTo>
                  <a:lnTo>
                    <a:pt x="126" y="2040"/>
                  </a:lnTo>
                  <a:lnTo>
                    <a:pt x="126" y="1951"/>
                  </a:lnTo>
                  <a:lnTo>
                    <a:pt x="81" y="1943"/>
                  </a:lnTo>
                  <a:lnTo>
                    <a:pt x="49" y="1936"/>
                  </a:lnTo>
                  <a:lnTo>
                    <a:pt x="36" y="1931"/>
                  </a:lnTo>
                  <a:lnTo>
                    <a:pt x="24" y="1923"/>
                  </a:lnTo>
                  <a:lnTo>
                    <a:pt x="12" y="1912"/>
                  </a:lnTo>
                  <a:lnTo>
                    <a:pt x="0" y="1896"/>
                  </a:lnTo>
                  <a:lnTo>
                    <a:pt x="17" y="1883"/>
                  </a:lnTo>
                  <a:lnTo>
                    <a:pt x="37" y="1867"/>
                  </a:lnTo>
                  <a:lnTo>
                    <a:pt x="45" y="1858"/>
                  </a:lnTo>
                  <a:lnTo>
                    <a:pt x="53" y="1848"/>
                  </a:lnTo>
                  <a:lnTo>
                    <a:pt x="56" y="1843"/>
                  </a:lnTo>
                  <a:lnTo>
                    <a:pt x="58" y="1836"/>
                  </a:lnTo>
                  <a:lnTo>
                    <a:pt x="60" y="1831"/>
                  </a:lnTo>
                  <a:lnTo>
                    <a:pt x="60" y="1824"/>
                  </a:lnTo>
                  <a:lnTo>
                    <a:pt x="58" y="1802"/>
                  </a:lnTo>
                  <a:lnTo>
                    <a:pt x="54" y="1780"/>
                  </a:lnTo>
                  <a:lnTo>
                    <a:pt x="50" y="1759"/>
                  </a:lnTo>
                  <a:lnTo>
                    <a:pt x="45" y="1739"/>
                  </a:lnTo>
                  <a:lnTo>
                    <a:pt x="40" y="1718"/>
                  </a:lnTo>
                  <a:lnTo>
                    <a:pt x="34" y="1696"/>
                  </a:lnTo>
                  <a:lnTo>
                    <a:pt x="30" y="1674"/>
                  </a:lnTo>
                  <a:lnTo>
                    <a:pt x="29" y="1650"/>
                  </a:lnTo>
                  <a:lnTo>
                    <a:pt x="30" y="1630"/>
                  </a:lnTo>
                  <a:lnTo>
                    <a:pt x="32" y="1612"/>
                  </a:lnTo>
                  <a:lnTo>
                    <a:pt x="34" y="1596"/>
                  </a:lnTo>
                  <a:lnTo>
                    <a:pt x="38" y="1582"/>
                  </a:lnTo>
                  <a:lnTo>
                    <a:pt x="42" y="1568"/>
                  </a:lnTo>
                  <a:lnTo>
                    <a:pt x="48" y="1556"/>
                  </a:lnTo>
                  <a:lnTo>
                    <a:pt x="54" y="1544"/>
                  </a:lnTo>
                  <a:lnTo>
                    <a:pt x="61" y="1535"/>
                  </a:lnTo>
                  <a:lnTo>
                    <a:pt x="68" y="1526"/>
                  </a:lnTo>
                  <a:lnTo>
                    <a:pt x="76" y="1518"/>
                  </a:lnTo>
                  <a:lnTo>
                    <a:pt x="84" y="1511"/>
                  </a:lnTo>
                  <a:lnTo>
                    <a:pt x="93" y="1504"/>
                  </a:lnTo>
                  <a:lnTo>
                    <a:pt x="110" y="1492"/>
                  </a:lnTo>
                  <a:lnTo>
                    <a:pt x="129" y="1482"/>
                  </a:lnTo>
                  <a:lnTo>
                    <a:pt x="148" y="1472"/>
                  </a:lnTo>
                  <a:lnTo>
                    <a:pt x="165" y="1462"/>
                  </a:lnTo>
                  <a:lnTo>
                    <a:pt x="174" y="1456"/>
                  </a:lnTo>
                  <a:lnTo>
                    <a:pt x="182" y="1450"/>
                  </a:lnTo>
                  <a:lnTo>
                    <a:pt x="190" y="1443"/>
                  </a:lnTo>
                  <a:lnTo>
                    <a:pt x="197" y="1436"/>
                  </a:lnTo>
                  <a:lnTo>
                    <a:pt x="204" y="1428"/>
                  </a:lnTo>
                  <a:lnTo>
                    <a:pt x="210" y="1419"/>
                  </a:lnTo>
                  <a:lnTo>
                    <a:pt x="216" y="1410"/>
                  </a:lnTo>
                  <a:lnTo>
                    <a:pt x="220" y="1398"/>
                  </a:lnTo>
                  <a:lnTo>
                    <a:pt x="224" y="1386"/>
                  </a:lnTo>
                  <a:lnTo>
                    <a:pt x="226" y="1372"/>
                  </a:lnTo>
                  <a:lnTo>
                    <a:pt x="228" y="1358"/>
                  </a:lnTo>
                  <a:lnTo>
                    <a:pt x="229" y="1342"/>
                  </a:lnTo>
                  <a:lnTo>
                    <a:pt x="229" y="1331"/>
                  </a:lnTo>
                  <a:lnTo>
                    <a:pt x="232" y="1322"/>
                  </a:lnTo>
                  <a:lnTo>
                    <a:pt x="234" y="1314"/>
                  </a:lnTo>
                  <a:lnTo>
                    <a:pt x="240" y="1309"/>
                  </a:lnTo>
                  <a:lnTo>
                    <a:pt x="245" y="1305"/>
                  </a:lnTo>
                  <a:lnTo>
                    <a:pt x="252" y="1301"/>
                  </a:lnTo>
                  <a:lnTo>
                    <a:pt x="258" y="1298"/>
                  </a:lnTo>
                  <a:lnTo>
                    <a:pt x="266" y="1297"/>
                  </a:lnTo>
                  <a:lnTo>
                    <a:pt x="284" y="1295"/>
                  </a:lnTo>
                  <a:lnTo>
                    <a:pt x="302" y="1295"/>
                  </a:lnTo>
                  <a:lnTo>
                    <a:pt x="312" y="1294"/>
                  </a:lnTo>
                  <a:lnTo>
                    <a:pt x="320" y="1293"/>
                  </a:lnTo>
                  <a:lnTo>
                    <a:pt x="329" y="1291"/>
                  </a:lnTo>
                  <a:lnTo>
                    <a:pt x="337" y="1289"/>
                  </a:lnTo>
                  <a:lnTo>
                    <a:pt x="348" y="1283"/>
                  </a:lnTo>
                  <a:lnTo>
                    <a:pt x="358" y="1277"/>
                  </a:lnTo>
                  <a:lnTo>
                    <a:pt x="366" y="1270"/>
                  </a:lnTo>
                  <a:lnTo>
                    <a:pt x="373" y="1263"/>
                  </a:lnTo>
                  <a:lnTo>
                    <a:pt x="378" y="1254"/>
                  </a:lnTo>
                  <a:lnTo>
                    <a:pt x="384" y="1246"/>
                  </a:lnTo>
                  <a:lnTo>
                    <a:pt x="386" y="1237"/>
                  </a:lnTo>
                  <a:lnTo>
                    <a:pt x="389" y="1226"/>
                  </a:lnTo>
                  <a:lnTo>
                    <a:pt x="392" y="1205"/>
                  </a:lnTo>
                  <a:lnTo>
                    <a:pt x="392" y="1183"/>
                  </a:lnTo>
                  <a:lnTo>
                    <a:pt x="392" y="1161"/>
                  </a:lnTo>
                  <a:lnTo>
                    <a:pt x="392" y="1138"/>
                  </a:lnTo>
                  <a:lnTo>
                    <a:pt x="392" y="1133"/>
                  </a:lnTo>
                  <a:lnTo>
                    <a:pt x="393" y="1127"/>
                  </a:lnTo>
                  <a:lnTo>
                    <a:pt x="394" y="1123"/>
                  </a:lnTo>
                  <a:lnTo>
                    <a:pt x="397" y="1119"/>
                  </a:lnTo>
                  <a:lnTo>
                    <a:pt x="405" y="1114"/>
                  </a:lnTo>
                  <a:lnTo>
                    <a:pt x="412" y="1109"/>
                  </a:lnTo>
                  <a:lnTo>
                    <a:pt x="420" y="1103"/>
                  </a:lnTo>
                  <a:lnTo>
                    <a:pt x="426" y="1098"/>
                  </a:lnTo>
                  <a:lnTo>
                    <a:pt x="429" y="1094"/>
                  </a:lnTo>
                  <a:lnTo>
                    <a:pt x="432" y="1091"/>
                  </a:lnTo>
                  <a:lnTo>
                    <a:pt x="433" y="1087"/>
                  </a:lnTo>
                  <a:lnTo>
                    <a:pt x="433" y="1083"/>
                  </a:lnTo>
                  <a:lnTo>
                    <a:pt x="433" y="1070"/>
                  </a:lnTo>
                  <a:lnTo>
                    <a:pt x="432" y="1058"/>
                  </a:lnTo>
                  <a:lnTo>
                    <a:pt x="429" y="1046"/>
                  </a:lnTo>
                  <a:lnTo>
                    <a:pt x="425" y="1034"/>
                  </a:lnTo>
                  <a:lnTo>
                    <a:pt x="421" y="1023"/>
                  </a:lnTo>
                  <a:lnTo>
                    <a:pt x="416" y="1014"/>
                  </a:lnTo>
                  <a:lnTo>
                    <a:pt x="409" y="1003"/>
                  </a:lnTo>
                  <a:lnTo>
                    <a:pt x="404" y="995"/>
                  </a:lnTo>
                  <a:lnTo>
                    <a:pt x="389" y="977"/>
                  </a:lnTo>
                  <a:lnTo>
                    <a:pt x="372" y="961"/>
                  </a:lnTo>
                  <a:lnTo>
                    <a:pt x="354" y="946"/>
                  </a:lnTo>
                  <a:lnTo>
                    <a:pt x="337" y="930"/>
                  </a:lnTo>
                  <a:lnTo>
                    <a:pt x="318" y="915"/>
                  </a:lnTo>
                  <a:lnTo>
                    <a:pt x="301" y="901"/>
                  </a:lnTo>
                  <a:lnTo>
                    <a:pt x="285" y="885"/>
                  </a:lnTo>
                  <a:lnTo>
                    <a:pt x="270" y="867"/>
                  </a:lnTo>
                  <a:lnTo>
                    <a:pt x="264" y="858"/>
                  </a:lnTo>
                  <a:lnTo>
                    <a:pt x="258" y="849"/>
                  </a:lnTo>
                  <a:lnTo>
                    <a:pt x="253" y="839"/>
                  </a:lnTo>
                  <a:lnTo>
                    <a:pt x="249" y="829"/>
                  </a:lnTo>
                  <a:lnTo>
                    <a:pt x="245" y="818"/>
                  </a:lnTo>
                  <a:lnTo>
                    <a:pt x="242" y="807"/>
                  </a:lnTo>
                  <a:lnTo>
                    <a:pt x="241" y="795"/>
                  </a:lnTo>
                  <a:lnTo>
                    <a:pt x="241" y="782"/>
                  </a:lnTo>
                  <a:lnTo>
                    <a:pt x="241" y="770"/>
                  </a:lnTo>
                  <a:lnTo>
                    <a:pt x="242" y="759"/>
                  </a:lnTo>
                  <a:lnTo>
                    <a:pt x="244" y="754"/>
                  </a:lnTo>
                  <a:lnTo>
                    <a:pt x="242" y="749"/>
                  </a:lnTo>
                  <a:lnTo>
                    <a:pt x="242" y="745"/>
                  </a:lnTo>
                  <a:lnTo>
                    <a:pt x="241" y="739"/>
                  </a:lnTo>
                  <a:lnTo>
                    <a:pt x="254" y="706"/>
                  </a:lnTo>
                  <a:lnTo>
                    <a:pt x="268" y="676"/>
                  </a:lnTo>
                  <a:lnTo>
                    <a:pt x="274" y="661"/>
                  </a:lnTo>
                  <a:lnTo>
                    <a:pt x="278" y="645"/>
                  </a:lnTo>
                  <a:lnTo>
                    <a:pt x="281" y="626"/>
                  </a:lnTo>
                  <a:lnTo>
                    <a:pt x="282" y="608"/>
                  </a:lnTo>
                  <a:lnTo>
                    <a:pt x="282" y="593"/>
                  </a:lnTo>
                  <a:lnTo>
                    <a:pt x="280" y="578"/>
                  </a:lnTo>
                  <a:lnTo>
                    <a:pt x="276" y="564"/>
                  </a:lnTo>
                  <a:lnTo>
                    <a:pt x="272" y="548"/>
                  </a:lnTo>
                  <a:lnTo>
                    <a:pt x="260" y="514"/>
                  </a:lnTo>
                  <a:lnTo>
                    <a:pt x="246" y="481"/>
                  </a:lnTo>
                  <a:lnTo>
                    <a:pt x="233" y="449"/>
                  </a:lnTo>
                  <a:lnTo>
                    <a:pt x="221" y="420"/>
                  </a:lnTo>
                  <a:lnTo>
                    <a:pt x="217" y="406"/>
                  </a:lnTo>
                  <a:lnTo>
                    <a:pt x="213" y="394"/>
                  </a:lnTo>
                  <a:lnTo>
                    <a:pt x="212" y="382"/>
                  </a:lnTo>
                  <a:lnTo>
                    <a:pt x="210" y="373"/>
                  </a:lnTo>
                  <a:lnTo>
                    <a:pt x="210" y="365"/>
                  </a:lnTo>
                  <a:lnTo>
                    <a:pt x="213" y="358"/>
                  </a:lnTo>
                  <a:lnTo>
                    <a:pt x="214" y="352"/>
                  </a:lnTo>
                  <a:lnTo>
                    <a:pt x="218" y="346"/>
                  </a:lnTo>
                  <a:lnTo>
                    <a:pt x="222" y="341"/>
                  </a:lnTo>
                  <a:lnTo>
                    <a:pt x="228" y="337"/>
                  </a:lnTo>
                  <a:lnTo>
                    <a:pt x="233" y="333"/>
                  </a:lnTo>
                  <a:lnTo>
                    <a:pt x="238" y="330"/>
                  </a:lnTo>
                  <a:lnTo>
                    <a:pt x="252" y="325"/>
                  </a:lnTo>
                  <a:lnTo>
                    <a:pt x="266" y="321"/>
                  </a:lnTo>
                  <a:lnTo>
                    <a:pt x="281" y="320"/>
                  </a:lnTo>
                  <a:lnTo>
                    <a:pt x="294" y="318"/>
                  </a:lnTo>
                  <a:lnTo>
                    <a:pt x="322" y="318"/>
                  </a:lnTo>
                  <a:lnTo>
                    <a:pt x="344" y="318"/>
                  </a:lnTo>
                  <a:lnTo>
                    <a:pt x="361" y="318"/>
                  </a:lnTo>
                  <a:lnTo>
                    <a:pt x="378" y="318"/>
                  </a:lnTo>
                  <a:lnTo>
                    <a:pt x="389" y="322"/>
                  </a:lnTo>
                  <a:lnTo>
                    <a:pt x="410" y="328"/>
                  </a:lnTo>
                  <a:lnTo>
                    <a:pt x="422" y="330"/>
                  </a:lnTo>
                  <a:lnTo>
                    <a:pt x="436" y="332"/>
                  </a:lnTo>
                  <a:lnTo>
                    <a:pt x="442" y="330"/>
                  </a:lnTo>
                  <a:lnTo>
                    <a:pt x="449" y="329"/>
                  </a:lnTo>
                  <a:lnTo>
                    <a:pt x="457" y="328"/>
                  </a:lnTo>
                  <a:lnTo>
                    <a:pt x="464" y="325"/>
                  </a:lnTo>
                  <a:lnTo>
                    <a:pt x="472" y="320"/>
                  </a:lnTo>
                  <a:lnTo>
                    <a:pt x="480" y="312"/>
                  </a:lnTo>
                  <a:lnTo>
                    <a:pt x="486" y="304"/>
                  </a:lnTo>
                  <a:lnTo>
                    <a:pt x="492" y="294"/>
                  </a:lnTo>
                  <a:lnTo>
                    <a:pt x="502" y="274"/>
                  </a:lnTo>
                  <a:lnTo>
                    <a:pt x="514" y="252"/>
                  </a:lnTo>
                  <a:lnTo>
                    <a:pt x="521" y="242"/>
                  </a:lnTo>
                  <a:lnTo>
                    <a:pt x="529" y="232"/>
                  </a:lnTo>
                  <a:lnTo>
                    <a:pt x="537" y="222"/>
                  </a:lnTo>
                  <a:lnTo>
                    <a:pt x="546" y="214"/>
                  </a:lnTo>
                  <a:lnTo>
                    <a:pt x="557" y="208"/>
                  </a:lnTo>
                  <a:lnTo>
                    <a:pt x="570" y="202"/>
                  </a:lnTo>
                  <a:lnTo>
                    <a:pt x="585" y="200"/>
                  </a:lnTo>
                  <a:lnTo>
                    <a:pt x="602" y="198"/>
                  </a:lnTo>
                  <a:lnTo>
                    <a:pt x="617" y="198"/>
                  </a:lnTo>
                  <a:lnTo>
                    <a:pt x="626" y="201"/>
                  </a:lnTo>
                  <a:lnTo>
                    <a:pt x="633" y="202"/>
                  </a:lnTo>
                  <a:lnTo>
                    <a:pt x="637" y="205"/>
                  </a:lnTo>
                  <a:lnTo>
                    <a:pt x="639" y="206"/>
                  </a:lnTo>
                  <a:lnTo>
                    <a:pt x="643" y="205"/>
                  </a:lnTo>
                  <a:lnTo>
                    <a:pt x="651" y="204"/>
                  </a:lnTo>
                  <a:lnTo>
                    <a:pt x="662" y="198"/>
                  </a:lnTo>
                  <a:lnTo>
                    <a:pt x="667" y="196"/>
                  </a:lnTo>
                  <a:lnTo>
                    <a:pt x="670" y="190"/>
                  </a:lnTo>
                  <a:lnTo>
                    <a:pt x="673" y="185"/>
                  </a:lnTo>
                  <a:lnTo>
                    <a:pt x="674" y="180"/>
                  </a:lnTo>
                  <a:lnTo>
                    <a:pt x="675" y="165"/>
                  </a:lnTo>
                  <a:lnTo>
                    <a:pt x="674" y="148"/>
                  </a:lnTo>
                  <a:lnTo>
                    <a:pt x="673" y="131"/>
                  </a:lnTo>
                  <a:lnTo>
                    <a:pt x="671" y="113"/>
                  </a:lnTo>
                  <a:lnTo>
                    <a:pt x="671" y="104"/>
                  </a:lnTo>
                  <a:lnTo>
                    <a:pt x="671" y="97"/>
                  </a:lnTo>
                  <a:lnTo>
                    <a:pt x="673" y="91"/>
                  </a:lnTo>
                  <a:lnTo>
                    <a:pt x="674" y="84"/>
                  </a:lnTo>
                  <a:lnTo>
                    <a:pt x="695" y="63"/>
                  </a:lnTo>
                  <a:lnTo>
                    <a:pt x="722" y="35"/>
                  </a:lnTo>
                  <a:lnTo>
                    <a:pt x="735" y="21"/>
                  </a:lnTo>
                  <a:lnTo>
                    <a:pt x="749" y="11"/>
                  </a:lnTo>
                  <a:lnTo>
                    <a:pt x="754" y="5"/>
                  </a:lnTo>
                  <a:lnTo>
                    <a:pt x="761" y="3"/>
                  </a:lnTo>
                  <a:lnTo>
                    <a:pt x="766" y="0"/>
                  </a:lnTo>
                  <a:lnTo>
                    <a:pt x="770" y="0"/>
                  </a:lnTo>
                  <a:lnTo>
                    <a:pt x="786" y="0"/>
                  </a:lnTo>
                  <a:lnTo>
                    <a:pt x="803" y="4"/>
                  </a:lnTo>
                  <a:lnTo>
                    <a:pt x="822" y="8"/>
                  </a:lnTo>
                  <a:lnTo>
                    <a:pt x="841" y="15"/>
                  </a:lnTo>
                  <a:lnTo>
                    <a:pt x="859" y="24"/>
                  </a:lnTo>
                  <a:lnTo>
                    <a:pt x="878" y="33"/>
                  </a:lnTo>
                  <a:lnTo>
                    <a:pt x="895" y="44"/>
                  </a:lnTo>
                  <a:lnTo>
                    <a:pt x="913" y="57"/>
                  </a:lnTo>
                  <a:lnTo>
                    <a:pt x="930" y="71"/>
                  </a:lnTo>
                  <a:lnTo>
                    <a:pt x="945" y="85"/>
                  </a:lnTo>
                  <a:lnTo>
                    <a:pt x="958" y="100"/>
                  </a:lnTo>
                  <a:lnTo>
                    <a:pt x="970" y="116"/>
                  </a:lnTo>
                  <a:lnTo>
                    <a:pt x="979" y="133"/>
                  </a:lnTo>
                  <a:lnTo>
                    <a:pt x="987" y="151"/>
                  </a:lnTo>
                  <a:lnTo>
                    <a:pt x="990" y="160"/>
                  </a:lnTo>
                  <a:lnTo>
                    <a:pt x="991" y="168"/>
                  </a:lnTo>
                  <a:lnTo>
                    <a:pt x="993" y="177"/>
                  </a:lnTo>
                  <a:lnTo>
                    <a:pt x="993" y="186"/>
                  </a:lnTo>
                  <a:lnTo>
                    <a:pt x="993" y="194"/>
                  </a:lnTo>
                  <a:lnTo>
                    <a:pt x="989" y="202"/>
                  </a:lnTo>
                  <a:lnTo>
                    <a:pt x="986" y="209"/>
                  </a:lnTo>
                  <a:lnTo>
                    <a:pt x="981" y="217"/>
                  </a:lnTo>
                  <a:lnTo>
                    <a:pt x="977" y="225"/>
                  </a:lnTo>
                  <a:lnTo>
                    <a:pt x="973" y="233"/>
                  </a:lnTo>
                  <a:lnTo>
                    <a:pt x="970" y="242"/>
                  </a:lnTo>
                  <a:lnTo>
                    <a:pt x="969" y="252"/>
                  </a:lnTo>
                  <a:lnTo>
                    <a:pt x="970" y="269"/>
                  </a:lnTo>
                  <a:lnTo>
                    <a:pt x="973" y="284"/>
                  </a:lnTo>
                  <a:lnTo>
                    <a:pt x="974" y="290"/>
                  </a:lnTo>
                  <a:lnTo>
                    <a:pt x="977" y="296"/>
                  </a:lnTo>
                  <a:lnTo>
                    <a:pt x="979" y="302"/>
                  </a:lnTo>
                  <a:lnTo>
                    <a:pt x="983" y="306"/>
                  </a:lnTo>
                  <a:lnTo>
                    <a:pt x="987" y="310"/>
                  </a:lnTo>
                  <a:lnTo>
                    <a:pt x="991" y="314"/>
                  </a:lnTo>
                  <a:lnTo>
                    <a:pt x="997" y="317"/>
                  </a:lnTo>
                  <a:lnTo>
                    <a:pt x="1002" y="320"/>
                  </a:lnTo>
                  <a:lnTo>
                    <a:pt x="1014" y="324"/>
                  </a:lnTo>
                  <a:lnTo>
                    <a:pt x="1029" y="325"/>
                  </a:lnTo>
                  <a:lnTo>
                    <a:pt x="1038" y="324"/>
                  </a:lnTo>
                  <a:lnTo>
                    <a:pt x="1045" y="322"/>
                  </a:lnTo>
                  <a:lnTo>
                    <a:pt x="1051" y="321"/>
                  </a:lnTo>
                  <a:lnTo>
                    <a:pt x="1055" y="318"/>
                  </a:lnTo>
                  <a:lnTo>
                    <a:pt x="1063" y="312"/>
                  </a:lnTo>
                  <a:lnTo>
                    <a:pt x="1070" y="304"/>
                  </a:lnTo>
                  <a:lnTo>
                    <a:pt x="1075" y="296"/>
                  </a:lnTo>
                  <a:lnTo>
                    <a:pt x="1082" y="289"/>
                  </a:lnTo>
                  <a:lnTo>
                    <a:pt x="1086" y="286"/>
                  </a:lnTo>
                  <a:lnTo>
                    <a:pt x="1090" y="284"/>
                  </a:lnTo>
                  <a:lnTo>
                    <a:pt x="1095" y="282"/>
                  </a:lnTo>
                  <a:lnTo>
                    <a:pt x="1102" y="282"/>
                  </a:lnTo>
                  <a:lnTo>
                    <a:pt x="1111" y="282"/>
                  </a:lnTo>
                  <a:lnTo>
                    <a:pt x="1121" y="284"/>
                  </a:lnTo>
                  <a:lnTo>
                    <a:pt x="1127" y="286"/>
                  </a:lnTo>
                  <a:lnTo>
                    <a:pt x="1134" y="289"/>
                  </a:lnTo>
                  <a:lnTo>
                    <a:pt x="1141" y="290"/>
                  </a:lnTo>
                  <a:lnTo>
                    <a:pt x="1146" y="293"/>
                  </a:lnTo>
                  <a:lnTo>
                    <a:pt x="1154" y="294"/>
                  </a:lnTo>
                  <a:lnTo>
                    <a:pt x="1162" y="294"/>
                  </a:lnTo>
                  <a:lnTo>
                    <a:pt x="1181" y="294"/>
                  </a:lnTo>
                  <a:lnTo>
                    <a:pt x="1194" y="294"/>
                  </a:lnTo>
                  <a:lnTo>
                    <a:pt x="1205" y="294"/>
                  </a:lnTo>
                  <a:lnTo>
                    <a:pt x="1215" y="294"/>
                  </a:lnTo>
                  <a:lnTo>
                    <a:pt x="1222" y="296"/>
                  </a:lnTo>
                  <a:lnTo>
                    <a:pt x="1227" y="297"/>
                  </a:lnTo>
                  <a:lnTo>
                    <a:pt x="1233" y="301"/>
                  </a:lnTo>
                  <a:lnTo>
                    <a:pt x="1237" y="305"/>
                  </a:lnTo>
                  <a:lnTo>
                    <a:pt x="1243" y="316"/>
                  </a:lnTo>
                  <a:lnTo>
                    <a:pt x="1250" y="329"/>
                  </a:lnTo>
                  <a:lnTo>
                    <a:pt x="1257" y="342"/>
                  </a:lnTo>
                  <a:lnTo>
                    <a:pt x="1265" y="356"/>
                  </a:lnTo>
                  <a:lnTo>
                    <a:pt x="1269" y="361"/>
                  </a:lnTo>
                  <a:lnTo>
                    <a:pt x="1274" y="366"/>
                  </a:lnTo>
                  <a:lnTo>
                    <a:pt x="1281" y="370"/>
                  </a:lnTo>
                  <a:lnTo>
                    <a:pt x="1289" y="373"/>
                  </a:lnTo>
                  <a:lnTo>
                    <a:pt x="1274" y="386"/>
                  </a:lnTo>
                  <a:lnTo>
                    <a:pt x="1262" y="400"/>
                  </a:lnTo>
                  <a:lnTo>
                    <a:pt x="1257" y="406"/>
                  </a:lnTo>
                  <a:lnTo>
                    <a:pt x="1253" y="413"/>
                  </a:lnTo>
                  <a:lnTo>
                    <a:pt x="1249" y="420"/>
                  </a:lnTo>
                  <a:lnTo>
                    <a:pt x="1247" y="426"/>
                  </a:lnTo>
                  <a:lnTo>
                    <a:pt x="1245" y="433"/>
                  </a:lnTo>
                  <a:lnTo>
                    <a:pt x="1245" y="441"/>
                  </a:lnTo>
                  <a:lnTo>
                    <a:pt x="1245" y="449"/>
                  </a:lnTo>
                  <a:lnTo>
                    <a:pt x="1247" y="457"/>
                  </a:lnTo>
                  <a:lnTo>
                    <a:pt x="1250" y="465"/>
                  </a:lnTo>
                  <a:lnTo>
                    <a:pt x="1253" y="474"/>
                  </a:lnTo>
                  <a:lnTo>
                    <a:pt x="1258" y="484"/>
                  </a:lnTo>
                  <a:lnTo>
                    <a:pt x="1265" y="493"/>
                  </a:lnTo>
                  <a:lnTo>
                    <a:pt x="1254" y="493"/>
                  </a:lnTo>
                  <a:lnTo>
                    <a:pt x="1245" y="493"/>
                  </a:lnTo>
                  <a:lnTo>
                    <a:pt x="1234" y="493"/>
                  </a:lnTo>
                  <a:lnTo>
                    <a:pt x="1225" y="494"/>
                  </a:lnTo>
                  <a:lnTo>
                    <a:pt x="1206" y="498"/>
                  </a:lnTo>
                  <a:lnTo>
                    <a:pt x="1189" y="505"/>
                  </a:lnTo>
                  <a:lnTo>
                    <a:pt x="1171" y="513"/>
                  </a:lnTo>
                  <a:lnTo>
                    <a:pt x="1155" y="522"/>
                  </a:lnTo>
                  <a:lnTo>
                    <a:pt x="1141" y="533"/>
                  </a:lnTo>
                  <a:lnTo>
                    <a:pt x="1127" y="542"/>
                  </a:lnTo>
                  <a:lnTo>
                    <a:pt x="1103" y="564"/>
                  </a:lnTo>
                  <a:lnTo>
                    <a:pt x="1086" y="584"/>
                  </a:lnTo>
                  <a:lnTo>
                    <a:pt x="1075" y="597"/>
                  </a:lnTo>
                  <a:lnTo>
                    <a:pt x="1071" y="601"/>
                  </a:lnTo>
                  <a:lnTo>
                    <a:pt x="1067" y="613"/>
                  </a:lnTo>
                  <a:lnTo>
                    <a:pt x="1062" y="625"/>
                  </a:lnTo>
                  <a:lnTo>
                    <a:pt x="1057" y="634"/>
                  </a:lnTo>
                  <a:lnTo>
                    <a:pt x="1051" y="644"/>
                  </a:lnTo>
                  <a:lnTo>
                    <a:pt x="1039" y="658"/>
                  </a:lnTo>
                  <a:lnTo>
                    <a:pt x="1026" y="672"/>
                  </a:lnTo>
                  <a:lnTo>
                    <a:pt x="1014" y="682"/>
                  </a:lnTo>
                  <a:lnTo>
                    <a:pt x="1001" y="692"/>
                  </a:lnTo>
                  <a:lnTo>
                    <a:pt x="987" y="700"/>
                  </a:lnTo>
                  <a:lnTo>
                    <a:pt x="975" y="708"/>
                  </a:lnTo>
                  <a:lnTo>
                    <a:pt x="963" y="716"/>
                  </a:lnTo>
                  <a:lnTo>
                    <a:pt x="951" y="726"/>
                  </a:lnTo>
                  <a:lnTo>
                    <a:pt x="942" y="737"/>
                  </a:lnTo>
                  <a:lnTo>
                    <a:pt x="933" y="750"/>
                  </a:lnTo>
                  <a:lnTo>
                    <a:pt x="929" y="757"/>
                  </a:lnTo>
                  <a:lnTo>
                    <a:pt x="925" y="766"/>
                  </a:lnTo>
                  <a:lnTo>
                    <a:pt x="922" y="775"/>
                  </a:lnTo>
                  <a:lnTo>
                    <a:pt x="919" y="785"/>
                  </a:lnTo>
                  <a:lnTo>
                    <a:pt x="918" y="797"/>
                  </a:lnTo>
                  <a:lnTo>
                    <a:pt x="915" y="809"/>
                  </a:lnTo>
                  <a:lnTo>
                    <a:pt x="915" y="822"/>
                  </a:lnTo>
                  <a:lnTo>
                    <a:pt x="915" y="837"/>
                  </a:lnTo>
                  <a:lnTo>
                    <a:pt x="915" y="879"/>
                  </a:lnTo>
                  <a:lnTo>
                    <a:pt x="918" y="921"/>
                  </a:lnTo>
                  <a:lnTo>
                    <a:pt x="921" y="961"/>
                  </a:lnTo>
                  <a:lnTo>
                    <a:pt x="925" y="1001"/>
                  </a:lnTo>
                  <a:lnTo>
                    <a:pt x="933" y="1078"/>
                  </a:lnTo>
                  <a:lnTo>
                    <a:pt x="939" y="1151"/>
                  </a:lnTo>
                  <a:lnTo>
                    <a:pt x="942" y="1187"/>
                  </a:lnTo>
                  <a:lnTo>
                    <a:pt x="943" y="1222"/>
                  </a:lnTo>
                  <a:lnTo>
                    <a:pt x="945" y="1255"/>
                  </a:lnTo>
                  <a:lnTo>
                    <a:pt x="943" y="1287"/>
                  </a:lnTo>
                  <a:lnTo>
                    <a:pt x="939" y="1319"/>
                  </a:lnTo>
                  <a:lnTo>
                    <a:pt x="934" y="1350"/>
                  </a:lnTo>
                  <a:lnTo>
                    <a:pt x="930" y="1364"/>
                  </a:lnTo>
                  <a:lnTo>
                    <a:pt x="926" y="1379"/>
                  </a:lnTo>
                  <a:lnTo>
                    <a:pt x="921" y="1394"/>
                  </a:lnTo>
                  <a:lnTo>
                    <a:pt x="915" y="1408"/>
                  </a:lnTo>
                  <a:lnTo>
                    <a:pt x="913" y="1414"/>
                  </a:lnTo>
                  <a:lnTo>
                    <a:pt x="913" y="1422"/>
                  </a:lnTo>
                  <a:lnTo>
                    <a:pt x="914" y="1432"/>
                  </a:lnTo>
                  <a:lnTo>
                    <a:pt x="915" y="1447"/>
                  </a:lnTo>
                  <a:lnTo>
                    <a:pt x="919" y="1484"/>
                  </a:lnTo>
                  <a:lnTo>
                    <a:pt x="926" y="1532"/>
                  </a:lnTo>
                  <a:lnTo>
                    <a:pt x="931" y="1590"/>
                  </a:lnTo>
                  <a:lnTo>
                    <a:pt x="935" y="1658"/>
                  </a:lnTo>
                  <a:lnTo>
                    <a:pt x="937" y="1695"/>
                  </a:lnTo>
                  <a:lnTo>
                    <a:pt x="937" y="1734"/>
                  </a:lnTo>
                  <a:lnTo>
                    <a:pt x="935" y="1775"/>
                  </a:lnTo>
                  <a:lnTo>
                    <a:pt x="933" y="1818"/>
                  </a:lnTo>
                  <a:lnTo>
                    <a:pt x="929" y="1856"/>
                  </a:lnTo>
                  <a:lnTo>
                    <a:pt x="923" y="1895"/>
                  </a:lnTo>
                  <a:lnTo>
                    <a:pt x="914" y="1936"/>
                  </a:lnTo>
                  <a:lnTo>
                    <a:pt x="905" y="1976"/>
                  </a:lnTo>
                  <a:lnTo>
                    <a:pt x="883" y="2056"/>
                  </a:lnTo>
                  <a:lnTo>
                    <a:pt x="865" y="2131"/>
                  </a:lnTo>
                  <a:lnTo>
                    <a:pt x="858" y="2164"/>
                  </a:lnTo>
                  <a:lnTo>
                    <a:pt x="854" y="2195"/>
                  </a:lnTo>
                  <a:lnTo>
                    <a:pt x="853" y="2209"/>
                  </a:lnTo>
                  <a:lnTo>
                    <a:pt x="853" y="2221"/>
                  </a:lnTo>
                  <a:lnTo>
                    <a:pt x="853" y="2233"/>
                  </a:lnTo>
                  <a:lnTo>
                    <a:pt x="855" y="2244"/>
                  </a:lnTo>
                  <a:lnTo>
                    <a:pt x="858" y="2255"/>
                  </a:lnTo>
                  <a:lnTo>
                    <a:pt x="862" y="2263"/>
                  </a:lnTo>
                  <a:lnTo>
                    <a:pt x="867" y="2269"/>
                  </a:lnTo>
                  <a:lnTo>
                    <a:pt x="874" y="2275"/>
                  </a:lnTo>
                  <a:lnTo>
                    <a:pt x="882" y="2279"/>
                  </a:lnTo>
                  <a:lnTo>
                    <a:pt x="891" y="2281"/>
                  </a:lnTo>
                  <a:lnTo>
                    <a:pt x="902" y="2283"/>
                  </a:lnTo>
                  <a:lnTo>
                    <a:pt x="915" y="2281"/>
                  </a:lnTo>
                  <a:lnTo>
                    <a:pt x="938" y="2260"/>
                  </a:lnTo>
                  <a:lnTo>
                    <a:pt x="961" y="2241"/>
                  </a:lnTo>
                  <a:lnTo>
                    <a:pt x="981" y="2224"/>
                  </a:lnTo>
                  <a:lnTo>
                    <a:pt x="999" y="2211"/>
                  </a:lnTo>
                  <a:lnTo>
                    <a:pt x="1017" y="2200"/>
                  </a:lnTo>
                  <a:lnTo>
                    <a:pt x="1033" y="2191"/>
                  </a:lnTo>
                  <a:lnTo>
                    <a:pt x="1046" y="2184"/>
                  </a:lnTo>
                  <a:lnTo>
                    <a:pt x="1059" y="2179"/>
                  </a:lnTo>
                  <a:lnTo>
                    <a:pt x="1070" y="2176"/>
                  </a:lnTo>
                  <a:lnTo>
                    <a:pt x="1081" y="2176"/>
                  </a:lnTo>
                  <a:lnTo>
                    <a:pt x="1090" y="2176"/>
                  </a:lnTo>
                  <a:lnTo>
                    <a:pt x="1098" y="2179"/>
                  </a:lnTo>
                  <a:lnTo>
                    <a:pt x="1105" y="2181"/>
                  </a:lnTo>
                  <a:lnTo>
                    <a:pt x="1111" y="2187"/>
                  </a:lnTo>
                  <a:lnTo>
                    <a:pt x="1118" y="2193"/>
                  </a:lnTo>
                  <a:lnTo>
                    <a:pt x="1122" y="2200"/>
                  </a:lnTo>
                  <a:lnTo>
                    <a:pt x="1131" y="2217"/>
                  </a:lnTo>
                  <a:lnTo>
                    <a:pt x="1138" y="2236"/>
                  </a:lnTo>
                  <a:lnTo>
                    <a:pt x="1145" y="2257"/>
                  </a:lnTo>
                  <a:lnTo>
                    <a:pt x="1150" y="2280"/>
                  </a:lnTo>
                  <a:lnTo>
                    <a:pt x="1157" y="2301"/>
                  </a:lnTo>
                  <a:lnTo>
                    <a:pt x="1165" y="2321"/>
                  </a:lnTo>
                  <a:lnTo>
                    <a:pt x="1169" y="2331"/>
                  </a:lnTo>
                  <a:lnTo>
                    <a:pt x="1174" y="2339"/>
                  </a:lnTo>
                  <a:lnTo>
                    <a:pt x="1179" y="2347"/>
                  </a:lnTo>
                  <a:lnTo>
                    <a:pt x="1186" y="2353"/>
                  </a:lnTo>
                  <a:lnTo>
                    <a:pt x="1191" y="2348"/>
                  </a:lnTo>
                  <a:lnTo>
                    <a:pt x="1195" y="2340"/>
                  </a:lnTo>
                  <a:lnTo>
                    <a:pt x="1198" y="2332"/>
                  </a:lnTo>
                  <a:lnTo>
                    <a:pt x="1199" y="2324"/>
                  </a:lnTo>
                  <a:lnTo>
                    <a:pt x="1199" y="2304"/>
                  </a:lnTo>
                  <a:lnTo>
                    <a:pt x="1197" y="2284"/>
                  </a:lnTo>
                  <a:lnTo>
                    <a:pt x="1193" y="2263"/>
                  </a:lnTo>
                  <a:lnTo>
                    <a:pt x="1191" y="2243"/>
                  </a:lnTo>
                  <a:lnTo>
                    <a:pt x="1191" y="2233"/>
                  </a:lnTo>
                  <a:lnTo>
                    <a:pt x="1191" y="2224"/>
                  </a:lnTo>
                  <a:lnTo>
                    <a:pt x="1194" y="2216"/>
                  </a:lnTo>
                  <a:lnTo>
                    <a:pt x="1198" y="2209"/>
                  </a:lnTo>
                  <a:lnTo>
                    <a:pt x="1198" y="2201"/>
                  </a:lnTo>
                  <a:lnTo>
                    <a:pt x="1199" y="2196"/>
                  </a:lnTo>
                  <a:lnTo>
                    <a:pt x="1201" y="2192"/>
                  </a:lnTo>
                  <a:lnTo>
                    <a:pt x="1202" y="2191"/>
                  </a:lnTo>
                  <a:lnTo>
                    <a:pt x="1203" y="2192"/>
                  </a:lnTo>
                  <a:lnTo>
                    <a:pt x="1206" y="2193"/>
                  </a:lnTo>
                  <a:lnTo>
                    <a:pt x="1209" y="2197"/>
                  </a:lnTo>
                  <a:lnTo>
                    <a:pt x="1210" y="2201"/>
                  </a:lnTo>
                  <a:lnTo>
                    <a:pt x="1223" y="2231"/>
                  </a:lnTo>
                  <a:lnTo>
                    <a:pt x="1241" y="2267"/>
                  </a:lnTo>
                  <a:lnTo>
                    <a:pt x="1251" y="2284"/>
                  </a:lnTo>
                  <a:lnTo>
                    <a:pt x="1263" y="2299"/>
                  </a:lnTo>
                  <a:lnTo>
                    <a:pt x="1269" y="2305"/>
                  </a:lnTo>
                  <a:lnTo>
                    <a:pt x="1275" y="2311"/>
                  </a:lnTo>
                  <a:lnTo>
                    <a:pt x="1283" y="2315"/>
                  </a:lnTo>
                  <a:lnTo>
                    <a:pt x="1290" y="2317"/>
                  </a:lnTo>
                  <a:lnTo>
                    <a:pt x="1298" y="2319"/>
                  </a:lnTo>
                  <a:lnTo>
                    <a:pt x="1306" y="2319"/>
                  </a:lnTo>
                  <a:lnTo>
                    <a:pt x="1314" y="2316"/>
                  </a:lnTo>
                  <a:lnTo>
                    <a:pt x="1323" y="2311"/>
                  </a:lnTo>
                  <a:lnTo>
                    <a:pt x="1331" y="2304"/>
                  </a:lnTo>
                  <a:lnTo>
                    <a:pt x="1341" y="2296"/>
                  </a:lnTo>
                  <a:lnTo>
                    <a:pt x="1350" y="2284"/>
                  </a:lnTo>
                  <a:lnTo>
                    <a:pt x="1361" y="2269"/>
                  </a:lnTo>
                  <a:lnTo>
                    <a:pt x="1371" y="2263"/>
                  </a:lnTo>
                  <a:lnTo>
                    <a:pt x="1379" y="2255"/>
                  </a:lnTo>
                  <a:lnTo>
                    <a:pt x="1383" y="2247"/>
                  </a:lnTo>
                  <a:lnTo>
                    <a:pt x="1386" y="2237"/>
                  </a:lnTo>
                  <a:lnTo>
                    <a:pt x="1386" y="2228"/>
                  </a:lnTo>
                  <a:lnTo>
                    <a:pt x="1383" y="2217"/>
                  </a:lnTo>
                  <a:lnTo>
                    <a:pt x="1381" y="2207"/>
                  </a:lnTo>
                  <a:lnTo>
                    <a:pt x="1377" y="2195"/>
                  </a:lnTo>
                  <a:lnTo>
                    <a:pt x="1366" y="2165"/>
                  </a:lnTo>
                  <a:lnTo>
                    <a:pt x="1354" y="2132"/>
                  </a:lnTo>
                  <a:lnTo>
                    <a:pt x="1350" y="2113"/>
                  </a:lnTo>
                  <a:lnTo>
                    <a:pt x="1346" y="2092"/>
                  </a:lnTo>
                  <a:lnTo>
                    <a:pt x="1343" y="2071"/>
                  </a:lnTo>
                  <a:lnTo>
                    <a:pt x="1342" y="2047"/>
                  </a:lnTo>
                  <a:lnTo>
                    <a:pt x="1358" y="2031"/>
                  </a:lnTo>
                  <a:lnTo>
                    <a:pt x="1373" y="2016"/>
                  </a:lnTo>
                  <a:lnTo>
                    <a:pt x="1386" y="2004"/>
                  </a:lnTo>
                  <a:lnTo>
                    <a:pt x="1400" y="1993"/>
                  </a:lnTo>
                  <a:lnTo>
                    <a:pt x="1414" y="1984"/>
                  </a:lnTo>
                  <a:lnTo>
                    <a:pt x="1426" y="1976"/>
                  </a:lnTo>
                  <a:lnTo>
                    <a:pt x="1439" y="1969"/>
                  </a:lnTo>
                  <a:lnTo>
                    <a:pt x="1451" y="1964"/>
                  </a:lnTo>
                  <a:lnTo>
                    <a:pt x="1463" y="1960"/>
                  </a:lnTo>
                  <a:lnTo>
                    <a:pt x="1475" y="1956"/>
                  </a:lnTo>
                  <a:lnTo>
                    <a:pt x="1486" y="1955"/>
                  </a:lnTo>
                  <a:lnTo>
                    <a:pt x="1496" y="1953"/>
                  </a:lnTo>
                  <a:lnTo>
                    <a:pt x="1507" y="1953"/>
                  </a:lnTo>
                  <a:lnTo>
                    <a:pt x="1518" y="1955"/>
                  </a:lnTo>
                  <a:lnTo>
                    <a:pt x="1527" y="1956"/>
                  </a:lnTo>
                  <a:lnTo>
                    <a:pt x="1538" y="1957"/>
                  </a:lnTo>
                  <a:lnTo>
                    <a:pt x="1555" y="1963"/>
                  </a:lnTo>
                  <a:lnTo>
                    <a:pt x="1572" y="1969"/>
                  </a:lnTo>
                  <a:lnTo>
                    <a:pt x="1588" y="1977"/>
                  </a:lnTo>
                  <a:lnTo>
                    <a:pt x="1604" y="1985"/>
                  </a:lnTo>
                  <a:lnTo>
                    <a:pt x="1618" y="1993"/>
                  </a:lnTo>
                  <a:lnTo>
                    <a:pt x="1631" y="1999"/>
                  </a:lnTo>
                  <a:lnTo>
                    <a:pt x="1644" y="2003"/>
                  </a:lnTo>
                  <a:lnTo>
                    <a:pt x="1655" y="2004"/>
                  </a:lnTo>
                  <a:lnTo>
                    <a:pt x="1683" y="2001"/>
                  </a:lnTo>
                  <a:lnTo>
                    <a:pt x="1708" y="1999"/>
                  </a:lnTo>
                  <a:lnTo>
                    <a:pt x="1730" y="1997"/>
                  </a:lnTo>
                  <a:lnTo>
                    <a:pt x="1748" y="1996"/>
                  </a:lnTo>
                  <a:lnTo>
                    <a:pt x="1763" y="1997"/>
                  </a:lnTo>
                  <a:lnTo>
                    <a:pt x="1776" y="1999"/>
                  </a:lnTo>
                  <a:lnTo>
                    <a:pt x="1787" y="2000"/>
                  </a:lnTo>
                  <a:lnTo>
                    <a:pt x="1795" y="2003"/>
                  </a:lnTo>
                  <a:lnTo>
                    <a:pt x="1800" y="2005"/>
                  </a:lnTo>
                  <a:lnTo>
                    <a:pt x="1804" y="2009"/>
                  </a:lnTo>
                  <a:lnTo>
                    <a:pt x="1807" y="2013"/>
                  </a:lnTo>
                  <a:lnTo>
                    <a:pt x="1807" y="2019"/>
                  </a:lnTo>
                  <a:lnTo>
                    <a:pt x="1807" y="2024"/>
                  </a:lnTo>
                  <a:lnTo>
                    <a:pt x="1804" y="2029"/>
                  </a:lnTo>
                  <a:lnTo>
                    <a:pt x="1802" y="2035"/>
                  </a:lnTo>
                  <a:lnTo>
                    <a:pt x="1799" y="2040"/>
                  </a:lnTo>
                  <a:lnTo>
                    <a:pt x="1780" y="2064"/>
                  </a:lnTo>
                  <a:lnTo>
                    <a:pt x="1764" y="2087"/>
                  </a:lnTo>
                  <a:lnTo>
                    <a:pt x="1762" y="2092"/>
                  </a:lnTo>
                  <a:lnTo>
                    <a:pt x="1760" y="2097"/>
                  </a:lnTo>
                  <a:lnTo>
                    <a:pt x="1760" y="2101"/>
                  </a:lnTo>
                  <a:lnTo>
                    <a:pt x="1763" y="2104"/>
                  </a:lnTo>
                  <a:lnTo>
                    <a:pt x="1766" y="2108"/>
                  </a:lnTo>
                  <a:lnTo>
                    <a:pt x="1771" y="2111"/>
                  </a:lnTo>
                  <a:lnTo>
                    <a:pt x="1779" y="2112"/>
                  </a:lnTo>
                  <a:lnTo>
                    <a:pt x="1788" y="2113"/>
                  </a:lnTo>
                  <a:lnTo>
                    <a:pt x="1804" y="2116"/>
                  </a:lnTo>
                  <a:lnTo>
                    <a:pt x="1820" y="2120"/>
                  </a:lnTo>
                  <a:lnTo>
                    <a:pt x="1835" y="2125"/>
                  </a:lnTo>
                  <a:lnTo>
                    <a:pt x="1848" y="2132"/>
                  </a:lnTo>
                  <a:lnTo>
                    <a:pt x="1862" y="2139"/>
                  </a:lnTo>
                  <a:lnTo>
                    <a:pt x="1875" y="2147"/>
                  </a:lnTo>
                  <a:lnTo>
                    <a:pt x="1887" y="2156"/>
                  </a:lnTo>
                  <a:lnTo>
                    <a:pt x="1898" y="2165"/>
                  </a:lnTo>
                  <a:lnTo>
                    <a:pt x="1908" y="2176"/>
                  </a:lnTo>
                  <a:lnTo>
                    <a:pt x="1919" y="2187"/>
                  </a:lnTo>
                  <a:lnTo>
                    <a:pt x="1928" y="2197"/>
                  </a:lnTo>
                  <a:lnTo>
                    <a:pt x="1938" y="2209"/>
                  </a:lnTo>
                  <a:lnTo>
                    <a:pt x="1954" y="2236"/>
                  </a:lnTo>
                  <a:lnTo>
                    <a:pt x="1970" y="2263"/>
                  </a:lnTo>
                  <a:lnTo>
                    <a:pt x="1983" y="2291"/>
                  </a:lnTo>
                  <a:lnTo>
                    <a:pt x="1996" y="2321"/>
                  </a:lnTo>
                  <a:lnTo>
                    <a:pt x="2008" y="2351"/>
                  </a:lnTo>
                  <a:lnTo>
                    <a:pt x="2019" y="2381"/>
                  </a:lnTo>
                  <a:lnTo>
                    <a:pt x="2042" y="2441"/>
                  </a:lnTo>
                  <a:lnTo>
                    <a:pt x="2066" y="2498"/>
                  </a:lnTo>
                  <a:lnTo>
                    <a:pt x="2083" y="2532"/>
                  </a:lnTo>
                  <a:lnTo>
                    <a:pt x="2102" y="2565"/>
                  </a:lnTo>
                  <a:lnTo>
                    <a:pt x="2123" y="2597"/>
                  </a:lnTo>
                  <a:lnTo>
                    <a:pt x="2144" y="2626"/>
                  </a:lnTo>
                  <a:lnTo>
                    <a:pt x="2191" y="2686"/>
                  </a:lnTo>
                  <a:lnTo>
                    <a:pt x="2239" y="2744"/>
                  </a:lnTo>
                  <a:lnTo>
                    <a:pt x="2263" y="2773"/>
                  </a:lnTo>
                  <a:lnTo>
                    <a:pt x="2287" y="2801"/>
                  </a:lnTo>
                  <a:lnTo>
                    <a:pt x="2309" y="2832"/>
                  </a:lnTo>
                  <a:lnTo>
                    <a:pt x="2332" y="2862"/>
                  </a:lnTo>
                  <a:lnTo>
                    <a:pt x="2353" y="2894"/>
                  </a:lnTo>
                  <a:lnTo>
                    <a:pt x="2373" y="2928"/>
                  </a:lnTo>
                  <a:lnTo>
                    <a:pt x="2391" y="2961"/>
                  </a:lnTo>
                  <a:lnTo>
                    <a:pt x="2408" y="2998"/>
                  </a:lnTo>
                  <a:lnTo>
                    <a:pt x="2417" y="3020"/>
                  </a:lnTo>
                  <a:lnTo>
                    <a:pt x="2423" y="3041"/>
                  </a:lnTo>
                  <a:lnTo>
                    <a:pt x="2427" y="3061"/>
                  </a:lnTo>
                  <a:lnTo>
                    <a:pt x="2429" y="3079"/>
                  </a:lnTo>
                  <a:lnTo>
                    <a:pt x="2429" y="3099"/>
                  </a:lnTo>
                  <a:lnTo>
                    <a:pt x="2428" y="3118"/>
                  </a:lnTo>
                  <a:lnTo>
                    <a:pt x="2427" y="3138"/>
                  </a:lnTo>
                  <a:lnTo>
                    <a:pt x="2424" y="3158"/>
                  </a:lnTo>
                  <a:lnTo>
                    <a:pt x="2419" y="3202"/>
                  </a:lnTo>
                  <a:lnTo>
                    <a:pt x="2416" y="3251"/>
                  </a:lnTo>
                  <a:lnTo>
                    <a:pt x="2416" y="3278"/>
                  </a:lnTo>
                  <a:lnTo>
                    <a:pt x="2417" y="3309"/>
                  </a:lnTo>
                  <a:lnTo>
                    <a:pt x="2420" y="3342"/>
                  </a:lnTo>
                  <a:lnTo>
                    <a:pt x="2427" y="3377"/>
                  </a:lnTo>
                  <a:lnTo>
                    <a:pt x="2411" y="3382"/>
                  </a:lnTo>
                  <a:lnTo>
                    <a:pt x="2397" y="3389"/>
                  </a:lnTo>
                  <a:lnTo>
                    <a:pt x="2391" y="3391"/>
                  </a:lnTo>
                  <a:lnTo>
                    <a:pt x="2384" y="3393"/>
                  </a:lnTo>
                  <a:lnTo>
                    <a:pt x="2379" y="3395"/>
                  </a:lnTo>
                  <a:lnTo>
                    <a:pt x="2372" y="3395"/>
                  </a:lnTo>
                  <a:lnTo>
                    <a:pt x="2367" y="3394"/>
                  </a:lnTo>
                  <a:lnTo>
                    <a:pt x="2363" y="3393"/>
                  </a:lnTo>
                  <a:lnTo>
                    <a:pt x="2360" y="3389"/>
                  </a:lnTo>
                  <a:lnTo>
                    <a:pt x="2357" y="3385"/>
                  </a:lnTo>
                  <a:lnTo>
                    <a:pt x="2355" y="3373"/>
                  </a:lnTo>
                  <a:lnTo>
                    <a:pt x="2353" y="3359"/>
                  </a:lnTo>
                  <a:lnTo>
                    <a:pt x="2353" y="3346"/>
                  </a:lnTo>
                  <a:lnTo>
                    <a:pt x="2352" y="3331"/>
                  </a:lnTo>
                  <a:lnTo>
                    <a:pt x="2351" y="3319"/>
                  </a:lnTo>
                  <a:lnTo>
                    <a:pt x="2348" y="3311"/>
                  </a:lnTo>
                  <a:lnTo>
                    <a:pt x="2347" y="3309"/>
                  </a:lnTo>
                  <a:lnTo>
                    <a:pt x="2343" y="3305"/>
                  </a:lnTo>
                  <a:lnTo>
                    <a:pt x="2337" y="3301"/>
                  </a:lnTo>
                  <a:lnTo>
                    <a:pt x="2329" y="3295"/>
                  </a:lnTo>
                  <a:lnTo>
                    <a:pt x="2311" y="3285"/>
                  </a:lnTo>
                  <a:lnTo>
                    <a:pt x="2289" y="3273"/>
                  </a:lnTo>
                  <a:lnTo>
                    <a:pt x="2267" y="3262"/>
                  </a:lnTo>
                  <a:lnTo>
                    <a:pt x="2247" y="3253"/>
                  </a:lnTo>
                  <a:lnTo>
                    <a:pt x="2231" y="3247"/>
                  </a:lnTo>
                  <a:lnTo>
                    <a:pt x="2221" y="3245"/>
                  </a:lnTo>
                  <a:lnTo>
                    <a:pt x="2119" y="3389"/>
                  </a:lnTo>
                  <a:lnTo>
                    <a:pt x="2135" y="3397"/>
                  </a:lnTo>
                  <a:lnTo>
                    <a:pt x="2168" y="3413"/>
                  </a:lnTo>
                  <a:lnTo>
                    <a:pt x="2188" y="3422"/>
                  </a:lnTo>
                  <a:lnTo>
                    <a:pt x="2205" y="3430"/>
                  </a:lnTo>
                  <a:lnTo>
                    <a:pt x="2219" y="3435"/>
                  </a:lnTo>
                  <a:lnTo>
                    <a:pt x="2228" y="3438"/>
                  </a:lnTo>
                  <a:lnTo>
                    <a:pt x="2241" y="3437"/>
                  </a:lnTo>
                  <a:lnTo>
                    <a:pt x="2252" y="3435"/>
                  </a:lnTo>
                  <a:lnTo>
                    <a:pt x="2259" y="3433"/>
                  </a:lnTo>
                  <a:lnTo>
                    <a:pt x="2265" y="3430"/>
                  </a:lnTo>
                  <a:lnTo>
                    <a:pt x="2272" y="3430"/>
                  </a:lnTo>
                  <a:lnTo>
                    <a:pt x="2279" y="3430"/>
                  </a:lnTo>
                  <a:lnTo>
                    <a:pt x="2288" y="3433"/>
                  </a:lnTo>
                  <a:lnTo>
                    <a:pt x="2300" y="3438"/>
                  </a:lnTo>
                  <a:lnTo>
                    <a:pt x="2300" y="3534"/>
                  </a:lnTo>
                  <a:lnTo>
                    <a:pt x="2296" y="3541"/>
                  </a:lnTo>
                  <a:lnTo>
                    <a:pt x="2291" y="3546"/>
                  </a:lnTo>
                  <a:lnTo>
                    <a:pt x="2285" y="3551"/>
                  </a:lnTo>
                  <a:lnTo>
                    <a:pt x="2279" y="3557"/>
                  </a:lnTo>
                  <a:lnTo>
                    <a:pt x="2265" y="3566"/>
                  </a:lnTo>
                  <a:lnTo>
                    <a:pt x="2251" y="3574"/>
                  </a:lnTo>
                  <a:lnTo>
                    <a:pt x="2237" y="3582"/>
                  </a:lnTo>
                  <a:lnTo>
                    <a:pt x="2225" y="3590"/>
                  </a:lnTo>
                  <a:lnTo>
                    <a:pt x="2221" y="3594"/>
                  </a:lnTo>
                  <a:lnTo>
                    <a:pt x="2219" y="3598"/>
                  </a:lnTo>
                  <a:lnTo>
                    <a:pt x="2216" y="3602"/>
                  </a:lnTo>
                  <a:lnTo>
                    <a:pt x="2215" y="3606"/>
                  </a:lnTo>
                  <a:lnTo>
                    <a:pt x="2216" y="3611"/>
                  </a:lnTo>
                  <a:lnTo>
                    <a:pt x="2217" y="3617"/>
                  </a:lnTo>
                  <a:lnTo>
                    <a:pt x="2219" y="3622"/>
                  </a:lnTo>
                  <a:lnTo>
                    <a:pt x="2221" y="3627"/>
                  </a:lnTo>
                  <a:lnTo>
                    <a:pt x="2228" y="3638"/>
                  </a:lnTo>
                  <a:lnTo>
                    <a:pt x="2236" y="3649"/>
                  </a:lnTo>
                  <a:lnTo>
                    <a:pt x="2244" y="3658"/>
                  </a:lnTo>
                  <a:lnTo>
                    <a:pt x="2251" y="3668"/>
                  </a:lnTo>
                  <a:lnTo>
                    <a:pt x="2253" y="3674"/>
                  </a:lnTo>
                  <a:lnTo>
                    <a:pt x="2256" y="3679"/>
                  </a:lnTo>
                  <a:lnTo>
                    <a:pt x="2257" y="3684"/>
                  </a:lnTo>
                  <a:lnTo>
                    <a:pt x="2257" y="3690"/>
                  </a:lnTo>
                  <a:lnTo>
                    <a:pt x="2257" y="3700"/>
                  </a:lnTo>
                  <a:lnTo>
                    <a:pt x="2256" y="3710"/>
                  </a:lnTo>
                  <a:lnTo>
                    <a:pt x="2253" y="3719"/>
                  </a:lnTo>
                  <a:lnTo>
                    <a:pt x="2251" y="3728"/>
                  </a:lnTo>
                  <a:lnTo>
                    <a:pt x="2247" y="3736"/>
                  </a:lnTo>
                  <a:lnTo>
                    <a:pt x="2241" y="3744"/>
                  </a:lnTo>
                  <a:lnTo>
                    <a:pt x="2236" y="3751"/>
                  </a:lnTo>
                  <a:lnTo>
                    <a:pt x="2231" y="3758"/>
                  </a:lnTo>
                  <a:lnTo>
                    <a:pt x="2224" y="3763"/>
                  </a:lnTo>
                  <a:lnTo>
                    <a:pt x="2217" y="3768"/>
                  </a:lnTo>
                  <a:lnTo>
                    <a:pt x="2209" y="3774"/>
                  </a:lnTo>
                  <a:lnTo>
                    <a:pt x="2201" y="3779"/>
                  </a:lnTo>
                  <a:lnTo>
                    <a:pt x="2183" y="3787"/>
                  </a:lnTo>
                  <a:lnTo>
                    <a:pt x="2164" y="3794"/>
                  </a:lnTo>
                  <a:lnTo>
                    <a:pt x="2144" y="3799"/>
                  </a:lnTo>
                  <a:lnTo>
                    <a:pt x="2123" y="3803"/>
                  </a:lnTo>
                  <a:lnTo>
                    <a:pt x="2102" y="3806"/>
                  </a:lnTo>
                  <a:lnTo>
                    <a:pt x="2080" y="3808"/>
                  </a:lnTo>
                  <a:lnTo>
                    <a:pt x="2038" y="3810"/>
                  </a:lnTo>
                  <a:lnTo>
                    <a:pt x="1999" y="3811"/>
                  </a:lnTo>
                  <a:lnTo>
                    <a:pt x="1992" y="3811"/>
                  </a:lnTo>
                  <a:lnTo>
                    <a:pt x="1987" y="3814"/>
                  </a:lnTo>
                  <a:lnTo>
                    <a:pt x="1980" y="3816"/>
                  </a:lnTo>
                  <a:lnTo>
                    <a:pt x="1975" y="3822"/>
                  </a:lnTo>
                  <a:lnTo>
                    <a:pt x="1963" y="3834"/>
                  </a:lnTo>
                  <a:lnTo>
                    <a:pt x="1951" y="3847"/>
                  </a:lnTo>
                  <a:lnTo>
                    <a:pt x="1942" y="3863"/>
                  </a:lnTo>
                  <a:lnTo>
                    <a:pt x="1934" y="3879"/>
                  </a:lnTo>
                  <a:lnTo>
                    <a:pt x="1931" y="3887"/>
                  </a:lnTo>
                  <a:lnTo>
                    <a:pt x="1928" y="3894"/>
                  </a:lnTo>
                  <a:lnTo>
                    <a:pt x="1927" y="3900"/>
                  </a:lnTo>
                  <a:lnTo>
                    <a:pt x="1927" y="3907"/>
                  </a:lnTo>
                  <a:lnTo>
                    <a:pt x="1927" y="3922"/>
                  </a:lnTo>
                  <a:lnTo>
                    <a:pt x="1930" y="3934"/>
                  </a:lnTo>
                  <a:lnTo>
                    <a:pt x="1934" y="3944"/>
                  </a:lnTo>
                  <a:lnTo>
                    <a:pt x="1939" y="3954"/>
                  </a:lnTo>
                  <a:lnTo>
                    <a:pt x="1943" y="3963"/>
                  </a:lnTo>
                  <a:lnTo>
                    <a:pt x="1947" y="3971"/>
                  </a:lnTo>
                  <a:lnTo>
                    <a:pt x="1950" y="3980"/>
                  </a:lnTo>
                  <a:lnTo>
                    <a:pt x="1951" y="3991"/>
                  </a:lnTo>
                  <a:lnTo>
                    <a:pt x="1950" y="3998"/>
                  </a:lnTo>
                  <a:lnTo>
                    <a:pt x="1948" y="4003"/>
                  </a:lnTo>
                  <a:lnTo>
                    <a:pt x="1947" y="4008"/>
                  </a:lnTo>
                  <a:lnTo>
                    <a:pt x="1944" y="4012"/>
                  </a:lnTo>
                  <a:lnTo>
                    <a:pt x="1942" y="4016"/>
                  </a:lnTo>
                  <a:lnTo>
                    <a:pt x="1938" y="4019"/>
                  </a:lnTo>
                  <a:lnTo>
                    <a:pt x="1934" y="4020"/>
                  </a:lnTo>
                  <a:lnTo>
                    <a:pt x="1928" y="4023"/>
                  </a:lnTo>
                  <a:lnTo>
                    <a:pt x="1919" y="4026"/>
                  </a:lnTo>
                  <a:lnTo>
                    <a:pt x="1907" y="4027"/>
                  </a:lnTo>
                  <a:lnTo>
                    <a:pt x="1896" y="4027"/>
                  </a:lnTo>
                  <a:lnTo>
                    <a:pt x="1884" y="4027"/>
                  </a:lnTo>
                  <a:lnTo>
                    <a:pt x="1884" y="4022"/>
                  </a:lnTo>
                  <a:lnTo>
                    <a:pt x="1874" y="3987"/>
                  </a:lnTo>
                  <a:lnTo>
                    <a:pt x="1864" y="3954"/>
                  </a:lnTo>
                  <a:lnTo>
                    <a:pt x="1858" y="3919"/>
                  </a:lnTo>
                  <a:lnTo>
                    <a:pt x="1852" y="3883"/>
                  </a:lnTo>
                  <a:lnTo>
                    <a:pt x="1850" y="3864"/>
                  </a:lnTo>
                  <a:lnTo>
                    <a:pt x="1850" y="3846"/>
                  </a:lnTo>
                  <a:lnTo>
                    <a:pt x="1850" y="3827"/>
                  </a:lnTo>
                  <a:lnTo>
                    <a:pt x="1850" y="3808"/>
                  </a:lnTo>
                  <a:lnTo>
                    <a:pt x="1851" y="3788"/>
                  </a:lnTo>
                  <a:lnTo>
                    <a:pt x="1854" y="3768"/>
                  </a:lnTo>
                  <a:lnTo>
                    <a:pt x="1856" y="3747"/>
                  </a:lnTo>
                  <a:lnTo>
                    <a:pt x="1860" y="3726"/>
                  </a:lnTo>
                  <a:lnTo>
                    <a:pt x="1848" y="3724"/>
                  </a:lnTo>
                  <a:lnTo>
                    <a:pt x="1838" y="3722"/>
                  </a:lnTo>
                  <a:lnTo>
                    <a:pt x="1828" y="3718"/>
                  </a:lnTo>
                  <a:lnTo>
                    <a:pt x="1819" y="3714"/>
                  </a:lnTo>
                  <a:lnTo>
                    <a:pt x="1812" y="3708"/>
                  </a:lnTo>
                  <a:lnTo>
                    <a:pt x="1804" y="3703"/>
                  </a:lnTo>
                  <a:lnTo>
                    <a:pt x="1798" y="3696"/>
                  </a:lnTo>
                  <a:lnTo>
                    <a:pt x="1792" y="3690"/>
                  </a:lnTo>
                  <a:lnTo>
                    <a:pt x="1772" y="3662"/>
                  </a:lnTo>
                  <a:lnTo>
                    <a:pt x="1752" y="3637"/>
                  </a:lnTo>
                  <a:lnTo>
                    <a:pt x="1746" y="3627"/>
                  </a:lnTo>
                  <a:lnTo>
                    <a:pt x="1738" y="3619"/>
                  </a:lnTo>
                  <a:lnTo>
                    <a:pt x="1734" y="3617"/>
                  </a:lnTo>
                  <a:lnTo>
                    <a:pt x="1728" y="3614"/>
                  </a:lnTo>
                  <a:lnTo>
                    <a:pt x="1722" y="3613"/>
                  </a:lnTo>
                  <a:lnTo>
                    <a:pt x="1715" y="3613"/>
                  </a:lnTo>
                  <a:lnTo>
                    <a:pt x="1703" y="3623"/>
                  </a:lnTo>
                  <a:lnTo>
                    <a:pt x="1692" y="3635"/>
                  </a:lnTo>
                  <a:lnTo>
                    <a:pt x="1682" y="3650"/>
                  </a:lnTo>
                  <a:lnTo>
                    <a:pt x="1672" y="3664"/>
                  </a:lnTo>
                  <a:lnTo>
                    <a:pt x="1654" y="3698"/>
                  </a:lnTo>
                  <a:lnTo>
                    <a:pt x="1636" y="3735"/>
                  </a:lnTo>
                  <a:lnTo>
                    <a:pt x="1619" y="3774"/>
                  </a:lnTo>
                  <a:lnTo>
                    <a:pt x="1602" y="3812"/>
                  </a:lnTo>
                  <a:lnTo>
                    <a:pt x="1584" y="3851"/>
                  </a:lnTo>
                  <a:lnTo>
                    <a:pt x="1566" y="3888"/>
                  </a:lnTo>
                  <a:lnTo>
                    <a:pt x="1548" y="3918"/>
                  </a:lnTo>
                  <a:lnTo>
                    <a:pt x="1530" y="3946"/>
                  </a:lnTo>
                  <a:lnTo>
                    <a:pt x="1510" y="3972"/>
                  </a:lnTo>
                  <a:lnTo>
                    <a:pt x="1490" y="3998"/>
                  </a:lnTo>
                  <a:lnTo>
                    <a:pt x="1467" y="4020"/>
                  </a:lnTo>
                  <a:lnTo>
                    <a:pt x="1446" y="4042"/>
                  </a:lnTo>
                  <a:lnTo>
                    <a:pt x="1423" y="4060"/>
                  </a:lnTo>
                  <a:lnTo>
                    <a:pt x="1400" y="4075"/>
                  </a:lnTo>
                  <a:lnTo>
                    <a:pt x="1390" y="4082"/>
                  </a:lnTo>
                  <a:lnTo>
                    <a:pt x="1378" y="4088"/>
                  </a:lnTo>
                  <a:lnTo>
                    <a:pt x="1367" y="4094"/>
                  </a:lnTo>
                  <a:lnTo>
                    <a:pt x="1357" y="4098"/>
                  </a:lnTo>
                  <a:lnTo>
                    <a:pt x="1346" y="4100"/>
                  </a:lnTo>
                  <a:lnTo>
                    <a:pt x="1337" y="4103"/>
                  </a:lnTo>
                  <a:lnTo>
                    <a:pt x="1326" y="4104"/>
                  </a:lnTo>
                  <a:lnTo>
                    <a:pt x="1317" y="4104"/>
                  </a:lnTo>
                  <a:lnTo>
                    <a:pt x="1309" y="4103"/>
                  </a:lnTo>
                  <a:lnTo>
                    <a:pt x="1299" y="4102"/>
                  </a:lnTo>
                  <a:lnTo>
                    <a:pt x="1291" y="4098"/>
                  </a:lnTo>
                  <a:lnTo>
                    <a:pt x="1283" y="4094"/>
                  </a:lnTo>
                  <a:lnTo>
                    <a:pt x="1277" y="4088"/>
                  </a:lnTo>
                  <a:lnTo>
                    <a:pt x="1270" y="4082"/>
                  </a:lnTo>
                  <a:lnTo>
                    <a:pt x="1263" y="4074"/>
                  </a:lnTo>
                  <a:lnTo>
                    <a:pt x="1258" y="4063"/>
                  </a:lnTo>
                  <a:lnTo>
                    <a:pt x="1222" y="3990"/>
                  </a:lnTo>
                  <a:lnTo>
                    <a:pt x="1202" y="3944"/>
                  </a:lnTo>
                  <a:lnTo>
                    <a:pt x="1198" y="3936"/>
                  </a:lnTo>
                  <a:lnTo>
                    <a:pt x="1193" y="3930"/>
                  </a:lnTo>
                  <a:lnTo>
                    <a:pt x="1187" y="3924"/>
                  </a:lnTo>
                  <a:lnTo>
                    <a:pt x="1181" y="3919"/>
                  </a:lnTo>
                  <a:lnTo>
                    <a:pt x="1173" y="3915"/>
                  </a:lnTo>
                  <a:lnTo>
                    <a:pt x="1162" y="3912"/>
                  </a:lnTo>
                  <a:lnTo>
                    <a:pt x="1151" y="3910"/>
                  </a:lnTo>
                  <a:lnTo>
                    <a:pt x="1138" y="3907"/>
                  </a:lnTo>
                  <a:lnTo>
                    <a:pt x="1146" y="3896"/>
                  </a:lnTo>
                  <a:lnTo>
                    <a:pt x="1153" y="3886"/>
                  </a:lnTo>
                  <a:lnTo>
                    <a:pt x="1158" y="3876"/>
                  </a:lnTo>
                  <a:lnTo>
                    <a:pt x="1162" y="3867"/>
                  </a:lnTo>
                  <a:lnTo>
                    <a:pt x="1165" y="3858"/>
                  </a:lnTo>
                  <a:lnTo>
                    <a:pt x="1166" y="3847"/>
                  </a:lnTo>
                  <a:lnTo>
                    <a:pt x="1167" y="3835"/>
                  </a:lnTo>
                  <a:lnTo>
                    <a:pt x="1167" y="3823"/>
                  </a:lnTo>
                  <a:lnTo>
                    <a:pt x="1167" y="3812"/>
                  </a:lnTo>
                  <a:lnTo>
                    <a:pt x="1167" y="3807"/>
                  </a:lnTo>
                  <a:lnTo>
                    <a:pt x="1167" y="3802"/>
                  </a:lnTo>
                  <a:lnTo>
                    <a:pt x="1167" y="3792"/>
                  </a:lnTo>
                  <a:lnTo>
                    <a:pt x="1169" y="3786"/>
                  </a:lnTo>
                  <a:lnTo>
                    <a:pt x="1169" y="3779"/>
                  </a:lnTo>
                  <a:lnTo>
                    <a:pt x="1170" y="3774"/>
                  </a:lnTo>
                  <a:lnTo>
                    <a:pt x="1173" y="3770"/>
                  </a:lnTo>
                  <a:lnTo>
                    <a:pt x="1178" y="3762"/>
                  </a:lnTo>
                  <a:lnTo>
                    <a:pt x="1183" y="3756"/>
                  </a:lnTo>
                  <a:lnTo>
                    <a:pt x="1190" y="3751"/>
                  </a:lnTo>
                  <a:lnTo>
                    <a:pt x="1195" y="3743"/>
                  </a:lnTo>
                  <a:lnTo>
                    <a:pt x="1198" y="3739"/>
                  </a:lnTo>
                  <a:lnTo>
                    <a:pt x="1201" y="3734"/>
                  </a:lnTo>
                  <a:lnTo>
                    <a:pt x="1202" y="3727"/>
                  </a:lnTo>
                  <a:lnTo>
                    <a:pt x="1203" y="3720"/>
                  </a:lnTo>
                  <a:lnTo>
                    <a:pt x="1203" y="3726"/>
                  </a:lnTo>
                  <a:lnTo>
                    <a:pt x="1203" y="372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8701409" y="4867275"/>
              <a:ext cx="49213" cy="139700"/>
            </a:xfrm>
            <a:custGeom>
              <a:avLst/>
              <a:gdLst/>
              <a:ahLst/>
              <a:cxnLst>
                <a:cxn ang="0">
                  <a:pos x="0" y="108"/>
                </a:cxn>
                <a:cxn ang="0">
                  <a:pos x="1" y="123"/>
                </a:cxn>
                <a:cxn ang="0">
                  <a:pos x="4" y="133"/>
                </a:cxn>
                <a:cxn ang="0">
                  <a:pos x="8" y="141"/>
                </a:cxn>
                <a:cxn ang="0">
                  <a:pos x="12" y="151"/>
                </a:cxn>
                <a:cxn ang="0">
                  <a:pos x="22" y="197"/>
                </a:cxn>
                <a:cxn ang="0">
                  <a:pos x="34" y="243"/>
                </a:cxn>
                <a:cxn ang="0">
                  <a:pos x="38" y="252"/>
                </a:cxn>
                <a:cxn ang="0">
                  <a:pos x="44" y="261"/>
                </a:cxn>
                <a:cxn ang="0">
                  <a:pos x="50" y="269"/>
                </a:cxn>
                <a:cxn ang="0">
                  <a:pos x="58" y="276"/>
                </a:cxn>
                <a:cxn ang="0">
                  <a:pos x="66" y="281"/>
                </a:cxn>
                <a:cxn ang="0">
                  <a:pos x="77" y="285"/>
                </a:cxn>
                <a:cxn ang="0">
                  <a:pos x="89" y="288"/>
                </a:cxn>
                <a:cxn ang="0">
                  <a:pos x="102" y="289"/>
                </a:cxn>
                <a:cxn ang="0">
                  <a:pos x="102" y="271"/>
                </a:cxn>
                <a:cxn ang="0">
                  <a:pos x="92" y="257"/>
                </a:cxn>
                <a:cxn ang="0">
                  <a:pos x="80" y="239"/>
                </a:cxn>
                <a:cxn ang="0">
                  <a:pos x="74" y="229"/>
                </a:cxn>
                <a:cxn ang="0">
                  <a:pos x="70" y="219"/>
                </a:cxn>
                <a:cxn ang="0">
                  <a:pos x="68" y="208"/>
                </a:cxn>
                <a:cxn ang="0">
                  <a:pos x="66" y="199"/>
                </a:cxn>
                <a:cxn ang="0">
                  <a:pos x="66" y="173"/>
                </a:cxn>
                <a:cxn ang="0">
                  <a:pos x="66" y="156"/>
                </a:cxn>
                <a:cxn ang="0">
                  <a:pos x="66" y="139"/>
                </a:cxn>
                <a:cxn ang="0">
                  <a:pos x="66" y="115"/>
                </a:cxn>
                <a:cxn ang="0">
                  <a:pos x="66" y="107"/>
                </a:cxn>
                <a:cxn ang="0">
                  <a:pos x="69" y="97"/>
                </a:cxn>
                <a:cxn ang="0">
                  <a:pos x="72" y="87"/>
                </a:cxn>
                <a:cxn ang="0">
                  <a:pos x="76" y="76"/>
                </a:cxn>
                <a:cxn ang="0">
                  <a:pos x="84" y="56"/>
                </a:cxn>
                <a:cxn ang="0">
                  <a:pos x="90" y="42"/>
                </a:cxn>
                <a:cxn ang="0">
                  <a:pos x="90" y="0"/>
                </a:cxn>
                <a:cxn ang="0">
                  <a:pos x="73" y="6"/>
                </a:cxn>
                <a:cxn ang="0">
                  <a:pos x="56" y="14"/>
                </a:cxn>
                <a:cxn ang="0">
                  <a:pos x="48" y="18"/>
                </a:cxn>
                <a:cxn ang="0">
                  <a:pos x="41" y="24"/>
                </a:cxn>
                <a:cxn ang="0">
                  <a:pos x="33" y="30"/>
                </a:cxn>
                <a:cxn ang="0">
                  <a:pos x="28" y="36"/>
                </a:cxn>
                <a:cxn ang="0">
                  <a:pos x="21" y="43"/>
                </a:cxn>
                <a:cxn ang="0">
                  <a:pos x="16" y="51"/>
                </a:cxn>
                <a:cxn ang="0">
                  <a:pos x="12" y="59"/>
                </a:cxn>
                <a:cxn ang="0">
                  <a:pos x="8" y="68"/>
                </a:cxn>
                <a:cxn ang="0">
                  <a:pos x="4" y="77"/>
                </a:cxn>
                <a:cxn ang="0">
                  <a:pos x="2" y="87"/>
                </a:cxn>
                <a:cxn ang="0">
                  <a:pos x="1" y="97"/>
                </a:cxn>
                <a:cxn ang="0">
                  <a:pos x="0" y="108"/>
                </a:cxn>
              </a:cxnLst>
              <a:rect l="0" t="0" r="r" b="b"/>
              <a:pathLst>
                <a:path w="102" h="289">
                  <a:moveTo>
                    <a:pt x="0" y="108"/>
                  </a:moveTo>
                  <a:lnTo>
                    <a:pt x="1" y="123"/>
                  </a:lnTo>
                  <a:lnTo>
                    <a:pt x="4" y="133"/>
                  </a:lnTo>
                  <a:lnTo>
                    <a:pt x="8" y="141"/>
                  </a:lnTo>
                  <a:lnTo>
                    <a:pt x="12" y="151"/>
                  </a:lnTo>
                  <a:lnTo>
                    <a:pt x="22" y="197"/>
                  </a:lnTo>
                  <a:lnTo>
                    <a:pt x="34" y="243"/>
                  </a:lnTo>
                  <a:lnTo>
                    <a:pt x="38" y="252"/>
                  </a:lnTo>
                  <a:lnTo>
                    <a:pt x="44" y="261"/>
                  </a:lnTo>
                  <a:lnTo>
                    <a:pt x="50" y="269"/>
                  </a:lnTo>
                  <a:lnTo>
                    <a:pt x="58" y="276"/>
                  </a:lnTo>
                  <a:lnTo>
                    <a:pt x="66" y="281"/>
                  </a:lnTo>
                  <a:lnTo>
                    <a:pt x="77" y="285"/>
                  </a:lnTo>
                  <a:lnTo>
                    <a:pt x="89" y="288"/>
                  </a:lnTo>
                  <a:lnTo>
                    <a:pt x="102" y="289"/>
                  </a:lnTo>
                  <a:lnTo>
                    <a:pt x="102" y="271"/>
                  </a:lnTo>
                  <a:lnTo>
                    <a:pt x="92" y="257"/>
                  </a:lnTo>
                  <a:lnTo>
                    <a:pt x="80" y="239"/>
                  </a:lnTo>
                  <a:lnTo>
                    <a:pt x="74" y="229"/>
                  </a:lnTo>
                  <a:lnTo>
                    <a:pt x="70" y="219"/>
                  </a:lnTo>
                  <a:lnTo>
                    <a:pt x="68" y="208"/>
                  </a:lnTo>
                  <a:lnTo>
                    <a:pt x="66" y="199"/>
                  </a:lnTo>
                  <a:lnTo>
                    <a:pt x="66" y="173"/>
                  </a:lnTo>
                  <a:lnTo>
                    <a:pt x="66" y="156"/>
                  </a:lnTo>
                  <a:lnTo>
                    <a:pt x="66" y="139"/>
                  </a:lnTo>
                  <a:lnTo>
                    <a:pt x="66" y="115"/>
                  </a:lnTo>
                  <a:lnTo>
                    <a:pt x="66" y="107"/>
                  </a:lnTo>
                  <a:lnTo>
                    <a:pt x="69" y="97"/>
                  </a:lnTo>
                  <a:lnTo>
                    <a:pt x="72" y="87"/>
                  </a:lnTo>
                  <a:lnTo>
                    <a:pt x="76" y="76"/>
                  </a:lnTo>
                  <a:lnTo>
                    <a:pt x="84" y="56"/>
                  </a:lnTo>
                  <a:lnTo>
                    <a:pt x="90" y="42"/>
                  </a:lnTo>
                  <a:lnTo>
                    <a:pt x="90" y="0"/>
                  </a:lnTo>
                  <a:lnTo>
                    <a:pt x="73" y="6"/>
                  </a:lnTo>
                  <a:lnTo>
                    <a:pt x="56" y="14"/>
                  </a:lnTo>
                  <a:lnTo>
                    <a:pt x="48" y="18"/>
                  </a:lnTo>
                  <a:lnTo>
                    <a:pt x="41" y="24"/>
                  </a:lnTo>
                  <a:lnTo>
                    <a:pt x="33" y="30"/>
                  </a:lnTo>
                  <a:lnTo>
                    <a:pt x="28" y="36"/>
                  </a:lnTo>
                  <a:lnTo>
                    <a:pt x="21" y="43"/>
                  </a:lnTo>
                  <a:lnTo>
                    <a:pt x="16" y="51"/>
                  </a:lnTo>
                  <a:lnTo>
                    <a:pt x="12" y="59"/>
                  </a:lnTo>
                  <a:lnTo>
                    <a:pt x="8" y="68"/>
                  </a:lnTo>
                  <a:lnTo>
                    <a:pt x="4" y="77"/>
                  </a:lnTo>
                  <a:lnTo>
                    <a:pt x="2" y="87"/>
                  </a:lnTo>
                  <a:lnTo>
                    <a:pt x="1" y="97"/>
                  </a:lnTo>
                  <a:lnTo>
                    <a:pt x="0" y="10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8731572" y="4643438"/>
              <a:ext cx="52388" cy="211137"/>
            </a:xfrm>
            <a:custGeom>
              <a:avLst/>
              <a:gdLst/>
              <a:ahLst/>
              <a:cxnLst>
                <a:cxn ang="0">
                  <a:pos x="12" y="250"/>
                </a:cxn>
                <a:cxn ang="0">
                  <a:pos x="12" y="201"/>
                </a:cxn>
                <a:cxn ang="0">
                  <a:pos x="10" y="168"/>
                </a:cxn>
                <a:cxn ang="0">
                  <a:pos x="4" y="149"/>
                </a:cxn>
                <a:cxn ang="0">
                  <a:pos x="1" y="136"/>
                </a:cxn>
                <a:cxn ang="0">
                  <a:pos x="0" y="117"/>
                </a:cxn>
                <a:cxn ang="0">
                  <a:pos x="13" y="108"/>
                </a:cxn>
                <a:cxn ang="0">
                  <a:pos x="30" y="98"/>
                </a:cxn>
                <a:cxn ang="0">
                  <a:pos x="42" y="84"/>
                </a:cxn>
                <a:cxn ang="0">
                  <a:pos x="49" y="65"/>
                </a:cxn>
                <a:cxn ang="0">
                  <a:pos x="56" y="34"/>
                </a:cxn>
                <a:cxn ang="0">
                  <a:pos x="65" y="10"/>
                </a:cxn>
                <a:cxn ang="0">
                  <a:pos x="77" y="1"/>
                </a:cxn>
                <a:cxn ang="0">
                  <a:pos x="89" y="1"/>
                </a:cxn>
                <a:cxn ang="0">
                  <a:pos x="97" y="9"/>
                </a:cxn>
                <a:cxn ang="0">
                  <a:pos x="104" y="20"/>
                </a:cxn>
                <a:cxn ang="0">
                  <a:pos x="108" y="32"/>
                </a:cxn>
                <a:cxn ang="0">
                  <a:pos x="108" y="50"/>
                </a:cxn>
                <a:cxn ang="0">
                  <a:pos x="101" y="72"/>
                </a:cxn>
                <a:cxn ang="0">
                  <a:pos x="92" y="89"/>
                </a:cxn>
                <a:cxn ang="0">
                  <a:pos x="85" y="108"/>
                </a:cxn>
                <a:cxn ang="0">
                  <a:pos x="85" y="136"/>
                </a:cxn>
                <a:cxn ang="0">
                  <a:pos x="88" y="158"/>
                </a:cxn>
                <a:cxn ang="0">
                  <a:pos x="93" y="177"/>
                </a:cxn>
                <a:cxn ang="0">
                  <a:pos x="96" y="198"/>
                </a:cxn>
                <a:cxn ang="0">
                  <a:pos x="96" y="217"/>
                </a:cxn>
                <a:cxn ang="0">
                  <a:pos x="93" y="225"/>
                </a:cxn>
                <a:cxn ang="0">
                  <a:pos x="85" y="237"/>
                </a:cxn>
                <a:cxn ang="0">
                  <a:pos x="72" y="249"/>
                </a:cxn>
                <a:cxn ang="0">
                  <a:pos x="64" y="260"/>
                </a:cxn>
                <a:cxn ang="0">
                  <a:pos x="61" y="266"/>
                </a:cxn>
                <a:cxn ang="0">
                  <a:pos x="61" y="282"/>
                </a:cxn>
                <a:cxn ang="0">
                  <a:pos x="68" y="304"/>
                </a:cxn>
                <a:cxn ang="0">
                  <a:pos x="77" y="324"/>
                </a:cxn>
                <a:cxn ang="0">
                  <a:pos x="84" y="345"/>
                </a:cxn>
                <a:cxn ang="0">
                  <a:pos x="84" y="368"/>
                </a:cxn>
                <a:cxn ang="0">
                  <a:pos x="78" y="388"/>
                </a:cxn>
                <a:cxn ang="0">
                  <a:pos x="72" y="405"/>
                </a:cxn>
                <a:cxn ang="0">
                  <a:pos x="68" y="424"/>
                </a:cxn>
                <a:cxn ang="0">
                  <a:pos x="58" y="429"/>
                </a:cxn>
                <a:cxn ang="0">
                  <a:pos x="50" y="416"/>
                </a:cxn>
                <a:cxn ang="0">
                  <a:pos x="48" y="389"/>
                </a:cxn>
                <a:cxn ang="0">
                  <a:pos x="48" y="362"/>
                </a:cxn>
                <a:cxn ang="0">
                  <a:pos x="42" y="356"/>
                </a:cxn>
                <a:cxn ang="0">
                  <a:pos x="30" y="353"/>
                </a:cxn>
                <a:cxn ang="0">
                  <a:pos x="21" y="346"/>
                </a:cxn>
                <a:cxn ang="0">
                  <a:pos x="17" y="337"/>
                </a:cxn>
                <a:cxn ang="0">
                  <a:pos x="14" y="322"/>
                </a:cxn>
                <a:cxn ang="0">
                  <a:pos x="14" y="292"/>
                </a:cxn>
              </a:cxnLst>
              <a:rect l="0" t="0" r="r" b="b"/>
              <a:pathLst>
                <a:path w="109" h="434">
                  <a:moveTo>
                    <a:pt x="12" y="277"/>
                  </a:moveTo>
                  <a:lnTo>
                    <a:pt x="12" y="250"/>
                  </a:lnTo>
                  <a:lnTo>
                    <a:pt x="12" y="225"/>
                  </a:lnTo>
                  <a:lnTo>
                    <a:pt x="12" y="201"/>
                  </a:lnTo>
                  <a:lnTo>
                    <a:pt x="12" y="181"/>
                  </a:lnTo>
                  <a:lnTo>
                    <a:pt x="10" y="168"/>
                  </a:lnTo>
                  <a:lnTo>
                    <a:pt x="6" y="156"/>
                  </a:lnTo>
                  <a:lnTo>
                    <a:pt x="4" y="149"/>
                  </a:lnTo>
                  <a:lnTo>
                    <a:pt x="2" y="142"/>
                  </a:lnTo>
                  <a:lnTo>
                    <a:pt x="1" y="136"/>
                  </a:lnTo>
                  <a:lnTo>
                    <a:pt x="0" y="126"/>
                  </a:lnTo>
                  <a:lnTo>
                    <a:pt x="0" y="117"/>
                  </a:lnTo>
                  <a:lnTo>
                    <a:pt x="0" y="109"/>
                  </a:lnTo>
                  <a:lnTo>
                    <a:pt x="13" y="108"/>
                  </a:lnTo>
                  <a:lnTo>
                    <a:pt x="22" y="104"/>
                  </a:lnTo>
                  <a:lnTo>
                    <a:pt x="30" y="98"/>
                  </a:lnTo>
                  <a:lnTo>
                    <a:pt x="37" y="92"/>
                  </a:lnTo>
                  <a:lnTo>
                    <a:pt x="42" y="84"/>
                  </a:lnTo>
                  <a:lnTo>
                    <a:pt x="46" y="74"/>
                  </a:lnTo>
                  <a:lnTo>
                    <a:pt x="49" y="65"/>
                  </a:lnTo>
                  <a:lnTo>
                    <a:pt x="52" y="54"/>
                  </a:lnTo>
                  <a:lnTo>
                    <a:pt x="56" y="34"/>
                  </a:lnTo>
                  <a:lnTo>
                    <a:pt x="61" y="17"/>
                  </a:lnTo>
                  <a:lnTo>
                    <a:pt x="65" y="10"/>
                  </a:lnTo>
                  <a:lnTo>
                    <a:pt x="70" y="5"/>
                  </a:lnTo>
                  <a:lnTo>
                    <a:pt x="77" y="1"/>
                  </a:lnTo>
                  <a:lnTo>
                    <a:pt x="85" y="0"/>
                  </a:lnTo>
                  <a:lnTo>
                    <a:pt x="89" y="1"/>
                  </a:lnTo>
                  <a:lnTo>
                    <a:pt x="93" y="4"/>
                  </a:lnTo>
                  <a:lnTo>
                    <a:pt x="97" y="9"/>
                  </a:lnTo>
                  <a:lnTo>
                    <a:pt x="101" y="13"/>
                  </a:lnTo>
                  <a:lnTo>
                    <a:pt x="104" y="20"/>
                  </a:lnTo>
                  <a:lnTo>
                    <a:pt x="106" y="25"/>
                  </a:lnTo>
                  <a:lnTo>
                    <a:pt x="108" y="32"/>
                  </a:lnTo>
                  <a:lnTo>
                    <a:pt x="109" y="36"/>
                  </a:lnTo>
                  <a:lnTo>
                    <a:pt x="108" y="50"/>
                  </a:lnTo>
                  <a:lnTo>
                    <a:pt x="105" y="62"/>
                  </a:lnTo>
                  <a:lnTo>
                    <a:pt x="101" y="72"/>
                  </a:lnTo>
                  <a:lnTo>
                    <a:pt x="97" y="81"/>
                  </a:lnTo>
                  <a:lnTo>
                    <a:pt x="92" y="89"/>
                  </a:lnTo>
                  <a:lnTo>
                    <a:pt x="88" y="98"/>
                  </a:lnTo>
                  <a:lnTo>
                    <a:pt x="85" y="108"/>
                  </a:lnTo>
                  <a:lnTo>
                    <a:pt x="85" y="121"/>
                  </a:lnTo>
                  <a:lnTo>
                    <a:pt x="85" y="136"/>
                  </a:lnTo>
                  <a:lnTo>
                    <a:pt x="86" y="148"/>
                  </a:lnTo>
                  <a:lnTo>
                    <a:pt x="88" y="158"/>
                  </a:lnTo>
                  <a:lnTo>
                    <a:pt x="90" y="168"/>
                  </a:lnTo>
                  <a:lnTo>
                    <a:pt x="93" y="177"/>
                  </a:lnTo>
                  <a:lnTo>
                    <a:pt x="94" y="188"/>
                  </a:lnTo>
                  <a:lnTo>
                    <a:pt x="96" y="198"/>
                  </a:lnTo>
                  <a:lnTo>
                    <a:pt x="97" y="210"/>
                  </a:lnTo>
                  <a:lnTo>
                    <a:pt x="96" y="217"/>
                  </a:lnTo>
                  <a:lnTo>
                    <a:pt x="96" y="221"/>
                  </a:lnTo>
                  <a:lnTo>
                    <a:pt x="93" y="225"/>
                  </a:lnTo>
                  <a:lnTo>
                    <a:pt x="90" y="230"/>
                  </a:lnTo>
                  <a:lnTo>
                    <a:pt x="85" y="237"/>
                  </a:lnTo>
                  <a:lnTo>
                    <a:pt x="78" y="244"/>
                  </a:lnTo>
                  <a:lnTo>
                    <a:pt x="72" y="249"/>
                  </a:lnTo>
                  <a:lnTo>
                    <a:pt x="66" y="256"/>
                  </a:lnTo>
                  <a:lnTo>
                    <a:pt x="64" y="260"/>
                  </a:lnTo>
                  <a:lnTo>
                    <a:pt x="62" y="262"/>
                  </a:lnTo>
                  <a:lnTo>
                    <a:pt x="61" y="266"/>
                  </a:lnTo>
                  <a:lnTo>
                    <a:pt x="61" y="272"/>
                  </a:lnTo>
                  <a:lnTo>
                    <a:pt x="61" y="282"/>
                  </a:lnTo>
                  <a:lnTo>
                    <a:pt x="64" y="293"/>
                  </a:lnTo>
                  <a:lnTo>
                    <a:pt x="68" y="304"/>
                  </a:lnTo>
                  <a:lnTo>
                    <a:pt x="73" y="313"/>
                  </a:lnTo>
                  <a:lnTo>
                    <a:pt x="77" y="324"/>
                  </a:lnTo>
                  <a:lnTo>
                    <a:pt x="81" y="334"/>
                  </a:lnTo>
                  <a:lnTo>
                    <a:pt x="84" y="345"/>
                  </a:lnTo>
                  <a:lnTo>
                    <a:pt x="85" y="356"/>
                  </a:lnTo>
                  <a:lnTo>
                    <a:pt x="84" y="368"/>
                  </a:lnTo>
                  <a:lnTo>
                    <a:pt x="82" y="378"/>
                  </a:lnTo>
                  <a:lnTo>
                    <a:pt x="78" y="388"/>
                  </a:lnTo>
                  <a:lnTo>
                    <a:pt x="76" y="397"/>
                  </a:lnTo>
                  <a:lnTo>
                    <a:pt x="72" y="405"/>
                  </a:lnTo>
                  <a:lnTo>
                    <a:pt x="69" y="414"/>
                  </a:lnTo>
                  <a:lnTo>
                    <a:pt x="68" y="424"/>
                  </a:lnTo>
                  <a:lnTo>
                    <a:pt x="66" y="434"/>
                  </a:lnTo>
                  <a:lnTo>
                    <a:pt x="58" y="429"/>
                  </a:lnTo>
                  <a:lnTo>
                    <a:pt x="53" y="422"/>
                  </a:lnTo>
                  <a:lnTo>
                    <a:pt x="50" y="416"/>
                  </a:lnTo>
                  <a:lnTo>
                    <a:pt x="49" y="408"/>
                  </a:lnTo>
                  <a:lnTo>
                    <a:pt x="48" y="389"/>
                  </a:lnTo>
                  <a:lnTo>
                    <a:pt x="49" y="368"/>
                  </a:lnTo>
                  <a:lnTo>
                    <a:pt x="48" y="362"/>
                  </a:lnTo>
                  <a:lnTo>
                    <a:pt x="45" y="358"/>
                  </a:lnTo>
                  <a:lnTo>
                    <a:pt x="42" y="356"/>
                  </a:lnTo>
                  <a:lnTo>
                    <a:pt x="38" y="354"/>
                  </a:lnTo>
                  <a:lnTo>
                    <a:pt x="30" y="353"/>
                  </a:lnTo>
                  <a:lnTo>
                    <a:pt x="24" y="349"/>
                  </a:lnTo>
                  <a:lnTo>
                    <a:pt x="21" y="346"/>
                  </a:lnTo>
                  <a:lnTo>
                    <a:pt x="18" y="342"/>
                  </a:lnTo>
                  <a:lnTo>
                    <a:pt x="17" y="337"/>
                  </a:lnTo>
                  <a:lnTo>
                    <a:pt x="16" y="332"/>
                  </a:lnTo>
                  <a:lnTo>
                    <a:pt x="14" y="322"/>
                  </a:lnTo>
                  <a:lnTo>
                    <a:pt x="14" y="312"/>
                  </a:lnTo>
                  <a:lnTo>
                    <a:pt x="14" y="292"/>
                  </a:lnTo>
                  <a:lnTo>
                    <a:pt x="12" y="27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8791897" y="4895850"/>
              <a:ext cx="20638" cy="34925"/>
            </a:xfrm>
            <a:custGeom>
              <a:avLst/>
              <a:gdLst/>
              <a:ahLst/>
              <a:cxnLst>
                <a:cxn ang="0">
                  <a:pos x="43" y="17"/>
                </a:cxn>
                <a:cxn ang="0">
                  <a:pos x="39" y="17"/>
                </a:cxn>
                <a:cxn ang="0">
                  <a:pos x="36" y="15"/>
                </a:cxn>
                <a:cxn ang="0">
                  <a:pos x="34" y="12"/>
                </a:cxn>
                <a:cxn ang="0">
                  <a:pos x="31" y="10"/>
                </a:cxn>
                <a:cxn ang="0">
                  <a:pos x="28" y="3"/>
                </a:cxn>
                <a:cxn ang="0">
                  <a:pos x="24" y="0"/>
                </a:cxn>
                <a:cxn ang="0">
                  <a:pos x="19" y="2"/>
                </a:cxn>
                <a:cxn ang="0">
                  <a:pos x="14" y="6"/>
                </a:cxn>
                <a:cxn ang="0">
                  <a:pos x="10" y="11"/>
                </a:cxn>
                <a:cxn ang="0">
                  <a:pos x="6" y="17"/>
                </a:cxn>
                <a:cxn ang="0">
                  <a:pos x="3" y="27"/>
                </a:cxn>
                <a:cxn ang="0">
                  <a:pos x="2" y="36"/>
                </a:cxn>
                <a:cxn ang="0">
                  <a:pos x="0" y="45"/>
                </a:cxn>
                <a:cxn ang="0">
                  <a:pos x="0" y="55"/>
                </a:cxn>
                <a:cxn ang="0">
                  <a:pos x="2" y="59"/>
                </a:cxn>
                <a:cxn ang="0">
                  <a:pos x="3" y="61"/>
                </a:cxn>
                <a:cxn ang="0">
                  <a:pos x="4" y="64"/>
                </a:cxn>
                <a:cxn ang="0">
                  <a:pos x="7" y="65"/>
                </a:cxn>
                <a:cxn ang="0">
                  <a:pos x="14" y="68"/>
                </a:cxn>
                <a:cxn ang="0">
                  <a:pos x="19" y="72"/>
                </a:cxn>
                <a:cxn ang="0">
                  <a:pos x="26" y="59"/>
                </a:cxn>
                <a:cxn ang="0">
                  <a:pos x="35" y="40"/>
                </a:cxn>
                <a:cxn ang="0">
                  <a:pos x="39" y="32"/>
                </a:cxn>
                <a:cxn ang="0">
                  <a:pos x="43" y="25"/>
                </a:cxn>
                <a:cxn ang="0">
                  <a:pos x="44" y="20"/>
                </a:cxn>
                <a:cxn ang="0">
                  <a:pos x="43" y="17"/>
                </a:cxn>
              </a:cxnLst>
              <a:rect l="0" t="0" r="r" b="b"/>
              <a:pathLst>
                <a:path w="44" h="72">
                  <a:moveTo>
                    <a:pt x="43" y="17"/>
                  </a:moveTo>
                  <a:lnTo>
                    <a:pt x="39" y="17"/>
                  </a:lnTo>
                  <a:lnTo>
                    <a:pt x="36" y="15"/>
                  </a:lnTo>
                  <a:lnTo>
                    <a:pt x="34" y="12"/>
                  </a:lnTo>
                  <a:lnTo>
                    <a:pt x="31" y="10"/>
                  </a:lnTo>
                  <a:lnTo>
                    <a:pt x="28" y="3"/>
                  </a:lnTo>
                  <a:lnTo>
                    <a:pt x="24" y="0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10" y="11"/>
                  </a:lnTo>
                  <a:lnTo>
                    <a:pt x="6" y="17"/>
                  </a:lnTo>
                  <a:lnTo>
                    <a:pt x="3" y="27"/>
                  </a:lnTo>
                  <a:lnTo>
                    <a:pt x="2" y="36"/>
                  </a:lnTo>
                  <a:lnTo>
                    <a:pt x="0" y="45"/>
                  </a:lnTo>
                  <a:lnTo>
                    <a:pt x="0" y="55"/>
                  </a:lnTo>
                  <a:lnTo>
                    <a:pt x="2" y="59"/>
                  </a:lnTo>
                  <a:lnTo>
                    <a:pt x="3" y="61"/>
                  </a:lnTo>
                  <a:lnTo>
                    <a:pt x="4" y="64"/>
                  </a:lnTo>
                  <a:lnTo>
                    <a:pt x="7" y="65"/>
                  </a:lnTo>
                  <a:lnTo>
                    <a:pt x="14" y="68"/>
                  </a:lnTo>
                  <a:lnTo>
                    <a:pt x="19" y="72"/>
                  </a:lnTo>
                  <a:lnTo>
                    <a:pt x="26" y="59"/>
                  </a:lnTo>
                  <a:lnTo>
                    <a:pt x="35" y="40"/>
                  </a:lnTo>
                  <a:lnTo>
                    <a:pt x="39" y="32"/>
                  </a:lnTo>
                  <a:lnTo>
                    <a:pt x="43" y="25"/>
                  </a:lnTo>
                  <a:lnTo>
                    <a:pt x="44" y="20"/>
                  </a:lnTo>
                  <a:lnTo>
                    <a:pt x="43" y="1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8779197" y="4476750"/>
              <a:ext cx="33338" cy="114300"/>
            </a:xfrm>
            <a:custGeom>
              <a:avLst/>
              <a:gdLst/>
              <a:ahLst/>
              <a:cxnLst>
                <a:cxn ang="0">
                  <a:pos x="67" y="50"/>
                </a:cxn>
                <a:cxn ang="0">
                  <a:pos x="67" y="82"/>
                </a:cxn>
                <a:cxn ang="0">
                  <a:pos x="67" y="113"/>
                </a:cxn>
                <a:cxn ang="0">
                  <a:pos x="67" y="140"/>
                </a:cxn>
                <a:cxn ang="0">
                  <a:pos x="67" y="158"/>
                </a:cxn>
                <a:cxn ang="0">
                  <a:pos x="64" y="173"/>
                </a:cxn>
                <a:cxn ang="0">
                  <a:pos x="58" y="200"/>
                </a:cxn>
                <a:cxn ang="0">
                  <a:pos x="54" y="214"/>
                </a:cxn>
                <a:cxn ang="0">
                  <a:pos x="50" y="225"/>
                </a:cxn>
                <a:cxn ang="0">
                  <a:pos x="46" y="234"/>
                </a:cxn>
                <a:cxn ang="0">
                  <a:pos x="43" y="237"/>
                </a:cxn>
                <a:cxn ang="0">
                  <a:pos x="28" y="210"/>
                </a:cxn>
                <a:cxn ang="0">
                  <a:pos x="15" y="184"/>
                </a:cxn>
                <a:cxn ang="0">
                  <a:pos x="10" y="169"/>
                </a:cxn>
                <a:cxn ang="0">
                  <a:pos x="4" y="153"/>
                </a:cxn>
                <a:cxn ang="0">
                  <a:pos x="2" y="136"/>
                </a:cxn>
                <a:cxn ang="0">
                  <a:pos x="0" y="117"/>
                </a:cxn>
                <a:cxn ang="0">
                  <a:pos x="2" y="92"/>
                </a:cxn>
                <a:cxn ang="0">
                  <a:pos x="3" y="68"/>
                </a:cxn>
                <a:cxn ang="0">
                  <a:pos x="6" y="45"/>
                </a:cxn>
                <a:cxn ang="0">
                  <a:pos x="7" y="20"/>
                </a:cxn>
                <a:cxn ang="0">
                  <a:pos x="7" y="13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6" y="1"/>
                </a:cxn>
                <a:cxn ang="0">
                  <a:pos x="20" y="0"/>
                </a:cxn>
                <a:cxn ang="0">
                  <a:pos x="26" y="0"/>
                </a:cxn>
                <a:cxn ang="0">
                  <a:pos x="31" y="1"/>
                </a:cxn>
                <a:cxn ang="0">
                  <a:pos x="36" y="4"/>
                </a:cxn>
                <a:cxn ang="0">
                  <a:pos x="43" y="6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8" y="22"/>
                </a:cxn>
                <a:cxn ang="0">
                  <a:pos x="62" y="28"/>
                </a:cxn>
                <a:cxn ang="0">
                  <a:pos x="64" y="36"/>
                </a:cxn>
                <a:cxn ang="0">
                  <a:pos x="66" y="42"/>
                </a:cxn>
                <a:cxn ang="0">
                  <a:pos x="67" y="50"/>
                </a:cxn>
              </a:cxnLst>
              <a:rect l="0" t="0" r="r" b="b"/>
              <a:pathLst>
                <a:path w="67" h="237">
                  <a:moveTo>
                    <a:pt x="67" y="50"/>
                  </a:moveTo>
                  <a:lnTo>
                    <a:pt x="67" y="82"/>
                  </a:lnTo>
                  <a:lnTo>
                    <a:pt x="67" y="113"/>
                  </a:lnTo>
                  <a:lnTo>
                    <a:pt x="67" y="140"/>
                  </a:lnTo>
                  <a:lnTo>
                    <a:pt x="67" y="158"/>
                  </a:lnTo>
                  <a:lnTo>
                    <a:pt x="64" y="173"/>
                  </a:lnTo>
                  <a:lnTo>
                    <a:pt x="58" y="200"/>
                  </a:lnTo>
                  <a:lnTo>
                    <a:pt x="54" y="214"/>
                  </a:lnTo>
                  <a:lnTo>
                    <a:pt x="50" y="225"/>
                  </a:lnTo>
                  <a:lnTo>
                    <a:pt x="46" y="234"/>
                  </a:lnTo>
                  <a:lnTo>
                    <a:pt x="43" y="237"/>
                  </a:lnTo>
                  <a:lnTo>
                    <a:pt x="28" y="210"/>
                  </a:lnTo>
                  <a:lnTo>
                    <a:pt x="15" y="184"/>
                  </a:lnTo>
                  <a:lnTo>
                    <a:pt x="10" y="169"/>
                  </a:lnTo>
                  <a:lnTo>
                    <a:pt x="4" y="153"/>
                  </a:lnTo>
                  <a:lnTo>
                    <a:pt x="2" y="136"/>
                  </a:lnTo>
                  <a:lnTo>
                    <a:pt x="0" y="117"/>
                  </a:lnTo>
                  <a:lnTo>
                    <a:pt x="2" y="92"/>
                  </a:lnTo>
                  <a:lnTo>
                    <a:pt x="3" y="68"/>
                  </a:lnTo>
                  <a:lnTo>
                    <a:pt x="6" y="45"/>
                  </a:lnTo>
                  <a:lnTo>
                    <a:pt x="7" y="20"/>
                  </a:lnTo>
                  <a:lnTo>
                    <a:pt x="7" y="13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1" y="1"/>
                  </a:lnTo>
                  <a:lnTo>
                    <a:pt x="36" y="4"/>
                  </a:lnTo>
                  <a:lnTo>
                    <a:pt x="43" y="6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8" y="22"/>
                  </a:lnTo>
                  <a:lnTo>
                    <a:pt x="62" y="28"/>
                  </a:lnTo>
                  <a:lnTo>
                    <a:pt x="64" y="36"/>
                  </a:lnTo>
                  <a:lnTo>
                    <a:pt x="66" y="42"/>
                  </a:lnTo>
                  <a:lnTo>
                    <a:pt x="67" y="5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8791897" y="4292600"/>
              <a:ext cx="28575" cy="63500"/>
            </a:xfrm>
            <a:custGeom>
              <a:avLst/>
              <a:gdLst/>
              <a:ahLst/>
              <a:cxnLst>
                <a:cxn ang="0">
                  <a:pos x="31" y="120"/>
                </a:cxn>
                <a:cxn ang="0">
                  <a:pos x="31" y="84"/>
                </a:cxn>
                <a:cxn ang="0">
                  <a:pos x="30" y="78"/>
                </a:cxn>
                <a:cxn ang="0">
                  <a:pos x="26" y="71"/>
                </a:cxn>
                <a:cxn ang="0">
                  <a:pos x="22" y="66"/>
                </a:cxn>
                <a:cxn ang="0">
                  <a:pos x="16" y="59"/>
                </a:cxn>
                <a:cxn ang="0">
                  <a:pos x="10" y="51"/>
                </a:cxn>
                <a:cxn ang="0">
                  <a:pos x="6" y="43"/>
                </a:cxn>
                <a:cxn ang="0">
                  <a:pos x="2" y="35"/>
                </a:cxn>
                <a:cxn ang="0">
                  <a:pos x="0" y="24"/>
                </a:cxn>
                <a:cxn ang="0">
                  <a:pos x="2" y="19"/>
                </a:cxn>
                <a:cxn ang="0">
                  <a:pos x="3" y="15"/>
                </a:cxn>
                <a:cxn ang="0">
                  <a:pos x="4" y="11"/>
                </a:cxn>
                <a:cxn ang="0">
                  <a:pos x="7" y="7"/>
                </a:cxn>
                <a:cxn ang="0">
                  <a:pos x="14" y="2"/>
                </a:cxn>
                <a:cxn ang="0">
                  <a:pos x="19" y="0"/>
                </a:cxn>
                <a:cxn ang="0">
                  <a:pos x="32" y="20"/>
                </a:cxn>
                <a:cxn ang="0">
                  <a:pos x="47" y="42"/>
                </a:cxn>
                <a:cxn ang="0">
                  <a:pos x="52" y="54"/>
                </a:cxn>
                <a:cxn ang="0">
                  <a:pos x="56" y="67"/>
                </a:cxn>
                <a:cxn ang="0">
                  <a:pos x="60" y="83"/>
                </a:cxn>
                <a:cxn ang="0">
                  <a:pos x="60" y="101"/>
                </a:cxn>
                <a:cxn ang="0">
                  <a:pos x="60" y="115"/>
                </a:cxn>
                <a:cxn ang="0">
                  <a:pos x="59" y="124"/>
                </a:cxn>
                <a:cxn ang="0">
                  <a:pos x="58" y="127"/>
                </a:cxn>
                <a:cxn ang="0">
                  <a:pos x="56" y="129"/>
                </a:cxn>
                <a:cxn ang="0">
                  <a:pos x="52" y="132"/>
                </a:cxn>
                <a:cxn ang="0">
                  <a:pos x="48" y="132"/>
                </a:cxn>
                <a:cxn ang="0">
                  <a:pos x="38" y="127"/>
                </a:cxn>
                <a:cxn ang="0">
                  <a:pos x="31" y="120"/>
                </a:cxn>
              </a:cxnLst>
              <a:rect l="0" t="0" r="r" b="b"/>
              <a:pathLst>
                <a:path w="60" h="132">
                  <a:moveTo>
                    <a:pt x="31" y="120"/>
                  </a:moveTo>
                  <a:lnTo>
                    <a:pt x="31" y="84"/>
                  </a:lnTo>
                  <a:lnTo>
                    <a:pt x="30" y="78"/>
                  </a:lnTo>
                  <a:lnTo>
                    <a:pt x="26" y="71"/>
                  </a:lnTo>
                  <a:lnTo>
                    <a:pt x="22" y="66"/>
                  </a:lnTo>
                  <a:lnTo>
                    <a:pt x="16" y="59"/>
                  </a:lnTo>
                  <a:lnTo>
                    <a:pt x="10" y="51"/>
                  </a:lnTo>
                  <a:lnTo>
                    <a:pt x="6" y="43"/>
                  </a:lnTo>
                  <a:lnTo>
                    <a:pt x="2" y="35"/>
                  </a:lnTo>
                  <a:lnTo>
                    <a:pt x="0" y="24"/>
                  </a:lnTo>
                  <a:lnTo>
                    <a:pt x="2" y="19"/>
                  </a:lnTo>
                  <a:lnTo>
                    <a:pt x="3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4" y="2"/>
                  </a:lnTo>
                  <a:lnTo>
                    <a:pt x="19" y="0"/>
                  </a:lnTo>
                  <a:lnTo>
                    <a:pt x="32" y="20"/>
                  </a:lnTo>
                  <a:lnTo>
                    <a:pt x="47" y="42"/>
                  </a:lnTo>
                  <a:lnTo>
                    <a:pt x="52" y="54"/>
                  </a:lnTo>
                  <a:lnTo>
                    <a:pt x="56" y="67"/>
                  </a:lnTo>
                  <a:lnTo>
                    <a:pt x="60" y="83"/>
                  </a:lnTo>
                  <a:lnTo>
                    <a:pt x="60" y="101"/>
                  </a:lnTo>
                  <a:lnTo>
                    <a:pt x="60" y="115"/>
                  </a:lnTo>
                  <a:lnTo>
                    <a:pt x="59" y="124"/>
                  </a:lnTo>
                  <a:lnTo>
                    <a:pt x="58" y="127"/>
                  </a:lnTo>
                  <a:lnTo>
                    <a:pt x="56" y="129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38" y="127"/>
                  </a:lnTo>
                  <a:lnTo>
                    <a:pt x="31" y="12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auto">
            <a:xfrm>
              <a:off x="8788722" y="4249738"/>
              <a:ext cx="12700" cy="25400"/>
            </a:xfrm>
            <a:custGeom>
              <a:avLst/>
              <a:gdLst/>
              <a:ahLst/>
              <a:cxnLst>
                <a:cxn ang="0">
                  <a:pos x="17" y="49"/>
                </a:cxn>
                <a:cxn ang="0">
                  <a:pos x="13" y="48"/>
                </a:cxn>
                <a:cxn ang="0">
                  <a:pos x="9" y="48"/>
                </a:cxn>
                <a:cxn ang="0">
                  <a:pos x="7" y="47"/>
                </a:cxn>
                <a:cxn ang="0">
                  <a:pos x="4" y="44"/>
                </a:cxn>
                <a:cxn ang="0">
                  <a:pos x="3" y="41"/>
                </a:cxn>
                <a:cxn ang="0">
                  <a:pos x="1" y="39"/>
                </a:cxn>
                <a:cxn ang="0">
                  <a:pos x="0" y="35"/>
                </a:cxn>
                <a:cxn ang="0">
                  <a:pos x="0" y="31"/>
                </a:cxn>
                <a:cxn ang="0">
                  <a:pos x="0" y="20"/>
                </a:cxn>
                <a:cxn ang="0">
                  <a:pos x="0" y="13"/>
                </a:cxn>
                <a:cxn ang="0">
                  <a:pos x="3" y="8"/>
                </a:cxn>
                <a:cxn ang="0">
                  <a:pos x="5" y="0"/>
                </a:cxn>
                <a:cxn ang="0">
                  <a:pos x="15" y="7"/>
                </a:cxn>
                <a:cxn ang="0">
                  <a:pos x="24" y="12"/>
                </a:cxn>
                <a:cxn ang="0">
                  <a:pos x="24" y="29"/>
                </a:cxn>
                <a:cxn ang="0">
                  <a:pos x="24" y="43"/>
                </a:cxn>
                <a:cxn ang="0">
                  <a:pos x="17" y="49"/>
                </a:cxn>
              </a:cxnLst>
              <a:rect l="0" t="0" r="r" b="b"/>
              <a:pathLst>
                <a:path w="24" h="49">
                  <a:moveTo>
                    <a:pt x="17" y="49"/>
                  </a:moveTo>
                  <a:lnTo>
                    <a:pt x="13" y="48"/>
                  </a:lnTo>
                  <a:lnTo>
                    <a:pt x="9" y="48"/>
                  </a:lnTo>
                  <a:lnTo>
                    <a:pt x="7" y="47"/>
                  </a:lnTo>
                  <a:lnTo>
                    <a:pt x="4" y="44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3" y="8"/>
                  </a:lnTo>
                  <a:lnTo>
                    <a:pt x="5" y="0"/>
                  </a:lnTo>
                  <a:lnTo>
                    <a:pt x="15" y="7"/>
                  </a:lnTo>
                  <a:lnTo>
                    <a:pt x="24" y="12"/>
                  </a:lnTo>
                  <a:lnTo>
                    <a:pt x="24" y="29"/>
                  </a:lnTo>
                  <a:lnTo>
                    <a:pt x="24" y="43"/>
                  </a:lnTo>
                  <a:lnTo>
                    <a:pt x="17" y="4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auto">
            <a:xfrm>
              <a:off x="8783959" y="4186238"/>
              <a:ext cx="17463" cy="20637"/>
            </a:xfrm>
            <a:custGeom>
              <a:avLst/>
              <a:gdLst/>
              <a:ahLst/>
              <a:cxnLst>
                <a:cxn ang="0">
                  <a:pos x="29" y="19"/>
                </a:cxn>
                <a:cxn ang="0">
                  <a:pos x="15" y="9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0" y="24"/>
                </a:cxn>
                <a:cxn ang="0">
                  <a:pos x="0" y="29"/>
                </a:cxn>
                <a:cxn ang="0">
                  <a:pos x="4" y="36"/>
                </a:cxn>
                <a:cxn ang="0">
                  <a:pos x="7" y="40"/>
                </a:cxn>
                <a:cxn ang="0">
                  <a:pos x="12" y="43"/>
                </a:cxn>
                <a:cxn ang="0">
                  <a:pos x="17" y="40"/>
                </a:cxn>
                <a:cxn ang="0">
                  <a:pos x="24" y="36"/>
                </a:cxn>
                <a:cxn ang="0">
                  <a:pos x="31" y="29"/>
                </a:cxn>
                <a:cxn ang="0">
                  <a:pos x="36" y="24"/>
                </a:cxn>
                <a:cxn ang="0">
                  <a:pos x="33" y="21"/>
                </a:cxn>
                <a:cxn ang="0">
                  <a:pos x="29" y="19"/>
                </a:cxn>
              </a:cxnLst>
              <a:rect l="0" t="0" r="r" b="b"/>
              <a:pathLst>
                <a:path w="36" h="43">
                  <a:moveTo>
                    <a:pt x="29" y="19"/>
                  </a:moveTo>
                  <a:lnTo>
                    <a:pt x="15" y="9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4" y="36"/>
                  </a:lnTo>
                  <a:lnTo>
                    <a:pt x="7" y="40"/>
                  </a:lnTo>
                  <a:lnTo>
                    <a:pt x="12" y="43"/>
                  </a:lnTo>
                  <a:lnTo>
                    <a:pt x="17" y="40"/>
                  </a:lnTo>
                  <a:lnTo>
                    <a:pt x="24" y="36"/>
                  </a:lnTo>
                  <a:lnTo>
                    <a:pt x="31" y="29"/>
                  </a:lnTo>
                  <a:lnTo>
                    <a:pt x="36" y="24"/>
                  </a:lnTo>
                  <a:lnTo>
                    <a:pt x="33" y="21"/>
                  </a:lnTo>
                  <a:lnTo>
                    <a:pt x="29" y="1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auto">
            <a:xfrm>
              <a:off x="8761734" y="4149725"/>
              <a:ext cx="17463" cy="17462"/>
            </a:xfrm>
            <a:custGeom>
              <a:avLst/>
              <a:gdLst/>
              <a:ahLst/>
              <a:cxnLst>
                <a:cxn ang="0">
                  <a:pos x="19" y="36"/>
                </a:cxn>
                <a:cxn ang="0">
                  <a:pos x="10" y="31"/>
                </a:cxn>
                <a:cxn ang="0">
                  <a:pos x="0" y="24"/>
                </a:cxn>
                <a:cxn ang="0">
                  <a:pos x="0" y="0"/>
                </a:cxn>
                <a:cxn ang="0">
                  <a:pos x="7" y="2"/>
                </a:cxn>
                <a:cxn ang="0">
                  <a:pos x="12" y="3"/>
                </a:cxn>
                <a:cxn ang="0">
                  <a:pos x="18" y="6"/>
                </a:cxn>
                <a:cxn ang="0">
                  <a:pos x="23" y="8"/>
                </a:cxn>
                <a:cxn ang="0">
                  <a:pos x="31" y="16"/>
                </a:cxn>
                <a:cxn ang="0">
                  <a:pos x="36" y="24"/>
                </a:cxn>
                <a:cxn ang="0">
                  <a:pos x="27" y="31"/>
                </a:cxn>
                <a:cxn ang="0">
                  <a:pos x="19" y="36"/>
                </a:cxn>
              </a:cxnLst>
              <a:rect l="0" t="0" r="r" b="b"/>
              <a:pathLst>
                <a:path w="36" h="36">
                  <a:moveTo>
                    <a:pt x="19" y="36"/>
                  </a:moveTo>
                  <a:lnTo>
                    <a:pt x="10" y="31"/>
                  </a:lnTo>
                  <a:lnTo>
                    <a:pt x="0" y="24"/>
                  </a:lnTo>
                  <a:lnTo>
                    <a:pt x="0" y="0"/>
                  </a:lnTo>
                  <a:lnTo>
                    <a:pt x="7" y="2"/>
                  </a:lnTo>
                  <a:lnTo>
                    <a:pt x="12" y="3"/>
                  </a:lnTo>
                  <a:lnTo>
                    <a:pt x="18" y="6"/>
                  </a:lnTo>
                  <a:lnTo>
                    <a:pt x="23" y="8"/>
                  </a:lnTo>
                  <a:lnTo>
                    <a:pt x="31" y="16"/>
                  </a:lnTo>
                  <a:lnTo>
                    <a:pt x="36" y="24"/>
                  </a:lnTo>
                  <a:lnTo>
                    <a:pt x="27" y="31"/>
                  </a:lnTo>
                  <a:lnTo>
                    <a:pt x="19" y="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auto">
            <a:xfrm>
              <a:off x="8731572" y="4038600"/>
              <a:ext cx="19050" cy="3175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6" y="0"/>
                </a:cxn>
                <a:cxn ang="0">
                  <a:pos x="10" y="4"/>
                </a:cxn>
                <a:cxn ang="0">
                  <a:pos x="6" y="8"/>
                </a:cxn>
                <a:cxn ang="0">
                  <a:pos x="4" y="13"/>
                </a:cxn>
                <a:cxn ang="0">
                  <a:pos x="1" y="25"/>
                </a:cxn>
                <a:cxn ang="0">
                  <a:pos x="0" y="35"/>
                </a:cxn>
                <a:cxn ang="0">
                  <a:pos x="1" y="43"/>
                </a:cxn>
                <a:cxn ang="0">
                  <a:pos x="2" y="50"/>
                </a:cxn>
                <a:cxn ang="0">
                  <a:pos x="5" y="55"/>
                </a:cxn>
                <a:cxn ang="0">
                  <a:pos x="8" y="59"/>
                </a:cxn>
                <a:cxn ang="0">
                  <a:pos x="12" y="62"/>
                </a:cxn>
                <a:cxn ang="0">
                  <a:pos x="16" y="63"/>
                </a:cxn>
                <a:cxn ang="0">
                  <a:pos x="20" y="65"/>
                </a:cxn>
                <a:cxn ang="0">
                  <a:pos x="24" y="65"/>
                </a:cxn>
                <a:cxn ang="0">
                  <a:pos x="29" y="63"/>
                </a:cxn>
                <a:cxn ang="0">
                  <a:pos x="32" y="61"/>
                </a:cxn>
                <a:cxn ang="0">
                  <a:pos x="36" y="57"/>
                </a:cxn>
                <a:cxn ang="0">
                  <a:pos x="38" y="53"/>
                </a:cxn>
                <a:cxn ang="0">
                  <a:pos x="41" y="42"/>
                </a:cxn>
                <a:cxn ang="0">
                  <a:pos x="42" y="35"/>
                </a:cxn>
                <a:cxn ang="0">
                  <a:pos x="42" y="18"/>
                </a:cxn>
                <a:cxn ang="0">
                  <a:pos x="42" y="12"/>
                </a:cxn>
                <a:cxn ang="0">
                  <a:pos x="38" y="6"/>
                </a:cxn>
                <a:cxn ang="0">
                  <a:pos x="33" y="2"/>
                </a:cxn>
                <a:cxn ang="0">
                  <a:pos x="29" y="0"/>
                </a:cxn>
                <a:cxn ang="0">
                  <a:pos x="24" y="0"/>
                </a:cxn>
              </a:cxnLst>
              <a:rect l="0" t="0" r="r" b="b"/>
              <a:pathLst>
                <a:path w="42" h="65">
                  <a:moveTo>
                    <a:pt x="24" y="0"/>
                  </a:moveTo>
                  <a:lnTo>
                    <a:pt x="16" y="0"/>
                  </a:lnTo>
                  <a:lnTo>
                    <a:pt x="10" y="4"/>
                  </a:lnTo>
                  <a:lnTo>
                    <a:pt x="6" y="8"/>
                  </a:lnTo>
                  <a:lnTo>
                    <a:pt x="4" y="13"/>
                  </a:lnTo>
                  <a:lnTo>
                    <a:pt x="1" y="25"/>
                  </a:lnTo>
                  <a:lnTo>
                    <a:pt x="0" y="35"/>
                  </a:lnTo>
                  <a:lnTo>
                    <a:pt x="1" y="43"/>
                  </a:lnTo>
                  <a:lnTo>
                    <a:pt x="2" y="50"/>
                  </a:lnTo>
                  <a:lnTo>
                    <a:pt x="5" y="55"/>
                  </a:lnTo>
                  <a:lnTo>
                    <a:pt x="8" y="59"/>
                  </a:lnTo>
                  <a:lnTo>
                    <a:pt x="12" y="62"/>
                  </a:lnTo>
                  <a:lnTo>
                    <a:pt x="16" y="63"/>
                  </a:lnTo>
                  <a:lnTo>
                    <a:pt x="20" y="65"/>
                  </a:lnTo>
                  <a:lnTo>
                    <a:pt x="24" y="65"/>
                  </a:lnTo>
                  <a:lnTo>
                    <a:pt x="29" y="63"/>
                  </a:lnTo>
                  <a:lnTo>
                    <a:pt x="32" y="61"/>
                  </a:lnTo>
                  <a:lnTo>
                    <a:pt x="36" y="57"/>
                  </a:lnTo>
                  <a:lnTo>
                    <a:pt x="38" y="53"/>
                  </a:lnTo>
                  <a:lnTo>
                    <a:pt x="41" y="42"/>
                  </a:lnTo>
                  <a:lnTo>
                    <a:pt x="42" y="35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38" y="6"/>
                  </a:lnTo>
                  <a:lnTo>
                    <a:pt x="33" y="2"/>
                  </a:lnTo>
                  <a:lnTo>
                    <a:pt x="29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2" name="Freeform 28"/>
            <p:cNvSpPr>
              <a:spLocks/>
            </p:cNvSpPr>
            <p:nvPr/>
          </p:nvSpPr>
          <p:spPr bwMode="auto">
            <a:xfrm>
              <a:off x="8722047" y="3994150"/>
              <a:ext cx="17463" cy="14287"/>
            </a:xfrm>
            <a:custGeom>
              <a:avLst/>
              <a:gdLst/>
              <a:ahLst/>
              <a:cxnLst>
                <a:cxn ang="0">
                  <a:pos x="36" y="17"/>
                </a:cxn>
                <a:cxn ang="0">
                  <a:pos x="18" y="0"/>
                </a:cxn>
                <a:cxn ang="0">
                  <a:pos x="12" y="1"/>
                </a:cxn>
                <a:cxn ang="0">
                  <a:pos x="7" y="4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0" y="13"/>
                </a:cxn>
                <a:cxn ang="0">
                  <a:pos x="0" y="17"/>
                </a:cxn>
                <a:cxn ang="0">
                  <a:pos x="2" y="21"/>
                </a:cxn>
                <a:cxn ang="0">
                  <a:pos x="4" y="25"/>
                </a:cxn>
                <a:cxn ang="0">
                  <a:pos x="8" y="27"/>
                </a:cxn>
                <a:cxn ang="0">
                  <a:pos x="12" y="28"/>
                </a:cxn>
                <a:cxn ang="0">
                  <a:pos x="23" y="29"/>
                </a:cxn>
                <a:cxn ang="0">
                  <a:pos x="30" y="29"/>
                </a:cxn>
                <a:cxn ang="0">
                  <a:pos x="34" y="29"/>
                </a:cxn>
                <a:cxn ang="0">
                  <a:pos x="35" y="27"/>
                </a:cxn>
                <a:cxn ang="0">
                  <a:pos x="36" y="23"/>
                </a:cxn>
                <a:cxn ang="0">
                  <a:pos x="36" y="17"/>
                </a:cxn>
              </a:cxnLst>
              <a:rect l="0" t="0" r="r" b="b"/>
              <a:pathLst>
                <a:path w="36" h="29">
                  <a:moveTo>
                    <a:pt x="36" y="17"/>
                  </a:moveTo>
                  <a:lnTo>
                    <a:pt x="18" y="0"/>
                  </a:lnTo>
                  <a:lnTo>
                    <a:pt x="12" y="1"/>
                  </a:lnTo>
                  <a:lnTo>
                    <a:pt x="7" y="4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2" y="21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2" y="28"/>
                  </a:lnTo>
                  <a:lnTo>
                    <a:pt x="23" y="29"/>
                  </a:lnTo>
                  <a:lnTo>
                    <a:pt x="30" y="29"/>
                  </a:lnTo>
                  <a:lnTo>
                    <a:pt x="34" y="29"/>
                  </a:lnTo>
                  <a:lnTo>
                    <a:pt x="35" y="27"/>
                  </a:lnTo>
                  <a:lnTo>
                    <a:pt x="36" y="23"/>
                  </a:lnTo>
                  <a:lnTo>
                    <a:pt x="36" y="1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auto">
            <a:xfrm>
              <a:off x="8696647" y="3938588"/>
              <a:ext cx="36513" cy="39687"/>
            </a:xfrm>
            <a:custGeom>
              <a:avLst/>
              <a:gdLst/>
              <a:ahLst/>
              <a:cxnLst>
                <a:cxn ang="0">
                  <a:pos x="78" y="55"/>
                </a:cxn>
                <a:cxn ang="0">
                  <a:pos x="66" y="39"/>
                </a:cxn>
                <a:cxn ang="0">
                  <a:pos x="49" y="20"/>
                </a:cxn>
                <a:cxn ang="0">
                  <a:pos x="40" y="12"/>
                </a:cxn>
                <a:cxn ang="0">
                  <a:pos x="30" y="6"/>
                </a:cxn>
                <a:cxn ang="0">
                  <a:pos x="21" y="2"/>
                </a:cxn>
                <a:cxn ang="0">
                  <a:pos x="12" y="0"/>
                </a:cxn>
                <a:cxn ang="0">
                  <a:pos x="4" y="3"/>
                </a:cxn>
                <a:cxn ang="0">
                  <a:pos x="0" y="6"/>
                </a:cxn>
                <a:cxn ang="0">
                  <a:pos x="4" y="14"/>
                </a:cxn>
                <a:cxn ang="0">
                  <a:pos x="5" y="22"/>
                </a:cxn>
                <a:cxn ang="0">
                  <a:pos x="6" y="30"/>
                </a:cxn>
                <a:cxn ang="0">
                  <a:pos x="8" y="38"/>
                </a:cxn>
                <a:cxn ang="0">
                  <a:pos x="9" y="44"/>
                </a:cxn>
                <a:cxn ang="0">
                  <a:pos x="12" y="50"/>
                </a:cxn>
                <a:cxn ang="0">
                  <a:pos x="14" y="51"/>
                </a:cxn>
                <a:cxn ang="0">
                  <a:pos x="17" y="54"/>
                </a:cxn>
                <a:cxn ang="0">
                  <a:pos x="20" y="54"/>
                </a:cxn>
                <a:cxn ang="0">
                  <a:pos x="24" y="55"/>
                </a:cxn>
                <a:cxn ang="0">
                  <a:pos x="25" y="64"/>
                </a:cxn>
                <a:cxn ang="0">
                  <a:pos x="26" y="72"/>
                </a:cxn>
                <a:cxn ang="0">
                  <a:pos x="29" y="78"/>
                </a:cxn>
                <a:cxn ang="0">
                  <a:pos x="32" y="80"/>
                </a:cxn>
                <a:cxn ang="0">
                  <a:pos x="37" y="83"/>
                </a:cxn>
                <a:cxn ang="0">
                  <a:pos x="42" y="84"/>
                </a:cxn>
                <a:cxn ang="0">
                  <a:pos x="48" y="84"/>
                </a:cxn>
                <a:cxn ang="0">
                  <a:pos x="54" y="84"/>
                </a:cxn>
                <a:cxn ang="0">
                  <a:pos x="60" y="84"/>
                </a:cxn>
                <a:cxn ang="0">
                  <a:pos x="65" y="83"/>
                </a:cxn>
                <a:cxn ang="0">
                  <a:pos x="69" y="80"/>
                </a:cxn>
                <a:cxn ang="0">
                  <a:pos x="73" y="76"/>
                </a:cxn>
                <a:cxn ang="0">
                  <a:pos x="76" y="72"/>
                </a:cxn>
                <a:cxn ang="0">
                  <a:pos x="77" y="67"/>
                </a:cxn>
                <a:cxn ang="0">
                  <a:pos x="78" y="60"/>
                </a:cxn>
                <a:cxn ang="0">
                  <a:pos x="78" y="55"/>
                </a:cxn>
              </a:cxnLst>
              <a:rect l="0" t="0" r="r" b="b"/>
              <a:pathLst>
                <a:path w="78" h="84">
                  <a:moveTo>
                    <a:pt x="78" y="55"/>
                  </a:moveTo>
                  <a:lnTo>
                    <a:pt x="66" y="39"/>
                  </a:lnTo>
                  <a:lnTo>
                    <a:pt x="49" y="20"/>
                  </a:lnTo>
                  <a:lnTo>
                    <a:pt x="40" y="12"/>
                  </a:lnTo>
                  <a:lnTo>
                    <a:pt x="30" y="6"/>
                  </a:lnTo>
                  <a:lnTo>
                    <a:pt x="21" y="2"/>
                  </a:lnTo>
                  <a:lnTo>
                    <a:pt x="12" y="0"/>
                  </a:lnTo>
                  <a:lnTo>
                    <a:pt x="4" y="3"/>
                  </a:lnTo>
                  <a:lnTo>
                    <a:pt x="0" y="6"/>
                  </a:lnTo>
                  <a:lnTo>
                    <a:pt x="4" y="14"/>
                  </a:lnTo>
                  <a:lnTo>
                    <a:pt x="5" y="22"/>
                  </a:lnTo>
                  <a:lnTo>
                    <a:pt x="6" y="30"/>
                  </a:lnTo>
                  <a:lnTo>
                    <a:pt x="8" y="38"/>
                  </a:lnTo>
                  <a:lnTo>
                    <a:pt x="9" y="44"/>
                  </a:lnTo>
                  <a:lnTo>
                    <a:pt x="12" y="50"/>
                  </a:lnTo>
                  <a:lnTo>
                    <a:pt x="14" y="51"/>
                  </a:lnTo>
                  <a:lnTo>
                    <a:pt x="17" y="54"/>
                  </a:lnTo>
                  <a:lnTo>
                    <a:pt x="20" y="54"/>
                  </a:lnTo>
                  <a:lnTo>
                    <a:pt x="24" y="55"/>
                  </a:lnTo>
                  <a:lnTo>
                    <a:pt x="25" y="64"/>
                  </a:lnTo>
                  <a:lnTo>
                    <a:pt x="26" y="72"/>
                  </a:lnTo>
                  <a:lnTo>
                    <a:pt x="29" y="78"/>
                  </a:lnTo>
                  <a:lnTo>
                    <a:pt x="32" y="80"/>
                  </a:lnTo>
                  <a:lnTo>
                    <a:pt x="37" y="83"/>
                  </a:lnTo>
                  <a:lnTo>
                    <a:pt x="42" y="84"/>
                  </a:lnTo>
                  <a:lnTo>
                    <a:pt x="48" y="84"/>
                  </a:lnTo>
                  <a:lnTo>
                    <a:pt x="54" y="84"/>
                  </a:lnTo>
                  <a:lnTo>
                    <a:pt x="60" y="84"/>
                  </a:lnTo>
                  <a:lnTo>
                    <a:pt x="65" y="83"/>
                  </a:lnTo>
                  <a:lnTo>
                    <a:pt x="69" y="80"/>
                  </a:lnTo>
                  <a:lnTo>
                    <a:pt x="73" y="76"/>
                  </a:lnTo>
                  <a:lnTo>
                    <a:pt x="76" y="72"/>
                  </a:lnTo>
                  <a:lnTo>
                    <a:pt x="77" y="67"/>
                  </a:lnTo>
                  <a:lnTo>
                    <a:pt x="78" y="60"/>
                  </a:lnTo>
                  <a:lnTo>
                    <a:pt x="78" y="5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auto">
            <a:xfrm>
              <a:off x="8652197" y="3783013"/>
              <a:ext cx="34925" cy="1063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" y="7"/>
                </a:cxn>
                <a:cxn ang="0">
                  <a:pos x="37" y="14"/>
                </a:cxn>
                <a:cxn ang="0">
                  <a:pos x="43" y="14"/>
                </a:cxn>
                <a:cxn ang="0">
                  <a:pos x="48" y="15"/>
                </a:cxn>
                <a:cxn ang="0">
                  <a:pos x="52" y="18"/>
                </a:cxn>
                <a:cxn ang="0">
                  <a:pos x="55" y="22"/>
                </a:cxn>
                <a:cxn ang="0">
                  <a:pos x="57" y="30"/>
                </a:cxn>
                <a:cxn ang="0">
                  <a:pos x="59" y="42"/>
                </a:cxn>
                <a:cxn ang="0">
                  <a:pos x="60" y="55"/>
                </a:cxn>
                <a:cxn ang="0">
                  <a:pos x="63" y="68"/>
                </a:cxn>
                <a:cxn ang="0">
                  <a:pos x="64" y="76"/>
                </a:cxn>
                <a:cxn ang="0">
                  <a:pos x="65" y="83"/>
                </a:cxn>
                <a:cxn ang="0">
                  <a:pos x="69" y="91"/>
                </a:cxn>
                <a:cxn ang="0">
                  <a:pos x="73" y="98"/>
                </a:cxn>
                <a:cxn ang="0">
                  <a:pos x="73" y="126"/>
                </a:cxn>
                <a:cxn ang="0">
                  <a:pos x="73" y="152"/>
                </a:cxn>
                <a:cxn ang="0">
                  <a:pos x="73" y="176"/>
                </a:cxn>
                <a:cxn ang="0">
                  <a:pos x="73" y="194"/>
                </a:cxn>
                <a:cxn ang="0">
                  <a:pos x="72" y="200"/>
                </a:cxn>
                <a:cxn ang="0">
                  <a:pos x="68" y="208"/>
                </a:cxn>
                <a:cxn ang="0">
                  <a:pos x="64" y="212"/>
                </a:cxn>
                <a:cxn ang="0">
                  <a:pos x="60" y="215"/>
                </a:cxn>
                <a:cxn ang="0">
                  <a:pos x="55" y="218"/>
                </a:cxn>
                <a:cxn ang="0">
                  <a:pos x="49" y="218"/>
                </a:cxn>
                <a:cxn ang="0">
                  <a:pos x="43" y="216"/>
                </a:cxn>
                <a:cxn ang="0">
                  <a:pos x="36" y="212"/>
                </a:cxn>
                <a:cxn ang="0">
                  <a:pos x="28" y="206"/>
                </a:cxn>
                <a:cxn ang="0">
                  <a:pos x="20" y="198"/>
                </a:cxn>
                <a:cxn ang="0">
                  <a:pos x="12" y="188"/>
                </a:cxn>
                <a:cxn ang="0">
                  <a:pos x="7" y="180"/>
                </a:cxn>
                <a:cxn ang="0">
                  <a:pos x="3" y="171"/>
                </a:cxn>
                <a:cxn ang="0">
                  <a:pos x="0" y="163"/>
                </a:cxn>
                <a:cxn ang="0">
                  <a:pos x="1" y="154"/>
                </a:cxn>
                <a:cxn ang="0">
                  <a:pos x="4" y="144"/>
                </a:cxn>
                <a:cxn ang="0">
                  <a:pos x="7" y="138"/>
                </a:cxn>
                <a:cxn ang="0">
                  <a:pos x="9" y="131"/>
                </a:cxn>
                <a:cxn ang="0">
                  <a:pos x="13" y="126"/>
                </a:cxn>
                <a:cxn ang="0">
                  <a:pos x="16" y="119"/>
                </a:cxn>
                <a:cxn ang="0">
                  <a:pos x="17" y="112"/>
                </a:cxn>
                <a:cxn ang="0">
                  <a:pos x="19" y="103"/>
                </a:cxn>
                <a:cxn ang="0">
                  <a:pos x="17" y="91"/>
                </a:cxn>
                <a:cxn ang="0">
                  <a:pos x="16" y="83"/>
                </a:cxn>
                <a:cxn ang="0">
                  <a:pos x="13" y="76"/>
                </a:cxn>
                <a:cxn ang="0">
                  <a:pos x="9" y="71"/>
                </a:cxn>
                <a:cxn ang="0">
                  <a:pos x="7" y="66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3"/>
                </a:cxn>
                <a:cxn ang="0">
                  <a:pos x="0" y="38"/>
                </a:cxn>
                <a:cxn ang="0">
                  <a:pos x="0" y="24"/>
                </a:cxn>
                <a:cxn ang="0">
                  <a:pos x="0" y="10"/>
                </a:cxn>
                <a:cxn ang="0">
                  <a:pos x="0" y="0"/>
                </a:cxn>
              </a:cxnLst>
              <a:rect l="0" t="0" r="r" b="b"/>
              <a:pathLst>
                <a:path w="73" h="218">
                  <a:moveTo>
                    <a:pt x="0" y="0"/>
                  </a:moveTo>
                  <a:lnTo>
                    <a:pt x="21" y="7"/>
                  </a:lnTo>
                  <a:lnTo>
                    <a:pt x="37" y="14"/>
                  </a:lnTo>
                  <a:lnTo>
                    <a:pt x="43" y="14"/>
                  </a:lnTo>
                  <a:lnTo>
                    <a:pt x="48" y="15"/>
                  </a:lnTo>
                  <a:lnTo>
                    <a:pt x="52" y="18"/>
                  </a:lnTo>
                  <a:lnTo>
                    <a:pt x="55" y="22"/>
                  </a:lnTo>
                  <a:lnTo>
                    <a:pt x="57" y="30"/>
                  </a:lnTo>
                  <a:lnTo>
                    <a:pt x="59" y="42"/>
                  </a:lnTo>
                  <a:lnTo>
                    <a:pt x="60" y="55"/>
                  </a:lnTo>
                  <a:lnTo>
                    <a:pt x="63" y="68"/>
                  </a:lnTo>
                  <a:lnTo>
                    <a:pt x="64" y="76"/>
                  </a:lnTo>
                  <a:lnTo>
                    <a:pt x="65" y="83"/>
                  </a:lnTo>
                  <a:lnTo>
                    <a:pt x="69" y="91"/>
                  </a:lnTo>
                  <a:lnTo>
                    <a:pt x="73" y="98"/>
                  </a:lnTo>
                  <a:lnTo>
                    <a:pt x="73" y="126"/>
                  </a:lnTo>
                  <a:lnTo>
                    <a:pt x="73" y="152"/>
                  </a:lnTo>
                  <a:lnTo>
                    <a:pt x="73" y="176"/>
                  </a:lnTo>
                  <a:lnTo>
                    <a:pt x="73" y="194"/>
                  </a:lnTo>
                  <a:lnTo>
                    <a:pt x="72" y="200"/>
                  </a:lnTo>
                  <a:lnTo>
                    <a:pt x="68" y="208"/>
                  </a:lnTo>
                  <a:lnTo>
                    <a:pt x="64" y="212"/>
                  </a:lnTo>
                  <a:lnTo>
                    <a:pt x="60" y="215"/>
                  </a:lnTo>
                  <a:lnTo>
                    <a:pt x="55" y="218"/>
                  </a:lnTo>
                  <a:lnTo>
                    <a:pt x="49" y="218"/>
                  </a:lnTo>
                  <a:lnTo>
                    <a:pt x="43" y="216"/>
                  </a:lnTo>
                  <a:lnTo>
                    <a:pt x="36" y="212"/>
                  </a:lnTo>
                  <a:lnTo>
                    <a:pt x="28" y="206"/>
                  </a:lnTo>
                  <a:lnTo>
                    <a:pt x="20" y="198"/>
                  </a:lnTo>
                  <a:lnTo>
                    <a:pt x="12" y="188"/>
                  </a:lnTo>
                  <a:lnTo>
                    <a:pt x="7" y="180"/>
                  </a:lnTo>
                  <a:lnTo>
                    <a:pt x="3" y="171"/>
                  </a:lnTo>
                  <a:lnTo>
                    <a:pt x="0" y="163"/>
                  </a:lnTo>
                  <a:lnTo>
                    <a:pt x="1" y="154"/>
                  </a:lnTo>
                  <a:lnTo>
                    <a:pt x="4" y="144"/>
                  </a:lnTo>
                  <a:lnTo>
                    <a:pt x="7" y="138"/>
                  </a:lnTo>
                  <a:lnTo>
                    <a:pt x="9" y="131"/>
                  </a:lnTo>
                  <a:lnTo>
                    <a:pt x="13" y="126"/>
                  </a:lnTo>
                  <a:lnTo>
                    <a:pt x="16" y="119"/>
                  </a:lnTo>
                  <a:lnTo>
                    <a:pt x="17" y="112"/>
                  </a:lnTo>
                  <a:lnTo>
                    <a:pt x="19" y="103"/>
                  </a:lnTo>
                  <a:lnTo>
                    <a:pt x="17" y="91"/>
                  </a:lnTo>
                  <a:lnTo>
                    <a:pt x="16" y="83"/>
                  </a:lnTo>
                  <a:lnTo>
                    <a:pt x="13" y="76"/>
                  </a:lnTo>
                  <a:lnTo>
                    <a:pt x="9" y="71"/>
                  </a:lnTo>
                  <a:lnTo>
                    <a:pt x="7" y="66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0" y="24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5" name="Freeform 31"/>
            <p:cNvSpPr>
              <a:spLocks/>
            </p:cNvSpPr>
            <p:nvPr/>
          </p:nvSpPr>
          <p:spPr bwMode="auto">
            <a:xfrm>
              <a:off x="8650609" y="3746500"/>
              <a:ext cx="30163" cy="28575"/>
            </a:xfrm>
            <a:custGeom>
              <a:avLst/>
              <a:gdLst/>
              <a:ahLst/>
              <a:cxnLst>
                <a:cxn ang="0">
                  <a:pos x="29" y="12"/>
                </a:cxn>
                <a:cxn ang="0">
                  <a:pos x="18" y="11"/>
                </a:cxn>
                <a:cxn ang="0">
                  <a:pos x="12" y="8"/>
                </a:cxn>
                <a:cxn ang="0">
                  <a:pos x="6" y="4"/>
                </a:cxn>
                <a:cxn ang="0">
                  <a:pos x="0" y="0"/>
                </a:cxn>
                <a:cxn ang="0">
                  <a:pos x="0" y="23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1" y="44"/>
                </a:cxn>
                <a:cxn ang="0">
                  <a:pos x="4" y="49"/>
                </a:cxn>
                <a:cxn ang="0">
                  <a:pos x="8" y="52"/>
                </a:cxn>
                <a:cxn ang="0">
                  <a:pos x="12" y="56"/>
                </a:cxn>
                <a:cxn ang="0">
                  <a:pos x="17" y="57"/>
                </a:cxn>
                <a:cxn ang="0">
                  <a:pos x="24" y="60"/>
                </a:cxn>
                <a:cxn ang="0">
                  <a:pos x="29" y="60"/>
                </a:cxn>
                <a:cxn ang="0">
                  <a:pos x="38" y="60"/>
                </a:cxn>
                <a:cxn ang="0">
                  <a:pos x="45" y="59"/>
                </a:cxn>
                <a:cxn ang="0">
                  <a:pos x="50" y="57"/>
                </a:cxn>
                <a:cxn ang="0">
                  <a:pos x="54" y="55"/>
                </a:cxn>
                <a:cxn ang="0">
                  <a:pos x="58" y="52"/>
                </a:cxn>
                <a:cxn ang="0">
                  <a:pos x="61" y="47"/>
                </a:cxn>
                <a:cxn ang="0">
                  <a:pos x="64" y="43"/>
                </a:cxn>
                <a:cxn ang="0">
                  <a:pos x="66" y="36"/>
                </a:cxn>
                <a:cxn ang="0">
                  <a:pos x="29" y="12"/>
                </a:cxn>
              </a:cxnLst>
              <a:rect l="0" t="0" r="r" b="b"/>
              <a:pathLst>
                <a:path w="66" h="60">
                  <a:moveTo>
                    <a:pt x="29" y="12"/>
                  </a:moveTo>
                  <a:lnTo>
                    <a:pt x="18" y="11"/>
                  </a:lnTo>
                  <a:lnTo>
                    <a:pt x="12" y="8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1" y="44"/>
                  </a:lnTo>
                  <a:lnTo>
                    <a:pt x="4" y="49"/>
                  </a:lnTo>
                  <a:lnTo>
                    <a:pt x="8" y="52"/>
                  </a:lnTo>
                  <a:lnTo>
                    <a:pt x="12" y="56"/>
                  </a:lnTo>
                  <a:lnTo>
                    <a:pt x="17" y="57"/>
                  </a:lnTo>
                  <a:lnTo>
                    <a:pt x="24" y="60"/>
                  </a:lnTo>
                  <a:lnTo>
                    <a:pt x="29" y="60"/>
                  </a:lnTo>
                  <a:lnTo>
                    <a:pt x="38" y="60"/>
                  </a:lnTo>
                  <a:lnTo>
                    <a:pt x="45" y="59"/>
                  </a:lnTo>
                  <a:lnTo>
                    <a:pt x="50" y="57"/>
                  </a:lnTo>
                  <a:lnTo>
                    <a:pt x="54" y="55"/>
                  </a:lnTo>
                  <a:lnTo>
                    <a:pt x="58" y="52"/>
                  </a:lnTo>
                  <a:lnTo>
                    <a:pt x="61" y="47"/>
                  </a:lnTo>
                  <a:lnTo>
                    <a:pt x="64" y="43"/>
                  </a:lnTo>
                  <a:lnTo>
                    <a:pt x="66" y="36"/>
                  </a:lnTo>
                  <a:lnTo>
                    <a:pt x="29" y="1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6" name="Freeform 32"/>
            <p:cNvSpPr>
              <a:spLocks/>
            </p:cNvSpPr>
            <p:nvPr/>
          </p:nvSpPr>
          <p:spPr bwMode="auto">
            <a:xfrm>
              <a:off x="8602984" y="3795713"/>
              <a:ext cx="25400" cy="23812"/>
            </a:xfrm>
            <a:custGeom>
              <a:avLst/>
              <a:gdLst/>
              <a:ahLst/>
              <a:cxnLst>
                <a:cxn ang="0">
                  <a:pos x="53" y="5"/>
                </a:cxn>
                <a:cxn ang="0">
                  <a:pos x="36" y="2"/>
                </a:cxn>
                <a:cxn ang="0">
                  <a:pos x="24" y="0"/>
                </a:cxn>
                <a:cxn ang="0">
                  <a:pos x="17" y="2"/>
                </a:cxn>
                <a:cxn ang="0">
                  <a:pos x="9" y="9"/>
                </a:cxn>
                <a:cxn ang="0">
                  <a:pos x="5" y="14"/>
                </a:cxn>
                <a:cxn ang="0">
                  <a:pos x="3" y="20"/>
                </a:cxn>
                <a:cxn ang="0">
                  <a:pos x="0" y="25"/>
                </a:cxn>
                <a:cxn ang="0">
                  <a:pos x="0" y="29"/>
                </a:cxn>
                <a:cxn ang="0">
                  <a:pos x="1" y="32"/>
                </a:cxn>
                <a:cxn ang="0">
                  <a:pos x="4" y="34"/>
                </a:cxn>
                <a:cxn ang="0">
                  <a:pos x="9" y="37"/>
                </a:cxn>
                <a:cxn ang="0">
                  <a:pos x="15" y="41"/>
                </a:cxn>
                <a:cxn ang="0">
                  <a:pos x="28" y="45"/>
                </a:cxn>
                <a:cxn ang="0">
                  <a:pos x="36" y="48"/>
                </a:cxn>
                <a:cxn ang="0">
                  <a:pos x="44" y="48"/>
                </a:cxn>
                <a:cxn ang="0">
                  <a:pos x="53" y="48"/>
                </a:cxn>
                <a:cxn ang="0">
                  <a:pos x="53" y="37"/>
                </a:cxn>
                <a:cxn ang="0">
                  <a:pos x="53" y="29"/>
                </a:cxn>
                <a:cxn ang="0">
                  <a:pos x="53" y="20"/>
                </a:cxn>
                <a:cxn ang="0">
                  <a:pos x="53" y="5"/>
                </a:cxn>
              </a:cxnLst>
              <a:rect l="0" t="0" r="r" b="b"/>
              <a:pathLst>
                <a:path w="53" h="48">
                  <a:moveTo>
                    <a:pt x="53" y="5"/>
                  </a:moveTo>
                  <a:lnTo>
                    <a:pt x="36" y="2"/>
                  </a:lnTo>
                  <a:lnTo>
                    <a:pt x="24" y="0"/>
                  </a:lnTo>
                  <a:lnTo>
                    <a:pt x="17" y="2"/>
                  </a:lnTo>
                  <a:lnTo>
                    <a:pt x="9" y="9"/>
                  </a:lnTo>
                  <a:lnTo>
                    <a:pt x="5" y="14"/>
                  </a:lnTo>
                  <a:lnTo>
                    <a:pt x="3" y="20"/>
                  </a:lnTo>
                  <a:lnTo>
                    <a:pt x="0" y="25"/>
                  </a:lnTo>
                  <a:lnTo>
                    <a:pt x="0" y="29"/>
                  </a:lnTo>
                  <a:lnTo>
                    <a:pt x="1" y="32"/>
                  </a:lnTo>
                  <a:lnTo>
                    <a:pt x="4" y="34"/>
                  </a:lnTo>
                  <a:lnTo>
                    <a:pt x="9" y="37"/>
                  </a:lnTo>
                  <a:lnTo>
                    <a:pt x="15" y="41"/>
                  </a:lnTo>
                  <a:lnTo>
                    <a:pt x="28" y="45"/>
                  </a:lnTo>
                  <a:lnTo>
                    <a:pt x="36" y="48"/>
                  </a:lnTo>
                  <a:lnTo>
                    <a:pt x="44" y="48"/>
                  </a:lnTo>
                  <a:lnTo>
                    <a:pt x="53" y="48"/>
                  </a:lnTo>
                  <a:lnTo>
                    <a:pt x="53" y="37"/>
                  </a:lnTo>
                  <a:lnTo>
                    <a:pt x="53" y="29"/>
                  </a:lnTo>
                  <a:lnTo>
                    <a:pt x="53" y="20"/>
                  </a:lnTo>
                  <a:lnTo>
                    <a:pt x="53" y="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7" name="Freeform 33"/>
            <p:cNvSpPr>
              <a:spLocks/>
            </p:cNvSpPr>
            <p:nvPr/>
          </p:nvSpPr>
          <p:spPr bwMode="auto">
            <a:xfrm>
              <a:off x="8564884" y="2855913"/>
              <a:ext cx="69850" cy="31750"/>
            </a:xfrm>
            <a:custGeom>
              <a:avLst/>
              <a:gdLst/>
              <a:ahLst/>
              <a:cxnLst>
                <a:cxn ang="0">
                  <a:pos x="108" y="17"/>
                </a:cxn>
                <a:cxn ang="0">
                  <a:pos x="86" y="17"/>
                </a:cxn>
                <a:cxn ang="0">
                  <a:pos x="62" y="16"/>
                </a:cxn>
                <a:cxn ang="0">
                  <a:pos x="51" y="13"/>
                </a:cxn>
                <a:cxn ang="0">
                  <a:pos x="40" y="11"/>
                </a:cxn>
                <a:cxn ang="0">
                  <a:pos x="32" y="5"/>
                </a:cxn>
                <a:cxn ang="0">
                  <a:pos x="24" y="0"/>
                </a:cxn>
                <a:cxn ang="0">
                  <a:pos x="19" y="1"/>
                </a:cxn>
                <a:cxn ang="0">
                  <a:pos x="15" y="4"/>
                </a:cxn>
                <a:cxn ang="0">
                  <a:pos x="12" y="7"/>
                </a:cxn>
                <a:cxn ang="0">
                  <a:pos x="10" y="9"/>
                </a:cxn>
                <a:cxn ang="0">
                  <a:pos x="7" y="16"/>
                </a:cxn>
                <a:cxn ang="0">
                  <a:pos x="0" y="24"/>
                </a:cxn>
                <a:cxn ang="0">
                  <a:pos x="0" y="60"/>
                </a:cxn>
                <a:cxn ang="0">
                  <a:pos x="11" y="61"/>
                </a:cxn>
                <a:cxn ang="0">
                  <a:pos x="22" y="63"/>
                </a:cxn>
                <a:cxn ang="0">
                  <a:pos x="31" y="63"/>
                </a:cxn>
                <a:cxn ang="0">
                  <a:pos x="42" y="63"/>
                </a:cxn>
                <a:cxn ang="0">
                  <a:pos x="68" y="61"/>
                </a:cxn>
                <a:cxn ang="0">
                  <a:pos x="103" y="60"/>
                </a:cxn>
                <a:cxn ang="0">
                  <a:pos x="115" y="59"/>
                </a:cxn>
                <a:cxn ang="0">
                  <a:pos x="123" y="57"/>
                </a:cxn>
                <a:cxn ang="0">
                  <a:pos x="130" y="53"/>
                </a:cxn>
                <a:cxn ang="0">
                  <a:pos x="135" y="48"/>
                </a:cxn>
                <a:cxn ang="0">
                  <a:pos x="140" y="35"/>
                </a:cxn>
                <a:cxn ang="0">
                  <a:pos x="144" y="17"/>
                </a:cxn>
                <a:cxn ang="0">
                  <a:pos x="127" y="17"/>
                </a:cxn>
                <a:cxn ang="0">
                  <a:pos x="108" y="17"/>
                </a:cxn>
              </a:cxnLst>
              <a:rect l="0" t="0" r="r" b="b"/>
              <a:pathLst>
                <a:path w="144" h="63">
                  <a:moveTo>
                    <a:pt x="108" y="17"/>
                  </a:moveTo>
                  <a:lnTo>
                    <a:pt x="86" y="17"/>
                  </a:lnTo>
                  <a:lnTo>
                    <a:pt x="62" y="16"/>
                  </a:lnTo>
                  <a:lnTo>
                    <a:pt x="51" y="13"/>
                  </a:lnTo>
                  <a:lnTo>
                    <a:pt x="40" y="11"/>
                  </a:lnTo>
                  <a:lnTo>
                    <a:pt x="32" y="5"/>
                  </a:lnTo>
                  <a:lnTo>
                    <a:pt x="24" y="0"/>
                  </a:lnTo>
                  <a:lnTo>
                    <a:pt x="19" y="1"/>
                  </a:lnTo>
                  <a:lnTo>
                    <a:pt x="15" y="4"/>
                  </a:lnTo>
                  <a:lnTo>
                    <a:pt x="12" y="7"/>
                  </a:lnTo>
                  <a:lnTo>
                    <a:pt x="10" y="9"/>
                  </a:lnTo>
                  <a:lnTo>
                    <a:pt x="7" y="16"/>
                  </a:lnTo>
                  <a:lnTo>
                    <a:pt x="0" y="24"/>
                  </a:lnTo>
                  <a:lnTo>
                    <a:pt x="0" y="60"/>
                  </a:lnTo>
                  <a:lnTo>
                    <a:pt x="11" y="61"/>
                  </a:lnTo>
                  <a:lnTo>
                    <a:pt x="22" y="63"/>
                  </a:lnTo>
                  <a:lnTo>
                    <a:pt x="31" y="63"/>
                  </a:lnTo>
                  <a:lnTo>
                    <a:pt x="42" y="63"/>
                  </a:lnTo>
                  <a:lnTo>
                    <a:pt x="68" y="61"/>
                  </a:lnTo>
                  <a:lnTo>
                    <a:pt x="103" y="60"/>
                  </a:lnTo>
                  <a:lnTo>
                    <a:pt x="115" y="59"/>
                  </a:lnTo>
                  <a:lnTo>
                    <a:pt x="123" y="57"/>
                  </a:lnTo>
                  <a:lnTo>
                    <a:pt x="130" y="53"/>
                  </a:lnTo>
                  <a:lnTo>
                    <a:pt x="135" y="48"/>
                  </a:lnTo>
                  <a:lnTo>
                    <a:pt x="140" y="35"/>
                  </a:lnTo>
                  <a:lnTo>
                    <a:pt x="144" y="17"/>
                  </a:lnTo>
                  <a:lnTo>
                    <a:pt x="127" y="17"/>
                  </a:lnTo>
                  <a:lnTo>
                    <a:pt x="108" y="1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8" name="Freeform 34"/>
            <p:cNvSpPr>
              <a:spLocks/>
            </p:cNvSpPr>
            <p:nvPr/>
          </p:nvSpPr>
          <p:spPr bwMode="auto">
            <a:xfrm>
              <a:off x="8661722" y="2792413"/>
              <a:ext cx="52388" cy="28575"/>
            </a:xfrm>
            <a:custGeom>
              <a:avLst/>
              <a:gdLst/>
              <a:ahLst/>
              <a:cxnLst>
                <a:cxn ang="0">
                  <a:pos x="42" y="54"/>
                </a:cxn>
                <a:cxn ang="0">
                  <a:pos x="12" y="60"/>
                </a:cxn>
                <a:cxn ang="0">
                  <a:pos x="5" y="49"/>
                </a:cxn>
                <a:cxn ang="0">
                  <a:pos x="0" y="42"/>
                </a:cxn>
                <a:cxn ang="0">
                  <a:pos x="1" y="33"/>
                </a:cxn>
                <a:cxn ang="0">
                  <a:pos x="5" y="25"/>
                </a:cxn>
                <a:cxn ang="0">
                  <a:pos x="12" y="18"/>
                </a:cxn>
                <a:cxn ang="0">
                  <a:pos x="20" y="12"/>
                </a:cxn>
                <a:cxn ang="0">
                  <a:pos x="29" y="8"/>
                </a:cxn>
                <a:cxn ang="0">
                  <a:pos x="40" y="4"/>
                </a:cxn>
                <a:cxn ang="0">
                  <a:pos x="53" y="1"/>
                </a:cxn>
                <a:cxn ang="0">
                  <a:pos x="66" y="0"/>
                </a:cxn>
                <a:cxn ang="0">
                  <a:pos x="80" y="1"/>
                </a:cxn>
                <a:cxn ang="0">
                  <a:pos x="92" y="2"/>
                </a:cxn>
                <a:cxn ang="0">
                  <a:pos x="97" y="5"/>
                </a:cxn>
                <a:cxn ang="0">
                  <a:pos x="101" y="8"/>
                </a:cxn>
                <a:cxn ang="0">
                  <a:pos x="105" y="12"/>
                </a:cxn>
                <a:cxn ang="0">
                  <a:pos x="108" y="18"/>
                </a:cxn>
                <a:cxn ang="0">
                  <a:pos x="96" y="25"/>
                </a:cxn>
                <a:cxn ang="0">
                  <a:pos x="86" y="28"/>
                </a:cxn>
                <a:cxn ang="0">
                  <a:pos x="82" y="30"/>
                </a:cxn>
                <a:cxn ang="0">
                  <a:pos x="80" y="33"/>
                </a:cxn>
                <a:cxn ang="0">
                  <a:pos x="78" y="37"/>
                </a:cxn>
                <a:cxn ang="0">
                  <a:pos x="78" y="42"/>
                </a:cxn>
                <a:cxn ang="0">
                  <a:pos x="42" y="54"/>
                </a:cxn>
              </a:cxnLst>
              <a:rect l="0" t="0" r="r" b="b"/>
              <a:pathLst>
                <a:path w="108" h="60">
                  <a:moveTo>
                    <a:pt x="42" y="54"/>
                  </a:moveTo>
                  <a:lnTo>
                    <a:pt x="12" y="60"/>
                  </a:lnTo>
                  <a:lnTo>
                    <a:pt x="5" y="49"/>
                  </a:lnTo>
                  <a:lnTo>
                    <a:pt x="0" y="42"/>
                  </a:lnTo>
                  <a:lnTo>
                    <a:pt x="1" y="33"/>
                  </a:lnTo>
                  <a:lnTo>
                    <a:pt x="5" y="25"/>
                  </a:lnTo>
                  <a:lnTo>
                    <a:pt x="12" y="18"/>
                  </a:lnTo>
                  <a:lnTo>
                    <a:pt x="20" y="12"/>
                  </a:lnTo>
                  <a:lnTo>
                    <a:pt x="29" y="8"/>
                  </a:lnTo>
                  <a:lnTo>
                    <a:pt x="40" y="4"/>
                  </a:lnTo>
                  <a:lnTo>
                    <a:pt x="53" y="1"/>
                  </a:lnTo>
                  <a:lnTo>
                    <a:pt x="66" y="0"/>
                  </a:lnTo>
                  <a:lnTo>
                    <a:pt x="80" y="1"/>
                  </a:lnTo>
                  <a:lnTo>
                    <a:pt x="92" y="2"/>
                  </a:lnTo>
                  <a:lnTo>
                    <a:pt x="97" y="5"/>
                  </a:lnTo>
                  <a:lnTo>
                    <a:pt x="101" y="8"/>
                  </a:lnTo>
                  <a:lnTo>
                    <a:pt x="105" y="12"/>
                  </a:lnTo>
                  <a:lnTo>
                    <a:pt x="108" y="18"/>
                  </a:lnTo>
                  <a:lnTo>
                    <a:pt x="96" y="25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0" y="33"/>
                  </a:lnTo>
                  <a:lnTo>
                    <a:pt x="78" y="37"/>
                  </a:lnTo>
                  <a:lnTo>
                    <a:pt x="78" y="42"/>
                  </a:lnTo>
                  <a:lnTo>
                    <a:pt x="42" y="5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39" name="Freeform 35"/>
            <p:cNvSpPr>
              <a:spLocks/>
            </p:cNvSpPr>
            <p:nvPr/>
          </p:nvSpPr>
          <p:spPr bwMode="auto">
            <a:xfrm>
              <a:off x="7058347" y="1308100"/>
              <a:ext cx="69850" cy="173037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128" y="8"/>
                </a:cxn>
                <a:cxn ang="0">
                  <a:pos x="112" y="18"/>
                </a:cxn>
                <a:cxn ang="0">
                  <a:pos x="97" y="28"/>
                </a:cxn>
                <a:cxn ang="0">
                  <a:pos x="82" y="39"/>
                </a:cxn>
                <a:cxn ang="0">
                  <a:pos x="70" y="51"/>
                </a:cxn>
                <a:cxn ang="0">
                  <a:pos x="58" y="63"/>
                </a:cxn>
                <a:cxn ang="0">
                  <a:pos x="48" y="78"/>
                </a:cxn>
                <a:cxn ang="0">
                  <a:pos x="37" y="91"/>
                </a:cxn>
                <a:cxn ang="0">
                  <a:pos x="29" y="107"/>
                </a:cxn>
                <a:cxn ang="0">
                  <a:pos x="21" y="123"/>
                </a:cxn>
                <a:cxn ang="0">
                  <a:pos x="14" y="140"/>
                </a:cxn>
                <a:cxn ang="0">
                  <a:pos x="9" y="159"/>
                </a:cxn>
                <a:cxn ang="0">
                  <a:pos x="5" y="178"/>
                </a:cxn>
                <a:cxn ang="0">
                  <a:pos x="1" y="198"/>
                </a:cxn>
                <a:cxn ang="0">
                  <a:pos x="0" y="219"/>
                </a:cxn>
                <a:cxn ang="0">
                  <a:pos x="0" y="242"/>
                </a:cxn>
                <a:cxn ang="0">
                  <a:pos x="0" y="260"/>
                </a:cxn>
                <a:cxn ang="0">
                  <a:pos x="2" y="278"/>
                </a:cxn>
                <a:cxn ang="0">
                  <a:pos x="6" y="292"/>
                </a:cxn>
                <a:cxn ang="0">
                  <a:pos x="10" y="304"/>
                </a:cxn>
                <a:cxn ang="0">
                  <a:pos x="17" y="315"/>
                </a:cxn>
                <a:cxn ang="0">
                  <a:pos x="24" y="324"/>
                </a:cxn>
                <a:cxn ang="0">
                  <a:pos x="33" y="331"/>
                </a:cxn>
                <a:cxn ang="0">
                  <a:pos x="42" y="338"/>
                </a:cxn>
                <a:cxn ang="0">
                  <a:pos x="52" y="342"/>
                </a:cxn>
                <a:cxn ang="0">
                  <a:pos x="64" y="346"/>
                </a:cxn>
                <a:cxn ang="0">
                  <a:pos x="76" y="348"/>
                </a:cxn>
                <a:cxn ang="0">
                  <a:pos x="88" y="351"/>
                </a:cxn>
                <a:cxn ang="0">
                  <a:pos x="114" y="354"/>
                </a:cxn>
                <a:cxn ang="0">
                  <a:pos x="144" y="356"/>
                </a:cxn>
                <a:cxn ang="0">
                  <a:pos x="144" y="0"/>
                </a:cxn>
              </a:cxnLst>
              <a:rect l="0" t="0" r="r" b="b"/>
              <a:pathLst>
                <a:path w="144" h="356">
                  <a:moveTo>
                    <a:pt x="144" y="0"/>
                  </a:moveTo>
                  <a:lnTo>
                    <a:pt x="128" y="8"/>
                  </a:lnTo>
                  <a:lnTo>
                    <a:pt x="112" y="18"/>
                  </a:lnTo>
                  <a:lnTo>
                    <a:pt x="97" y="28"/>
                  </a:lnTo>
                  <a:lnTo>
                    <a:pt x="82" y="39"/>
                  </a:lnTo>
                  <a:lnTo>
                    <a:pt x="70" y="51"/>
                  </a:lnTo>
                  <a:lnTo>
                    <a:pt x="58" y="63"/>
                  </a:lnTo>
                  <a:lnTo>
                    <a:pt x="48" y="78"/>
                  </a:lnTo>
                  <a:lnTo>
                    <a:pt x="37" y="91"/>
                  </a:lnTo>
                  <a:lnTo>
                    <a:pt x="29" y="107"/>
                  </a:lnTo>
                  <a:lnTo>
                    <a:pt x="21" y="123"/>
                  </a:lnTo>
                  <a:lnTo>
                    <a:pt x="14" y="140"/>
                  </a:lnTo>
                  <a:lnTo>
                    <a:pt x="9" y="159"/>
                  </a:lnTo>
                  <a:lnTo>
                    <a:pt x="5" y="178"/>
                  </a:lnTo>
                  <a:lnTo>
                    <a:pt x="1" y="198"/>
                  </a:lnTo>
                  <a:lnTo>
                    <a:pt x="0" y="219"/>
                  </a:lnTo>
                  <a:lnTo>
                    <a:pt x="0" y="242"/>
                  </a:lnTo>
                  <a:lnTo>
                    <a:pt x="0" y="260"/>
                  </a:lnTo>
                  <a:lnTo>
                    <a:pt x="2" y="278"/>
                  </a:lnTo>
                  <a:lnTo>
                    <a:pt x="6" y="292"/>
                  </a:lnTo>
                  <a:lnTo>
                    <a:pt x="10" y="304"/>
                  </a:lnTo>
                  <a:lnTo>
                    <a:pt x="17" y="315"/>
                  </a:lnTo>
                  <a:lnTo>
                    <a:pt x="24" y="324"/>
                  </a:lnTo>
                  <a:lnTo>
                    <a:pt x="33" y="331"/>
                  </a:lnTo>
                  <a:lnTo>
                    <a:pt x="42" y="338"/>
                  </a:lnTo>
                  <a:lnTo>
                    <a:pt x="52" y="342"/>
                  </a:lnTo>
                  <a:lnTo>
                    <a:pt x="64" y="346"/>
                  </a:lnTo>
                  <a:lnTo>
                    <a:pt x="76" y="348"/>
                  </a:lnTo>
                  <a:lnTo>
                    <a:pt x="88" y="351"/>
                  </a:lnTo>
                  <a:lnTo>
                    <a:pt x="114" y="354"/>
                  </a:lnTo>
                  <a:lnTo>
                    <a:pt x="144" y="356"/>
                  </a:lnTo>
                  <a:lnTo>
                    <a:pt x="144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40" name="Freeform 36"/>
            <p:cNvSpPr>
              <a:spLocks/>
            </p:cNvSpPr>
            <p:nvPr/>
          </p:nvSpPr>
          <p:spPr bwMode="auto">
            <a:xfrm>
              <a:off x="7691759" y="4219575"/>
              <a:ext cx="61913" cy="42862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37" y="5"/>
                </a:cxn>
                <a:cxn ang="0">
                  <a:pos x="25" y="10"/>
                </a:cxn>
                <a:cxn ang="0">
                  <a:pos x="16" y="16"/>
                </a:cxn>
                <a:cxn ang="0">
                  <a:pos x="9" y="22"/>
                </a:cxn>
                <a:cxn ang="0">
                  <a:pos x="6" y="25"/>
                </a:cxn>
                <a:cxn ang="0">
                  <a:pos x="4" y="29"/>
                </a:cxn>
                <a:cxn ang="0">
                  <a:pos x="2" y="34"/>
                </a:cxn>
                <a:cxn ang="0">
                  <a:pos x="1" y="40"/>
                </a:cxn>
                <a:cxn ang="0">
                  <a:pos x="0" y="53"/>
                </a:cxn>
                <a:cxn ang="0">
                  <a:pos x="0" y="72"/>
                </a:cxn>
                <a:cxn ang="0">
                  <a:pos x="44" y="81"/>
                </a:cxn>
                <a:cxn ang="0">
                  <a:pos x="74" y="86"/>
                </a:cxn>
                <a:cxn ang="0">
                  <a:pos x="81" y="86"/>
                </a:cxn>
                <a:cxn ang="0">
                  <a:pos x="86" y="85"/>
                </a:cxn>
                <a:cxn ang="0">
                  <a:pos x="93" y="84"/>
                </a:cxn>
                <a:cxn ang="0">
                  <a:pos x="98" y="81"/>
                </a:cxn>
                <a:cxn ang="0">
                  <a:pos x="105" y="77"/>
                </a:cxn>
                <a:cxn ang="0">
                  <a:pos x="112" y="73"/>
                </a:cxn>
                <a:cxn ang="0">
                  <a:pos x="118" y="66"/>
                </a:cxn>
                <a:cxn ang="0">
                  <a:pos x="126" y="60"/>
                </a:cxn>
                <a:cxn ang="0">
                  <a:pos x="108" y="44"/>
                </a:cxn>
                <a:cxn ang="0">
                  <a:pos x="88" y="32"/>
                </a:cxn>
                <a:cxn ang="0">
                  <a:pos x="78" y="25"/>
                </a:cxn>
                <a:cxn ang="0">
                  <a:pos x="69" y="18"/>
                </a:cxn>
                <a:cxn ang="0">
                  <a:pos x="61" y="9"/>
                </a:cxn>
                <a:cxn ang="0">
                  <a:pos x="54" y="0"/>
                </a:cxn>
              </a:cxnLst>
              <a:rect l="0" t="0" r="r" b="b"/>
              <a:pathLst>
                <a:path w="126" h="86">
                  <a:moveTo>
                    <a:pt x="54" y="0"/>
                  </a:moveTo>
                  <a:lnTo>
                    <a:pt x="37" y="5"/>
                  </a:lnTo>
                  <a:lnTo>
                    <a:pt x="25" y="10"/>
                  </a:lnTo>
                  <a:lnTo>
                    <a:pt x="16" y="16"/>
                  </a:lnTo>
                  <a:lnTo>
                    <a:pt x="9" y="22"/>
                  </a:lnTo>
                  <a:lnTo>
                    <a:pt x="6" y="25"/>
                  </a:lnTo>
                  <a:lnTo>
                    <a:pt x="4" y="29"/>
                  </a:lnTo>
                  <a:lnTo>
                    <a:pt x="2" y="34"/>
                  </a:lnTo>
                  <a:lnTo>
                    <a:pt x="1" y="40"/>
                  </a:lnTo>
                  <a:lnTo>
                    <a:pt x="0" y="53"/>
                  </a:lnTo>
                  <a:lnTo>
                    <a:pt x="0" y="72"/>
                  </a:lnTo>
                  <a:lnTo>
                    <a:pt x="44" y="81"/>
                  </a:lnTo>
                  <a:lnTo>
                    <a:pt x="74" y="86"/>
                  </a:lnTo>
                  <a:lnTo>
                    <a:pt x="81" y="86"/>
                  </a:lnTo>
                  <a:lnTo>
                    <a:pt x="86" y="85"/>
                  </a:lnTo>
                  <a:lnTo>
                    <a:pt x="93" y="84"/>
                  </a:lnTo>
                  <a:lnTo>
                    <a:pt x="98" y="81"/>
                  </a:lnTo>
                  <a:lnTo>
                    <a:pt x="105" y="77"/>
                  </a:lnTo>
                  <a:lnTo>
                    <a:pt x="112" y="73"/>
                  </a:lnTo>
                  <a:lnTo>
                    <a:pt x="118" y="66"/>
                  </a:lnTo>
                  <a:lnTo>
                    <a:pt x="126" y="60"/>
                  </a:lnTo>
                  <a:lnTo>
                    <a:pt x="108" y="44"/>
                  </a:lnTo>
                  <a:lnTo>
                    <a:pt x="88" y="32"/>
                  </a:lnTo>
                  <a:lnTo>
                    <a:pt x="78" y="25"/>
                  </a:lnTo>
                  <a:lnTo>
                    <a:pt x="69" y="18"/>
                  </a:lnTo>
                  <a:lnTo>
                    <a:pt x="61" y="9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41" name="Freeform 37"/>
            <p:cNvSpPr>
              <a:spLocks/>
            </p:cNvSpPr>
            <p:nvPr/>
          </p:nvSpPr>
          <p:spPr bwMode="auto">
            <a:xfrm>
              <a:off x="8118797" y="2733675"/>
              <a:ext cx="41275" cy="101600"/>
            </a:xfrm>
            <a:custGeom>
              <a:avLst/>
              <a:gdLst/>
              <a:ahLst/>
              <a:cxnLst>
                <a:cxn ang="0">
                  <a:pos x="18" y="120"/>
                </a:cxn>
                <a:cxn ang="0">
                  <a:pos x="6" y="48"/>
                </a:cxn>
                <a:cxn ang="0">
                  <a:pos x="4" y="48"/>
                </a:cxn>
                <a:cxn ang="0">
                  <a:pos x="2" y="46"/>
                </a:cxn>
                <a:cxn ang="0">
                  <a:pos x="2" y="44"/>
                </a:cxn>
                <a:cxn ang="0">
                  <a:pos x="0" y="40"/>
                </a:cxn>
                <a:cxn ang="0">
                  <a:pos x="0" y="33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2" y="14"/>
                </a:cxn>
                <a:cxn ang="0">
                  <a:pos x="4" y="10"/>
                </a:cxn>
                <a:cxn ang="0">
                  <a:pos x="7" y="8"/>
                </a:cxn>
                <a:cxn ang="0">
                  <a:pos x="12" y="2"/>
                </a:cxn>
                <a:cxn ang="0">
                  <a:pos x="18" y="0"/>
                </a:cxn>
                <a:cxn ang="0">
                  <a:pos x="66" y="24"/>
                </a:cxn>
                <a:cxn ang="0">
                  <a:pos x="66" y="44"/>
                </a:cxn>
                <a:cxn ang="0">
                  <a:pos x="66" y="58"/>
                </a:cxn>
                <a:cxn ang="0">
                  <a:pos x="66" y="72"/>
                </a:cxn>
                <a:cxn ang="0">
                  <a:pos x="66" y="84"/>
                </a:cxn>
                <a:cxn ang="0">
                  <a:pos x="67" y="98"/>
                </a:cxn>
                <a:cxn ang="0">
                  <a:pos x="70" y="116"/>
                </a:cxn>
                <a:cxn ang="0">
                  <a:pos x="74" y="133"/>
                </a:cxn>
                <a:cxn ang="0">
                  <a:pos x="78" y="152"/>
                </a:cxn>
                <a:cxn ang="0">
                  <a:pos x="82" y="169"/>
                </a:cxn>
                <a:cxn ang="0">
                  <a:pos x="84" y="185"/>
                </a:cxn>
                <a:cxn ang="0">
                  <a:pos x="86" y="200"/>
                </a:cxn>
                <a:cxn ang="0">
                  <a:pos x="84" y="210"/>
                </a:cxn>
                <a:cxn ang="0">
                  <a:pos x="79" y="209"/>
                </a:cxn>
                <a:cxn ang="0">
                  <a:pos x="75" y="202"/>
                </a:cxn>
                <a:cxn ang="0">
                  <a:pos x="71" y="196"/>
                </a:cxn>
                <a:cxn ang="0">
                  <a:pos x="66" y="186"/>
                </a:cxn>
                <a:cxn ang="0">
                  <a:pos x="64" y="181"/>
                </a:cxn>
                <a:cxn ang="0">
                  <a:pos x="62" y="176"/>
                </a:cxn>
                <a:cxn ang="0">
                  <a:pos x="59" y="172"/>
                </a:cxn>
                <a:cxn ang="0">
                  <a:pos x="56" y="166"/>
                </a:cxn>
                <a:cxn ang="0">
                  <a:pos x="48" y="158"/>
                </a:cxn>
                <a:cxn ang="0">
                  <a:pos x="40" y="150"/>
                </a:cxn>
                <a:cxn ang="0">
                  <a:pos x="31" y="144"/>
                </a:cxn>
                <a:cxn ang="0">
                  <a:pos x="24" y="137"/>
                </a:cxn>
                <a:cxn ang="0">
                  <a:pos x="22" y="133"/>
                </a:cxn>
                <a:cxn ang="0">
                  <a:pos x="20" y="129"/>
                </a:cxn>
                <a:cxn ang="0">
                  <a:pos x="19" y="125"/>
                </a:cxn>
                <a:cxn ang="0">
                  <a:pos x="18" y="120"/>
                </a:cxn>
              </a:cxnLst>
              <a:rect l="0" t="0" r="r" b="b"/>
              <a:pathLst>
                <a:path w="86" h="210">
                  <a:moveTo>
                    <a:pt x="18" y="120"/>
                  </a:moveTo>
                  <a:lnTo>
                    <a:pt x="6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0" y="40"/>
                  </a:lnTo>
                  <a:lnTo>
                    <a:pt x="0" y="33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8"/>
                  </a:lnTo>
                  <a:lnTo>
                    <a:pt x="12" y="2"/>
                  </a:lnTo>
                  <a:lnTo>
                    <a:pt x="18" y="0"/>
                  </a:lnTo>
                  <a:lnTo>
                    <a:pt x="66" y="24"/>
                  </a:lnTo>
                  <a:lnTo>
                    <a:pt x="66" y="44"/>
                  </a:lnTo>
                  <a:lnTo>
                    <a:pt x="66" y="58"/>
                  </a:lnTo>
                  <a:lnTo>
                    <a:pt x="66" y="72"/>
                  </a:lnTo>
                  <a:lnTo>
                    <a:pt x="66" y="84"/>
                  </a:lnTo>
                  <a:lnTo>
                    <a:pt x="67" y="98"/>
                  </a:lnTo>
                  <a:lnTo>
                    <a:pt x="70" y="116"/>
                  </a:lnTo>
                  <a:lnTo>
                    <a:pt x="74" y="133"/>
                  </a:lnTo>
                  <a:lnTo>
                    <a:pt x="78" y="152"/>
                  </a:lnTo>
                  <a:lnTo>
                    <a:pt x="82" y="169"/>
                  </a:lnTo>
                  <a:lnTo>
                    <a:pt x="84" y="185"/>
                  </a:lnTo>
                  <a:lnTo>
                    <a:pt x="86" y="200"/>
                  </a:lnTo>
                  <a:lnTo>
                    <a:pt x="84" y="210"/>
                  </a:lnTo>
                  <a:lnTo>
                    <a:pt x="79" y="209"/>
                  </a:lnTo>
                  <a:lnTo>
                    <a:pt x="75" y="202"/>
                  </a:lnTo>
                  <a:lnTo>
                    <a:pt x="71" y="196"/>
                  </a:lnTo>
                  <a:lnTo>
                    <a:pt x="66" y="186"/>
                  </a:lnTo>
                  <a:lnTo>
                    <a:pt x="64" y="181"/>
                  </a:lnTo>
                  <a:lnTo>
                    <a:pt x="62" y="176"/>
                  </a:lnTo>
                  <a:lnTo>
                    <a:pt x="59" y="172"/>
                  </a:lnTo>
                  <a:lnTo>
                    <a:pt x="56" y="166"/>
                  </a:lnTo>
                  <a:lnTo>
                    <a:pt x="48" y="158"/>
                  </a:lnTo>
                  <a:lnTo>
                    <a:pt x="40" y="150"/>
                  </a:lnTo>
                  <a:lnTo>
                    <a:pt x="31" y="144"/>
                  </a:lnTo>
                  <a:lnTo>
                    <a:pt x="24" y="137"/>
                  </a:lnTo>
                  <a:lnTo>
                    <a:pt x="22" y="133"/>
                  </a:lnTo>
                  <a:lnTo>
                    <a:pt x="20" y="129"/>
                  </a:lnTo>
                  <a:lnTo>
                    <a:pt x="19" y="125"/>
                  </a:lnTo>
                  <a:lnTo>
                    <a:pt x="18" y="12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43" name="Freeform 39"/>
            <p:cNvSpPr>
              <a:spLocks/>
            </p:cNvSpPr>
            <p:nvPr/>
          </p:nvSpPr>
          <p:spPr bwMode="auto">
            <a:xfrm>
              <a:off x="1892622" y="2608263"/>
              <a:ext cx="485775" cy="635000"/>
            </a:xfrm>
            <a:custGeom>
              <a:avLst/>
              <a:gdLst/>
              <a:ahLst/>
              <a:cxnLst>
                <a:cxn ang="0">
                  <a:pos x="156" y="704"/>
                </a:cxn>
                <a:cxn ang="0">
                  <a:pos x="170" y="730"/>
                </a:cxn>
                <a:cxn ang="0">
                  <a:pos x="225" y="745"/>
                </a:cxn>
                <a:cxn ang="0">
                  <a:pos x="263" y="708"/>
                </a:cxn>
                <a:cxn ang="0">
                  <a:pos x="283" y="604"/>
                </a:cxn>
                <a:cxn ang="0">
                  <a:pos x="295" y="601"/>
                </a:cxn>
                <a:cxn ang="0">
                  <a:pos x="331" y="770"/>
                </a:cxn>
                <a:cxn ang="0">
                  <a:pos x="366" y="874"/>
                </a:cxn>
                <a:cxn ang="0">
                  <a:pos x="423" y="1050"/>
                </a:cxn>
                <a:cxn ang="0">
                  <a:pos x="491" y="1172"/>
                </a:cxn>
                <a:cxn ang="0">
                  <a:pos x="553" y="1239"/>
                </a:cxn>
                <a:cxn ang="0">
                  <a:pos x="626" y="1286"/>
                </a:cxn>
                <a:cxn ang="0">
                  <a:pos x="710" y="1310"/>
                </a:cxn>
                <a:cxn ang="0">
                  <a:pos x="798" y="1309"/>
                </a:cxn>
                <a:cxn ang="0">
                  <a:pos x="874" y="1285"/>
                </a:cxn>
                <a:cxn ang="0">
                  <a:pos x="931" y="1242"/>
                </a:cxn>
                <a:cxn ang="0">
                  <a:pos x="973" y="1184"/>
                </a:cxn>
                <a:cxn ang="0">
                  <a:pos x="996" y="1112"/>
                </a:cxn>
                <a:cxn ang="0">
                  <a:pos x="1004" y="1029"/>
                </a:cxn>
                <a:cxn ang="0">
                  <a:pos x="986" y="898"/>
                </a:cxn>
                <a:cxn ang="0">
                  <a:pos x="934" y="746"/>
                </a:cxn>
                <a:cxn ang="0">
                  <a:pos x="918" y="571"/>
                </a:cxn>
                <a:cxn ang="0">
                  <a:pos x="881" y="472"/>
                </a:cxn>
                <a:cxn ang="0">
                  <a:pos x="846" y="380"/>
                </a:cxn>
                <a:cxn ang="0">
                  <a:pos x="725" y="325"/>
                </a:cxn>
                <a:cxn ang="0">
                  <a:pos x="682" y="312"/>
                </a:cxn>
                <a:cxn ang="0">
                  <a:pos x="739" y="293"/>
                </a:cxn>
                <a:cxn ang="0">
                  <a:pos x="774" y="269"/>
                </a:cxn>
                <a:cxn ang="0">
                  <a:pos x="746" y="240"/>
                </a:cxn>
                <a:cxn ang="0">
                  <a:pos x="746" y="143"/>
                </a:cxn>
                <a:cxn ang="0">
                  <a:pos x="758" y="137"/>
                </a:cxn>
                <a:cxn ang="0">
                  <a:pos x="815" y="223"/>
                </a:cxn>
                <a:cxn ang="0">
                  <a:pos x="837" y="223"/>
                </a:cxn>
                <a:cxn ang="0">
                  <a:pos x="810" y="147"/>
                </a:cxn>
                <a:cxn ang="0">
                  <a:pos x="778" y="88"/>
                </a:cxn>
                <a:cxn ang="0">
                  <a:pos x="723" y="80"/>
                </a:cxn>
                <a:cxn ang="0">
                  <a:pos x="685" y="81"/>
                </a:cxn>
                <a:cxn ang="0">
                  <a:pos x="609" y="42"/>
                </a:cxn>
                <a:cxn ang="0">
                  <a:pos x="541" y="6"/>
                </a:cxn>
                <a:cxn ang="0">
                  <a:pos x="398" y="6"/>
                </a:cxn>
                <a:cxn ang="0">
                  <a:pos x="343" y="27"/>
                </a:cxn>
                <a:cxn ang="0">
                  <a:pos x="305" y="64"/>
                </a:cxn>
                <a:cxn ang="0">
                  <a:pos x="281" y="116"/>
                </a:cxn>
                <a:cxn ang="0">
                  <a:pos x="270" y="243"/>
                </a:cxn>
                <a:cxn ang="0">
                  <a:pos x="262" y="299"/>
                </a:cxn>
                <a:cxn ang="0">
                  <a:pos x="235" y="329"/>
                </a:cxn>
                <a:cxn ang="0">
                  <a:pos x="125" y="353"/>
                </a:cxn>
                <a:cxn ang="0">
                  <a:pos x="45" y="383"/>
                </a:cxn>
                <a:cxn ang="0">
                  <a:pos x="0" y="469"/>
                </a:cxn>
                <a:cxn ang="0">
                  <a:pos x="92" y="540"/>
                </a:cxn>
                <a:cxn ang="0">
                  <a:pos x="149" y="615"/>
                </a:cxn>
              </a:cxnLst>
              <a:rect l="0" t="0" r="r" b="b"/>
              <a:pathLst>
                <a:path w="1004" h="1313">
                  <a:moveTo>
                    <a:pt x="156" y="644"/>
                  </a:moveTo>
                  <a:lnTo>
                    <a:pt x="156" y="664"/>
                  </a:lnTo>
                  <a:lnTo>
                    <a:pt x="156" y="678"/>
                  </a:lnTo>
                  <a:lnTo>
                    <a:pt x="156" y="692"/>
                  </a:lnTo>
                  <a:lnTo>
                    <a:pt x="156" y="704"/>
                  </a:lnTo>
                  <a:lnTo>
                    <a:pt x="157" y="710"/>
                  </a:lnTo>
                  <a:lnTo>
                    <a:pt x="158" y="716"/>
                  </a:lnTo>
                  <a:lnTo>
                    <a:pt x="161" y="721"/>
                  </a:lnTo>
                  <a:lnTo>
                    <a:pt x="165" y="726"/>
                  </a:lnTo>
                  <a:lnTo>
                    <a:pt x="170" y="730"/>
                  </a:lnTo>
                  <a:lnTo>
                    <a:pt x="176" y="733"/>
                  </a:lnTo>
                  <a:lnTo>
                    <a:pt x="182" y="736"/>
                  </a:lnTo>
                  <a:lnTo>
                    <a:pt x="189" y="738"/>
                  </a:lnTo>
                  <a:lnTo>
                    <a:pt x="206" y="742"/>
                  </a:lnTo>
                  <a:lnTo>
                    <a:pt x="225" y="745"/>
                  </a:lnTo>
                  <a:lnTo>
                    <a:pt x="243" y="746"/>
                  </a:lnTo>
                  <a:lnTo>
                    <a:pt x="263" y="746"/>
                  </a:lnTo>
                  <a:lnTo>
                    <a:pt x="263" y="733"/>
                  </a:lnTo>
                  <a:lnTo>
                    <a:pt x="263" y="720"/>
                  </a:lnTo>
                  <a:lnTo>
                    <a:pt x="263" y="708"/>
                  </a:lnTo>
                  <a:lnTo>
                    <a:pt x="263" y="698"/>
                  </a:lnTo>
                  <a:lnTo>
                    <a:pt x="271" y="653"/>
                  </a:lnTo>
                  <a:lnTo>
                    <a:pt x="278" y="623"/>
                  </a:lnTo>
                  <a:lnTo>
                    <a:pt x="281" y="612"/>
                  </a:lnTo>
                  <a:lnTo>
                    <a:pt x="283" y="604"/>
                  </a:lnTo>
                  <a:lnTo>
                    <a:pt x="286" y="599"/>
                  </a:lnTo>
                  <a:lnTo>
                    <a:pt x="289" y="596"/>
                  </a:lnTo>
                  <a:lnTo>
                    <a:pt x="291" y="595"/>
                  </a:lnTo>
                  <a:lnTo>
                    <a:pt x="293" y="597"/>
                  </a:lnTo>
                  <a:lnTo>
                    <a:pt x="295" y="601"/>
                  </a:lnTo>
                  <a:lnTo>
                    <a:pt x="298" y="607"/>
                  </a:lnTo>
                  <a:lnTo>
                    <a:pt x="302" y="624"/>
                  </a:lnTo>
                  <a:lnTo>
                    <a:pt x="307" y="646"/>
                  </a:lnTo>
                  <a:lnTo>
                    <a:pt x="317" y="705"/>
                  </a:lnTo>
                  <a:lnTo>
                    <a:pt x="331" y="770"/>
                  </a:lnTo>
                  <a:lnTo>
                    <a:pt x="339" y="804"/>
                  </a:lnTo>
                  <a:lnTo>
                    <a:pt x="349" y="834"/>
                  </a:lnTo>
                  <a:lnTo>
                    <a:pt x="354" y="849"/>
                  </a:lnTo>
                  <a:lnTo>
                    <a:pt x="359" y="862"/>
                  </a:lnTo>
                  <a:lnTo>
                    <a:pt x="366" y="874"/>
                  </a:lnTo>
                  <a:lnTo>
                    <a:pt x="373" y="885"/>
                  </a:lnTo>
                  <a:lnTo>
                    <a:pt x="382" y="928"/>
                  </a:lnTo>
                  <a:lnTo>
                    <a:pt x="394" y="970"/>
                  </a:lnTo>
                  <a:lnTo>
                    <a:pt x="407" y="1012"/>
                  </a:lnTo>
                  <a:lnTo>
                    <a:pt x="423" y="1050"/>
                  </a:lnTo>
                  <a:lnTo>
                    <a:pt x="441" y="1088"/>
                  </a:lnTo>
                  <a:lnTo>
                    <a:pt x="459" y="1124"/>
                  </a:lnTo>
                  <a:lnTo>
                    <a:pt x="470" y="1140"/>
                  </a:lnTo>
                  <a:lnTo>
                    <a:pt x="481" y="1157"/>
                  </a:lnTo>
                  <a:lnTo>
                    <a:pt x="491" y="1172"/>
                  </a:lnTo>
                  <a:lnTo>
                    <a:pt x="502" y="1186"/>
                  </a:lnTo>
                  <a:lnTo>
                    <a:pt x="514" y="1201"/>
                  </a:lnTo>
                  <a:lnTo>
                    <a:pt x="527" y="1214"/>
                  </a:lnTo>
                  <a:lnTo>
                    <a:pt x="539" y="1228"/>
                  </a:lnTo>
                  <a:lnTo>
                    <a:pt x="553" y="1239"/>
                  </a:lnTo>
                  <a:lnTo>
                    <a:pt x="566" y="1250"/>
                  </a:lnTo>
                  <a:lnTo>
                    <a:pt x="581" y="1261"/>
                  </a:lnTo>
                  <a:lnTo>
                    <a:pt x="595" y="1270"/>
                  </a:lnTo>
                  <a:lnTo>
                    <a:pt x="610" y="1278"/>
                  </a:lnTo>
                  <a:lnTo>
                    <a:pt x="626" y="1286"/>
                  </a:lnTo>
                  <a:lnTo>
                    <a:pt x="642" y="1293"/>
                  </a:lnTo>
                  <a:lnTo>
                    <a:pt x="658" y="1298"/>
                  </a:lnTo>
                  <a:lnTo>
                    <a:pt x="674" y="1303"/>
                  </a:lnTo>
                  <a:lnTo>
                    <a:pt x="691" y="1307"/>
                  </a:lnTo>
                  <a:lnTo>
                    <a:pt x="710" y="1310"/>
                  </a:lnTo>
                  <a:lnTo>
                    <a:pt x="727" y="1311"/>
                  </a:lnTo>
                  <a:lnTo>
                    <a:pt x="746" y="1313"/>
                  </a:lnTo>
                  <a:lnTo>
                    <a:pt x="765" y="1311"/>
                  </a:lnTo>
                  <a:lnTo>
                    <a:pt x="782" y="1310"/>
                  </a:lnTo>
                  <a:lnTo>
                    <a:pt x="798" y="1309"/>
                  </a:lnTo>
                  <a:lnTo>
                    <a:pt x="815" y="1305"/>
                  </a:lnTo>
                  <a:lnTo>
                    <a:pt x="830" y="1301"/>
                  </a:lnTo>
                  <a:lnTo>
                    <a:pt x="846" y="1297"/>
                  </a:lnTo>
                  <a:lnTo>
                    <a:pt x="859" y="1291"/>
                  </a:lnTo>
                  <a:lnTo>
                    <a:pt x="874" y="1285"/>
                  </a:lnTo>
                  <a:lnTo>
                    <a:pt x="886" y="1278"/>
                  </a:lnTo>
                  <a:lnTo>
                    <a:pt x="898" y="1270"/>
                  </a:lnTo>
                  <a:lnTo>
                    <a:pt x="910" y="1261"/>
                  </a:lnTo>
                  <a:lnTo>
                    <a:pt x="921" y="1253"/>
                  </a:lnTo>
                  <a:lnTo>
                    <a:pt x="931" y="1242"/>
                  </a:lnTo>
                  <a:lnTo>
                    <a:pt x="941" y="1231"/>
                  </a:lnTo>
                  <a:lnTo>
                    <a:pt x="950" y="1221"/>
                  </a:lnTo>
                  <a:lnTo>
                    <a:pt x="958" y="1209"/>
                  </a:lnTo>
                  <a:lnTo>
                    <a:pt x="966" y="1197"/>
                  </a:lnTo>
                  <a:lnTo>
                    <a:pt x="973" y="1184"/>
                  </a:lnTo>
                  <a:lnTo>
                    <a:pt x="979" y="1170"/>
                  </a:lnTo>
                  <a:lnTo>
                    <a:pt x="985" y="1157"/>
                  </a:lnTo>
                  <a:lnTo>
                    <a:pt x="988" y="1142"/>
                  </a:lnTo>
                  <a:lnTo>
                    <a:pt x="994" y="1128"/>
                  </a:lnTo>
                  <a:lnTo>
                    <a:pt x="996" y="1112"/>
                  </a:lnTo>
                  <a:lnTo>
                    <a:pt x="999" y="1097"/>
                  </a:lnTo>
                  <a:lnTo>
                    <a:pt x="1002" y="1080"/>
                  </a:lnTo>
                  <a:lnTo>
                    <a:pt x="1003" y="1064"/>
                  </a:lnTo>
                  <a:lnTo>
                    <a:pt x="1004" y="1046"/>
                  </a:lnTo>
                  <a:lnTo>
                    <a:pt x="1004" y="1029"/>
                  </a:lnTo>
                  <a:lnTo>
                    <a:pt x="1003" y="994"/>
                  </a:lnTo>
                  <a:lnTo>
                    <a:pt x="999" y="957"/>
                  </a:lnTo>
                  <a:lnTo>
                    <a:pt x="995" y="937"/>
                  </a:lnTo>
                  <a:lnTo>
                    <a:pt x="991" y="918"/>
                  </a:lnTo>
                  <a:lnTo>
                    <a:pt x="986" y="898"/>
                  </a:lnTo>
                  <a:lnTo>
                    <a:pt x="979" y="880"/>
                  </a:lnTo>
                  <a:lnTo>
                    <a:pt x="963" y="841"/>
                  </a:lnTo>
                  <a:lnTo>
                    <a:pt x="949" y="797"/>
                  </a:lnTo>
                  <a:lnTo>
                    <a:pt x="941" y="772"/>
                  </a:lnTo>
                  <a:lnTo>
                    <a:pt x="934" y="746"/>
                  </a:lnTo>
                  <a:lnTo>
                    <a:pt x="929" y="717"/>
                  </a:lnTo>
                  <a:lnTo>
                    <a:pt x="923" y="685"/>
                  </a:lnTo>
                  <a:lnTo>
                    <a:pt x="919" y="650"/>
                  </a:lnTo>
                  <a:lnTo>
                    <a:pt x="918" y="612"/>
                  </a:lnTo>
                  <a:lnTo>
                    <a:pt x="918" y="571"/>
                  </a:lnTo>
                  <a:lnTo>
                    <a:pt x="921" y="524"/>
                  </a:lnTo>
                  <a:lnTo>
                    <a:pt x="907" y="509"/>
                  </a:lnTo>
                  <a:lnTo>
                    <a:pt x="897" y="495"/>
                  </a:lnTo>
                  <a:lnTo>
                    <a:pt x="887" y="483"/>
                  </a:lnTo>
                  <a:lnTo>
                    <a:pt x="881" y="472"/>
                  </a:lnTo>
                  <a:lnTo>
                    <a:pt x="871" y="452"/>
                  </a:lnTo>
                  <a:lnTo>
                    <a:pt x="865" y="432"/>
                  </a:lnTo>
                  <a:lnTo>
                    <a:pt x="859" y="413"/>
                  </a:lnTo>
                  <a:lnTo>
                    <a:pt x="851" y="392"/>
                  </a:lnTo>
                  <a:lnTo>
                    <a:pt x="846" y="380"/>
                  </a:lnTo>
                  <a:lnTo>
                    <a:pt x="838" y="368"/>
                  </a:lnTo>
                  <a:lnTo>
                    <a:pt x="829" y="353"/>
                  </a:lnTo>
                  <a:lnTo>
                    <a:pt x="818" y="337"/>
                  </a:lnTo>
                  <a:lnTo>
                    <a:pt x="765" y="331"/>
                  </a:lnTo>
                  <a:lnTo>
                    <a:pt x="725" y="325"/>
                  </a:lnTo>
                  <a:lnTo>
                    <a:pt x="699" y="321"/>
                  </a:lnTo>
                  <a:lnTo>
                    <a:pt x="686" y="317"/>
                  </a:lnTo>
                  <a:lnTo>
                    <a:pt x="682" y="315"/>
                  </a:lnTo>
                  <a:lnTo>
                    <a:pt x="681" y="313"/>
                  </a:lnTo>
                  <a:lnTo>
                    <a:pt x="682" y="312"/>
                  </a:lnTo>
                  <a:lnTo>
                    <a:pt x="685" y="309"/>
                  </a:lnTo>
                  <a:lnTo>
                    <a:pt x="694" y="307"/>
                  </a:lnTo>
                  <a:lnTo>
                    <a:pt x="707" y="303"/>
                  </a:lnTo>
                  <a:lnTo>
                    <a:pt x="723" y="299"/>
                  </a:lnTo>
                  <a:lnTo>
                    <a:pt x="739" y="293"/>
                  </a:lnTo>
                  <a:lnTo>
                    <a:pt x="754" y="288"/>
                  </a:lnTo>
                  <a:lnTo>
                    <a:pt x="766" y="281"/>
                  </a:lnTo>
                  <a:lnTo>
                    <a:pt x="770" y="277"/>
                  </a:lnTo>
                  <a:lnTo>
                    <a:pt x="773" y="273"/>
                  </a:lnTo>
                  <a:lnTo>
                    <a:pt x="774" y="269"/>
                  </a:lnTo>
                  <a:lnTo>
                    <a:pt x="774" y="264"/>
                  </a:lnTo>
                  <a:lnTo>
                    <a:pt x="770" y="259"/>
                  </a:lnTo>
                  <a:lnTo>
                    <a:pt x="765" y="253"/>
                  </a:lnTo>
                  <a:lnTo>
                    <a:pt x="757" y="247"/>
                  </a:lnTo>
                  <a:lnTo>
                    <a:pt x="746" y="240"/>
                  </a:lnTo>
                  <a:lnTo>
                    <a:pt x="743" y="199"/>
                  </a:lnTo>
                  <a:lnTo>
                    <a:pt x="743" y="169"/>
                  </a:lnTo>
                  <a:lnTo>
                    <a:pt x="743" y="159"/>
                  </a:lnTo>
                  <a:lnTo>
                    <a:pt x="745" y="149"/>
                  </a:lnTo>
                  <a:lnTo>
                    <a:pt x="746" y="143"/>
                  </a:lnTo>
                  <a:lnTo>
                    <a:pt x="749" y="139"/>
                  </a:lnTo>
                  <a:lnTo>
                    <a:pt x="750" y="136"/>
                  </a:lnTo>
                  <a:lnTo>
                    <a:pt x="753" y="135"/>
                  </a:lnTo>
                  <a:lnTo>
                    <a:pt x="755" y="136"/>
                  </a:lnTo>
                  <a:lnTo>
                    <a:pt x="758" y="137"/>
                  </a:lnTo>
                  <a:lnTo>
                    <a:pt x="765" y="145"/>
                  </a:lnTo>
                  <a:lnTo>
                    <a:pt x="773" y="157"/>
                  </a:lnTo>
                  <a:lnTo>
                    <a:pt x="790" y="185"/>
                  </a:lnTo>
                  <a:lnTo>
                    <a:pt x="807" y="212"/>
                  </a:lnTo>
                  <a:lnTo>
                    <a:pt x="815" y="223"/>
                  </a:lnTo>
                  <a:lnTo>
                    <a:pt x="823" y="228"/>
                  </a:lnTo>
                  <a:lnTo>
                    <a:pt x="826" y="229"/>
                  </a:lnTo>
                  <a:lnTo>
                    <a:pt x="830" y="229"/>
                  </a:lnTo>
                  <a:lnTo>
                    <a:pt x="833" y="227"/>
                  </a:lnTo>
                  <a:lnTo>
                    <a:pt x="837" y="223"/>
                  </a:lnTo>
                  <a:lnTo>
                    <a:pt x="830" y="209"/>
                  </a:lnTo>
                  <a:lnTo>
                    <a:pt x="825" y="197"/>
                  </a:lnTo>
                  <a:lnTo>
                    <a:pt x="821" y="184"/>
                  </a:lnTo>
                  <a:lnTo>
                    <a:pt x="817" y="171"/>
                  </a:lnTo>
                  <a:lnTo>
                    <a:pt x="810" y="147"/>
                  </a:lnTo>
                  <a:lnTo>
                    <a:pt x="802" y="123"/>
                  </a:lnTo>
                  <a:lnTo>
                    <a:pt x="798" y="113"/>
                  </a:lnTo>
                  <a:lnTo>
                    <a:pt x="793" y="104"/>
                  </a:lnTo>
                  <a:lnTo>
                    <a:pt x="786" y="96"/>
                  </a:lnTo>
                  <a:lnTo>
                    <a:pt x="778" y="88"/>
                  </a:lnTo>
                  <a:lnTo>
                    <a:pt x="769" y="83"/>
                  </a:lnTo>
                  <a:lnTo>
                    <a:pt x="757" y="80"/>
                  </a:lnTo>
                  <a:lnTo>
                    <a:pt x="743" y="77"/>
                  </a:lnTo>
                  <a:lnTo>
                    <a:pt x="727" y="77"/>
                  </a:lnTo>
                  <a:lnTo>
                    <a:pt x="723" y="80"/>
                  </a:lnTo>
                  <a:lnTo>
                    <a:pt x="718" y="83"/>
                  </a:lnTo>
                  <a:lnTo>
                    <a:pt x="713" y="84"/>
                  </a:lnTo>
                  <a:lnTo>
                    <a:pt x="707" y="84"/>
                  </a:lnTo>
                  <a:lnTo>
                    <a:pt x="697" y="84"/>
                  </a:lnTo>
                  <a:lnTo>
                    <a:pt x="685" y="81"/>
                  </a:lnTo>
                  <a:lnTo>
                    <a:pt x="673" y="77"/>
                  </a:lnTo>
                  <a:lnTo>
                    <a:pt x="661" y="72"/>
                  </a:lnTo>
                  <a:lnTo>
                    <a:pt x="647" y="65"/>
                  </a:lnTo>
                  <a:lnTo>
                    <a:pt x="634" y="58"/>
                  </a:lnTo>
                  <a:lnTo>
                    <a:pt x="609" y="42"/>
                  </a:lnTo>
                  <a:lnTo>
                    <a:pt x="583" y="27"/>
                  </a:lnTo>
                  <a:lnTo>
                    <a:pt x="571" y="20"/>
                  </a:lnTo>
                  <a:lnTo>
                    <a:pt x="561" y="14"/>
                  </a:lnTo>
                  <a:lnTo>
                    <a:pt x="550" y="10"/>
                  </a:lnTo>
                  <a:lnTo>
                    <a:pt x="541" y="6"/>
                  </a:lnTo>
                  <a:lnTo>
                    <a:pt x="505" y="2"/>
                  </a:lnTo>
                  <a:lnTo>
                    <a:pt x="470" y="0"/>
                  </a:lnTo>
                  <a:lnTo>
                    <a:pt x="439" y="0"/>
                  </a:lnTo>
                  <a:lnTo>
                    <a:pt x="411" y="3"/>
                  </a:lnTo>
                  <a:lnTo>
                    <a:pt x="398" y="6"/>
                  </a:lnTo>
                  <a:lnTo>
                    <a:pt x="386" y="10"/>
                  </a:lnTo>
                  <a:lnTo>
                    <a:pt x="374" y="12"/>
                  </a:lnTo>
                  <a:lnTo>
                    <a:pt x="363" y="18"/>
                  </a:lnTo>
                  <a:lnTo>
                    <a:pt x="353" y="22"/>
                  </a:lnTo>
                  <a:lnTo>
                    <a:pt x="343" y="27"/>
                  </a:lnTo>
                  <a:lnTo>
                    <a:pt x="335" y="34"/>
                  </a:lnTo>
                  <a:lnTo>
                    <a:pt x="326" y="40"/>
                  </a:lnTo>
                  <a:lnTo>
                    <a:pt x="318" y="48"/>
                  </a:lnTo>
                  <a:lnTo>
                    <a:pt x="311" y="56"/>
                  </a:lnTo>
                  <a:lnTo>
                    <a:pt x="305" y="64"/>
                  </a:lnTo>
                  <a:lnTo>
                    <a:pt x="299" y="73"/>
                  </a:lnTo>
                  <a:lnTo>
                    <a:pt x="294" y="83"/>
                  </a:lnTo>
                  <a:lnTo>
                    <a:pt x="289" y="93"/>
                  </a:lnTo>
                  <a:lnTo>
                    <a:pt x="285" y="104"/>
                  </a:lnTo>
                  <a:lnTo>
                    <a:pt x="281" y="116"/>
                  </a:lnTo>
                  <a:lnTo>
                    <a:pt x="275" y="140"/>
                  </a:lnTo>
                  <a:lnTo>
                    <a:pt x="271" y="168"/>
                  </a:lnTo>
                  <a:lnTo>
                    <a:pt x="270" y="197"/>
                  </a:lnTo>
                  <a:lnTo>
                    <a:pt x="270" y="228"/>
                  </a:lnTo>
                  <a:lnTo>
                    <a:pt x="270" y="243"/>
                  </a:lnTo>
                  <a:lnTo>
                    <a:pt x="270" y="256"/>
                  </a:lnTo>
                  <a:lnTo>
                    <a:pt x="269" y="268"/>
                  </a:lnTo>
                  <a:lnTo>
                    <a:pt x="267" y="280"/>
                  </a:lnTo>
                  <a:lnTo>
                    <a:pt x="265" y="289"/>
                  </a:lnTo>
                  <a:lnTo>
                    <a:pt x="262" y="299"/>
                  </a:lnTo>
                  <a:lnTo>
                    <a:pt x="258" y="305"/>
                  </a:lnTo>
                  <a:lnTo>
                    <a:pt x="253" y="313"/>
                  </a:lnTo>
                  <a:lnTo>
                    <a:pt x="247" y="319"/>
                  </a:lnTo>
                  <a:lnTo>
                    <a:pt x="242" y="324"/>
                  </a:lnTo>
                  <a:lnTo>
                    <a:pt x="235" y="329"/>
                  </a:lnTo>
                  <a:lnTo>
                    <a:pt x="229" y="333"/>
                  </a:lnTo>
                  <a:lnTo>
                    <a:pt x="214" y="339"/>
                  </a:lnTo>
                  <a:lnTo>
                    <a:pt x="198" y="344"/>
                  </a:lnTo>
                  <a:lnTo>
                    <a:pt x="162" y="349"/>
                  </a:lnTo>
                  <a:lnTo>
                    <a:pt x="125" y="353"/>
                  </a:lnTo>
                  <a:lnTo>
                    <a:pt x="106" y="356"/>
                  </a:lnTo>
                  <a:lnTo>
                    <a:pt x="88" y="360"/>
                  </a:lnTo>
                  <a:lnTo>
                    <a:pt x="70" y="365"/>
                  </a:lnTo>
                  <a:lnTo>
                    <a:pt x="53" y="373"/>
                  </a:lnTo>
                  <a:lnTo>
                    <a:pt x="45" y="383"/>
                  </a:lnTo>
                  <a:lnTo>
                    <a:pt x="37" y="393"/>
                  </a:lnTo>
                  <a:lnTo>
                    <a:pt x="29" y="404"/>
                  </a:lnTo>
                  <a:lnTo>
                    <a:pt x="22" y="417"/>
                  </a:lnTo>
                  <a:lnTo>
                    <a:pt x="9" y="443"/>
                  </a:lnTo>
                  <a:lnTo>
                    <a:pt x="0" y="469"/>
                  </a:lnTo>
                  <a:lnTo>
                    <a:pt x="6" y="473"/>
                  </a:lnTo>
                  <a:lnTo>
                    <a:pt x="24" y="485"/>
                  </a:lnTo>
                  <a:lnTo>
                    <a:pt x="49" y="504"/>
                  </a:lnTo>
                  <a:lnTo>
                    <a:pt x="77" y="528"/>
                  </a:lnTo>
                  <a:lnTo>
                    <a:pt x="92" y="540"/>
                  </a:lnTo>
                  <a:lnTo>
                    <a:pt x="106" y="555"/>
                  </a:lnTo>
                  <a:lnTo>
                    <a:pt x="120" y="569"/>
                  </a:lnTo>
                  <a:lnTo>
                    <a:pt x="132" y="584"/>
                  </a:lnTo>
                  <a:lnTo>
                    <a:pt x="141" y="599"/>
                  </a:lnTo>
                  <a:lnTo>
                    <a:pt x="149" y="615"/>
                  </a:lnTo>
                  <a:lnTo>
                    <a:pt x="152" y="621"/>
                  </a:lnTo>
                  <a:lnTo>
                    <a:pt x="154" y="629"/>
                  </a:lnTo>
                  <a:lnTo>
                    <a:pt x="156" y="637"/>
                  </a:lnTo>
                  <a:lnTo>
                    <a:pt x="156" y="64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44" name="Freeform 40"/>
            <p:cNvSpPr>
              <a:spLocks/>
            </p:cNvSpPr>
            <p:nvPr/>
          </p:nvSpPr>
          <p:spPr bwMode="auto">
            <a:xfrm>
              <a:off x="3013397" y="2862263"/>
              <a:ext cx="249238" cy="361950"/>
            </a:xfrm>
            <a:custGeom>
              <a:avLst/>
              <a:gdLst/>
              <a:ahLst/>
              <a:cxnLst>
                <a:cxn ang="0">
                  <a:pos x="345" y="7"/>
                </a:cxn>
                <a:cxn ang="0">
                  <a:pos x="316" y="23"/>
                </a:cxn>
                <a:cxn ang="0">
                  <a:pos x="294" y="84"/>
                </a:cxn>
                <a:cxn ang="0">
                  <a:pos x="257" y="65"/>
                </a:cxn>
                <a:cxn ang="0">
                  <a:pos x="234" y="60"/>
                </a:cxn>
                <a:cxn ang="0">
                  <a:pos x="201" y="107"/>
                </a:cxn>
                <a:cxn ang="0">
                  <a:pos x="234" y="144"/>
                </a:cxn>
                <a:cxn ang="0">
                  <a:pos x="184" y="153"/>
                </a:cxn>
                <a:cxn ang="0">
                  <a:pos x="167" y="162"/>
                </a:cxn>
                <a:cxn ang="0">
                  <a:pos x="156" y="177"/>
                </a:cxn>
                <a:cxn ang="0">
                  <a:pos x="148" y="208"/>
                </a:cxn>
                <a:cxn ang="0">
                  <a:pos x="136" y="225"/>
                </a:cxn>
                <a:cxn ang="0">
                  <a:pos x="120" y="228"/>
                </a:cxn>
                <a:cxn ang="0">
                  <a:pos x="108" y="225"/>
                </a:cxn>
                <a:cxn ang="0">
                  <a:pos x="93" y="210"/>
                </a:cxn>
                <a:cxn ang="0">
                  <a:pos x="77" y="194"/>
                </a:cxn>
                <a:cxn ang="0">
                  <a:pos x="55" y="194"/>
                </a:cxn>
                <a:cxn ang="0">
                  <a:pos x="33" y="208"/>
                </a:cxn>
                <a:cxn ang="0">
                  <a:pos x="17" y="228"/>
                </a:cxn>
                <a:cxn ang="0">
                  <a:pos x="0" y="282"/>
                </a:cxn>
                <a:cxn ang="0">
                  <a:pos x="3" y="324"/>
                </a:cxn>
                <a:cxn ang="0">
                  <a:pos x="20" y="354"/>
                </a:cxn>
                <a:cxn ang="0">
                  <a:pos x="45" y="377"/>
                </a:cxn>
                <a:cxn ang="0">
                  <a:pos x="100" y="405"/>
                </a:cxn>
                <a:cxn ang="0">
                  <a:pos x="109" y="437"/>
                </a:cxn>
                <a:cxn ang="0">
                  <a:pos x="111" y="452"/>
                </a:cxn>
                <a:cxn ang="0">
                  <a:pos x="113" y="481"/>
                </a:cxn>
                <a:cxn ang="0">
                  <a:pos x="109" y="498"/>
                </a:cxn>
                <a:cxn ang="0">
                  <a:pos x="89" y="517"/>
                </a:cxn>
                <a:cxn ang="0">
                  <a:pos x="71" y="537"/>
                </a:cxn>
                <a:cxn ang="0">
                  <a:pos x="65" y="553"/>
                </a:cxn>
                <a:cxn ang="0">
                  <a:pos x="69" y="581"/>
                </a:cxn>
                <a:cxn ang="0">
                  <a:pos x="89" y="621"/>
                </a:cxn>
                <a:cxn ang="0">
                  <a:pos x="129" y="661"/>
                </a:cxn>
                <a:cxn ang="0">
                  <a:pos x="216" y="713"/>
                </a:cxn>
                <a:cxn ang="0">
                  <a:pos x="312" y="746"/>
                </a:cxn>
                <a:cxn ang="0">
                  <a:pos x="297" y="669"/>
                </a:cxn>
                <a:cxn ang="0">
                  <a:pos x="285" y="593"/>
                </a:cxn>
                <a:cxn ang="0">
                  <a:pos x="284" y="492"/>
                </a:cxn>
                <a:cxn ang="0">
                  <a:pos x="298" y="398"/>
                </a:cxn>
                <a:cxn ang="0">
                  <a:pos x="326" y="333"/>
                </a:cxn>
                <a:cxn ang="0">
                  <a:pos x="368" y="284"/>
                </a:cxn>
                <a:cxn ang="0">
                  <a:pos x="433" y="225"/>
                </a:cxn>
                <a:cxn ang="0">
                  <a:pos x="456" y="184"/>
                </a:cxn>
                <a:cxn ang="0">
                  <a:pos x="470" y="169"/>
                </a:cxn>
                <a:cxn ang="0">
                  <a:pos x="517" y="150"/>
                </a:cxn>
                <a:cxn ang="0">
                  <a:pos x="465" y="89"/>
                </a:cxn>
                <a:cxn ang="0">
                  <a:pos x="445" y="41"/>
                </a:cxn>
                <a:cxn ang="0">
                  <a:pos x="406" y="36"/>
                </a:cxn>
                <a:cxn ang="0">
                  <a:pos x="374" y="24"/>
                </a:cxn>
              </a:cxnLst>
              <a:rect l="0" t="0" r="r" b="b"/>
              <a:pathLst>
                <a:path w="517" h="746">
                  <a:moveTo>
                    <a:pt x="366" y="17"/>
                  </a:moveTo>
                  <a:lnTo>
                    <a:pt x="354" y="11"/>
                  </a:lnTo>
                  <a:lnTo>
                    <a:pt x="345" y="7"/>
                  </a:lnTo>
                  <a:lnTo>
                    <a:pt x="336" y="4"/>
                  </a:lnTo>
                  <a:lnTo>
                    <a:pt x="325" y="0"/>
                  </a:lnTo>
                  <a:lnTo>
                    <a:pt x="316" y="23"/>
                  </a:lnTo>
                  <a:lnTo>
                    <a:pt x="309" y="44"/>
                  </a:lnTo>
                  <a:lnTo>
                    <a:pt x="302" y="65"/>
                  </a:lnTo>
                  <a:lnTo>
                    <a:pt x="294" y="84"/>
                  </a:lnTo>
                  <a:lnTo>
                    <a:pt x="278" y="77"/>
                  </a:lnTo>
                  <a:lnTo>
                    <a:pt x="264" y="69"/>
                  </a:lnTo>
                  <a:lnTo>
                    <a:pt x="257" y="65"/>
                  </a:lnTo>
                  <a:lnTo>
                    <a:pt x="250" y="63"/>
                  </a:lnTo>
                  <a:lnTo>
                    <a:pt x="242" y="61"/>
                  </a:lnTo>
                  <a:lnTo>
                    <a:pt x="234" y="60"/>
                  </a:lnTo>
                  <a:lnTo>
                    <a:pt x="192" y="60"/>
                  </a:lnTo>
                  <a:lnTo>
                    <a:pt x="192" y="91"/>
                  </a:lnTo>
                  <a:lnTo>
                    <a:pt x="201" y="107"/>
                  </a:lnTo>
                  <a:lnTo>
                    <a:pt x="210" y="120"/>
                  </a:lnTo>
                  <a:lnTo>
                    <a:pt x="221" y="132"/>
                  </a:lnTo>
                  <a:lnTo>
                    <a:pt x="234" y="144"/>
                  </a:lnTo>
                  <a:lnTo>
                    <a:pt x="218" y="145"/>
                  </a:lnTo>
                  <a:lnTo>
                    <a:pt x="196" y="149"/>
                  </a:lnTo>
                  <a:lnTo>
                    <a:pt x="184" y="153"/>
                  </a:lnTo>
                  <a:lnTo>
                    <a:pt x="175" y="157"/>
                  </a:lnTo>
                  <a:lnTo>
                    <a:pt x="169" y="160"/>
                  </a:lnTo>
                  <a:lnTo>
                    <a:pt x="167" y="162"/>
                  </a:lnTo>
                  <a:lnTo>
                    <a:pt x="164" y="165"/>
                  </a:lnTo>
                  <a:lnTo>
                    <a:pt x="163" y="168"/>
                  </a:lnTo>
                  <a:lnTo>
                    <a:pt x="156" y="177"/>
                  </a:lnTo>
                  <a:lnTo>
                    <a:pt x="153" y="188"/>
                  </a:lnTo>
                  <a:lnTo>
                    <a:pt x="151" y="198"/>
                  </a:lnTo>
                  <a:lnTo>
                    <a:pt x="148" y="208"/>
                  </a:lnTo>
                  <a:lnTo>
                    <a:pt x="144" y="216"/>
                  </a:lnTo>
                  <a:lnTo>
                    <a:pt x="139" y="222"/>
                  </a:lnTo>
                  <a:lnTo>
                    <a:pt x="136" y="225"/>
                  </a:lnTo>
                  <a:lnTo>
                    <a:pt x="131" y="226"/>
                  </a:lnTo>
                  <a:lnTo>
                    <a:pt x="127" y="228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2" y="226"/>
                  </a:lnTo>
                  <a:lnTo>
                    <a:pt x="108" y="225"/>
                  </a:lnTo>
                  <a:lnTo>
                    <a:pt x="105" y="222"/>
                  </a:lnTo>
                  <a:lnTo>
                    <a:pt x="99" y="217"/>
                  </a:lnTo>
                  <a:lnTo>
                    <a:pt x="93" y="210"/>
                  </a:lnTo>
                  <a:lnTo>
                    <a:pt x="88" y="204"/>
                  </a:lnTo>
                  <a:lnTo>
                    <a:pt x="84" y="198"/>
                  </a:lnTo>
                  <a:lnTo>
                    <a:pt x="77" y="194"/>
                  </a:lnTo>
                  <a:lnTo>
                    <a:pt x="72" y="192"/>
                  </a:lnTo>
                  <a:lnTo>
                    <a:pt x="63" y="193"/>
                  </a:lnTo>
                  <a:lnTo>
                    <a:pt x="55" y="194"/>
                  </a:lnTo>
                  <a:lnTo>
                    <a:pt x="47" y="198"/>
                  </a:lnTo>
                  <a:lnTo>
                    <a:pt x="40" y="202"/>
                  </a:lnTo>
                  <a:lnTo>
                    <a:pt x="33" y="208"/>
                  </a:lnTo>
                  <a:lnTo>
                    <a:pt x="28" y="214"/>
                  </a:lnTo>
                  <a:lnTo>
                    <a:pt x="23" y="221"/>
                  </a:lnTo>
                  <a:lnTo>
                    <a:pt x="17" y="228"/>
                  </a:lnTo>
                  <a:lnTo>
                    <a:pt x="9" y="245"/>
                  </a:lnTo>
                  <a:lnTo>
                    <a:pt x="4" y="264"/>
                  </a:lnTo>
                  <a:lnTo>
                    <a:pt x="0" y="282"/>
                  </a:lnTo>
                  <a:lnTo>
                    <a:pt x="0" y="301"/>
                  </a:lnTo>
                  <a:lnTo>
                    <a:pt x="0" y="313"/>
                  </a:lnTo>
                  <a:lnTo>
                    <a:pt x="3" y="324"/>
                  </a:lnTo>
                  <a:lnTo>
                    <a:pt x="8" y="334"/>
                  </a:lnTo>
                  <a:lnTo>
                    <a:pt x="13" y="345"/>
                  </a:lnTo>
                  <a:lnTo>
                    <a:pt x="20" y="354"/>
                  </a:lnTo>
                  <a:lnTo>
                    <a:pt x="28" y="362"/>
                  </a:lnTo>
                  <a:lnTo>
                    <a:pt x="36" y="370"/>
                  </a:lnTo>
                  <a:lnTo>
                    <a:pt x="45" y="377"/>
                  </a:lnTo>
                  <a:lnTo>
                    <a:pt x="64" y="389"/>
                  </a:lnTo>
                  <a:lnTo>
                    <a:pt x="83" y="398"/>
                  </a:lnTo>
                  <a:lnTo>
                    <a:pt x="100" y="405"/>
                  </a:lnTo>
                  <a:lnTo>
                    <a:pt x="113" y="409"/>
                  </a:lnTo>
                  <a:lnTo>
                    <a:pt x="111" y="426"/>
                  </a:lnTo>
                  <a:lnTo>
                    <a:pt x="109" y="437"/>
                  </a:lnTo>
                  <a:lnTo>
                    <a:pt x="108" y="442"/>
                  </a:lnTo>
                  <a:lnTo>
                    <a:pt x="109" y="448"/>
                  </a:lnTo>
                  <a:lnTo>
                    <a:pt x="111" y="452"/>
                  </a:lnTo>
                  <a:lnTo>
                    <a:pt x="112" y="457"/>
                  </a:lnTo>
                  <a:lnTo>
                    <a:pt x="113" y="466"/>
                  </a:lnTo>
                  <a:lnTo>
                    <a:pt x="113" y="481"/>
                  </a:lnTo>
                  <a:lnTo>
                    <a:pt x="113" y="488"/>
                  </a:lnTo>
                  <a:lnTo>
                    <a:pt x="112" y="493"/>
                  </a:lnTo>
                  <a:lnTo>
                    <a:pt x="109" y="498"/>
                  </a:lnTo>
                  <a:lnTo>
                    <a:pt x="107" y="502"/>
                  </a:lnTo>
                  <a:lnTo>
                    <a:pt x="99" y="510"/>
                  </a:lnTo>
                  <a:lnTo>
                    <a:pt x="89" y="517"/>
                  </a:lnTo>
                  <a:lnTo>
                    <a:pt x="81" y="525"/>
                  </a:lnTo>
                  <a:lnTo>
                    <a:pt x="73" y="532"/>
                  </a:lnTo>
                  <a:lnTo>
                    <a:pt x="71" y="537"/>
                  </a:lnTo>
                  <a:lnTo>
                    <a:pt x="68" y="541"/>
                  </a:lnTo>
                  <a:lnTo>
                    <a:pt x="67" y="548"/>
                  </a:lnTo>
                  <a:lnTo>
                    <a:pt x="65" y="553"/>
                  </a:lnTo>
                  <a:lnTo>
                    <a:pt x="67" y="564"/>
                  </a:lnTo>
                  <a:lnTo>
                    <a:pt x="67" y="572"/>
                  </a:lnTo>
                  <a:lnTo>
                    <a:pt x="69" y="581"/>
                  </a:lnTo>
                  <a:lnTo>
                    <a:pt x="72" y="589"/>
                  </a:lnTo>
                  <a:lnTo>
                    <a:pt x="80" y="606"/>
                  </a:lnTo>
                  <a:lnTo>
                    <a:pt x="89" y="621"/>
                  </a:lnTo>
                  <a:lnTo>
                    <a:pt x="101" y="636"/>
                  </a:lnTo>
                  <a:lnTo>
                    <a:pt x="115" y="649"/>
                  </a:lnTo>
                  <a:lnTo>
                    <a:pt x="129" y="661"/>
                  </a:lnTo>
                  <a:lnTo>
                    <a:pt x="147" y="673"/>
                  </a:lnTo>
                  <a:lnTo>
                    <a:pt x="180" y="694"/>
                  </a:lnTo>
                  <a:lnTo>
                    <a:pt x="216" y="713"/>
                  </a:lnTo>
                  <a:lnTo>
                    <a:pt x="248" y="730"/>
                  </a:lnTo>
                  <a:lnTo>
                    <a:pt x="276" y="746"/>
                  </a:lnTo>
                  <a:lnTo>
                    <a:pt x="312" y="746"/>
                  </a:lnTo>
                  <a:lnTo>
                    <a:pt x="308" y="718"/>
                  </a:lnTo>
                  <a:lnTo>
                    <a:pt x="302" y="693"/>
                  </a:lnTo>
                  <a:lnTo>
                    <a:pt x="297" y="669"/>
                  </a:lnTo>
                  <a:lnTo>
                    <a:pt x="293" y="645"/>
                  </a:lnTo>
                  <a:lnTo>
                    <a:pt x="289" y="620"/>
                  </a:lnTo>
                  <a:lnTo>
                    <a:pt x="285" y="593"/>
                  </a:lnTo>
                  <a:lnTo>
                    <a:pt x="282" y="564"/>
                  </a:lnTo>
                  <a:lnTo>
                    <a:pt x="282" y="529"/>
                  </a:lnTo>
                  <a:lnTo>
                    <a:pt x="284" y="492"/>
                  </a:lnTo>
                  <a:lnTo>
                    <a:pt x="286" y="457"/>
                  </a:lnTo>
                  <a:lnTo>
                    <a:pt x="292" y="426"/>
                  </a:lnTo>
                  <a:lnTo>
                    <a:pt x="298" y="398"/>
                  </a:lnTo>
                  <a:lnTo>
                    <a:pt x="306" y="374"/>
                  </a:lnTo>
                  <a:lnTo>
                    <a:pt x="316" y="353"/>
                  </a:lnTo>
                  <a:lnTo>
                    <a:pt x="326" y="333"/>
                  </a:lnTo>
                  <a:lnTo>
                    <a:pt x="340" y="316"/>
                  </a:lnTo>
                  <a:lnTo>
                    <a:pt x="353" y="300"/>
                  </a:lnTo>
                  <a:lnTo>
                    <a:pt x="368" y="284"/>
                  </a:lnTo>
                  <a:lnTo>
                    <a:pt x="382" y="269"/>
                  </a:lnTo>
                  <a:lnTo>
                    <a:pt x="400" y="254"/>
                  </a:lnTo>
                  <a:lnTo>
                    <a:pt x="433" y="225"/>
                  </a:lnTo>
                  <a:lnTo>
                    <a:pt x="469" y="192"/>
                  </a:lnTo>
                  <a:lnTo>
                    <a:pt x="461" y="188"/>
                  </a:lnTo>
                  <a:lnTo>
                    <a:pt x="456" y="184"/>
                  </a:lnTo>
                  <a:lnTo>
                    <a:pt x="452" y="178"/>
                  </a:lnTo>
                  <a:lnTo>
                    <a:pt x="450" y="174"/>
                  </a:lnTo>
                  <a:lnTo>
                    <a:pt x="470" y="169"/>
                  </a:lnTo>
                  <a:lnTo>
                    <a:pt x="490" y="162"/>
                  </a:lnTo>
                  <a:lnTo>
                    <a:pt x="508" y="156"/>
                  </a:lnTo>
                  <a:lnTo>
                    <a:pt x="517" y="150"/>
                  </a:lnTo>
                  <a:lnTo>
                    <a:pt x="494" y="122"/>
                  </a:lnTo>
                  <a:lnTo>
                    <a:pt x="474" y="100"/>
                  </a:lnTo>
                  <a:lnTo>
                    <a:pt x="465" y="89"/>
                  </a:lnTo>
                  <a:lnTo>
                    <a:pt x="457" y="76"/>
                  </a:lnTo>
                  <a:lnTo>
                    <a:pt x="450" y="60"/>
                  </a:lnTo>
                  <a:lnTo>
                    <a:pt x="445" y="41"/>
                  </a:lnTo>
                  <a:lnTo>
                    <a:pt x="433" y="41"/>
                  </a:lnTo>
                  <a:lnTo>
                    <a:pt x="420" y="39"/>
                  </a:lnTo>
                  <a:lnTo>
                    <a:pt x="406" y="36"/>
                  </a:lnTo>
                  <a:lnTo>
                    <a:pt x="394" y="32"/>
                  </a:lnTo>
                  <a:lnTo>
                    <a:pt x="384" y="28"/>
                  </a:lnTo>
                  <a:lnTo>
                    <a:pt x="374" y="24"/>
                  </a:lnTo>
                  <a:lnTo>
                    <a:pt x="369" y="20"/>
                  </a:lnTo>
                  <a:lnTo>
                    <a:pt x="366" y="1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45" name="Freeform 41"/>
            <p:cNvSpPr>
              <a:spLocks/>
            </p:cNvSpPr>
            <p:nvPr/>
          </p:nvSpPr>
          <p:spPr bwMode="auto">
            <a:xfrm>
              <a:off x="3216597" y="2608263"/>
              <a:ext cx="604838" cy="315912"/>
            </a:xfrm>
            <a:custGeom>
              <a:avLst/>
              <a:gdLst/>
              <a:ahLst/>
              <a:cxnLst>
                <a:cxn ang="0">
                  <a:pos x="1100" y="22"/>
                </a:cxn>
                <a:cxn ang="0">
                  <a:pos x="1065" y="74"/>
                </a:cxn>
                <a:cxn ang="0">
                  <a:pos x="1038" y="83"/>
                </a:cxn>
                <a:cxn ang="0">
                  <a:pos x="976" y="77"/>
                </a:cxn>
                <a:cxn ang="0">
                  <a:pos x="902" y="101"/>
                </a:cxn>
                <a:cxn ang="0">
                  <a:pos x="838" y="101"/>
                </a:cxn>
                <a:cxn ang="0">
                  <a:pos x="754" y="56"/>
                </a:cxn>
                <a:cxn ang="0">
                  <a:pos x="710" y="75"/>
                </a:cxn>
                <a:cxn ang="0">
                  <a:pos x="495" y="119"/>
                </a:cxn>
                <a:cxn ang="0">
                  <a:pos x="460" y="146"/>
                </a:cxn>
                <a:cxn ang="0">
                  <a:pos x="445" y="171"/>
                </a:cxn>
                <a:cxn ang="0">
                  <a:pos x="388" y="163"/>
                </a:cxn>
                <a:cxn ang="0">
                  <a:pos x="349" y="185"/>
                </a:cxn>
                <a:cxn ang="0">
                  <a:pos x="323" y="166"/>
                </a:cxn>
                <a:cxn ang="0">
                  <a:pos x="327" y="225"/>
                </a:cxn>
                <a:cxn ang="0">
                  <a:pos x="277" y="233"/>
                </a:cxn>
                <a:cxn ang="0">
                  <a:pos x="299" y="279"/>
                </a:cxn>
                <a:cxn ang="0">
                  <a:pos x="279" y="291"/>
                </a:cxn>
                <a:cxn ang="0">
                  <a:pos x="235" y="275"/>
                </a:cxn>
                <a:cxn ang="0">
                  <a:pos x="236" y="322"/>
                </a:cxn>
                <a:cxn ang="0">
                  <a:pos x="215" y="331"/>
                </a:cxn>
                <a:cxn ang="0">
                  <a:pos x="189" y="334"/>
                </a:cxn>
                <a:cxn ang="0">
                  <a:pos x="176" y="382"/>
                </a:cxn>
                <a:cxn ang="0">
                  <a:pos x="135" y="378"/>
                </a:cxn>
                <a:cxn ang="0">
                  <a:pos x="79" y="377"/>
                </a:cxn>
                <a:cxn ang="0">
                  <a:pos x="7" y="414"/>
                </a:cxn>
                <a:cxn ang="0">
                  <a:pos x="3" y="437"/>
                </a:cxn>
                <a:cxn ang="0">
                  <a:pos x="65" y="483"/>
                </a:cxn>
                <a:cxn ang="0">
                  <a:pos x="41" y="498"/>
                </a:cxn>
                <a:cxn ang="0">
                  <a:pos x="3" y="509"/>
                </a:cxn>
                <a:cxn ang="0">
                  <a:pos x="1" y="531"/>
                </a:cxn>
                <a:cxn ang="0">
                  <a:pos x="25" y="545"/>
                </a:cxn>
                <a:cxn ang="0">
                  <a:pos x="61" y="563"/>
                </a:cxn>
                <a:cxn ang="0">
                  <a:pos x="73" y="617"/>
                </a:cxn>
                <a:cxn ang="0">
                  <a:pos x="111" y="639"/>
                </a:cxn>
                <a:cxn ang="0">
                  <a:pos x="175" y="647"/>
                </a:cxn>
                <a:cxn ang="0">
                  <a:pos x="189" y="630"/>
                </a:cxn>
                <a:cxn ang="0">
                  <a:pos x="203" y="569"/>
                </a:cxn>
                <a:cxn ang="0">
                  <a:pos x="241" y="582"/>
                </a:cxn>
                <a:cxn ang="0">
                  <a:pos x="232" y="533"/>
                </a:cxn>
                <a:cxn ang="0">
                  <a:pos x="248" y="538"/>
                </a:cxn>
                <a:cxn ang="0">
                  <a:pos x="279" y="551"/>
                </a:cxn>
                <a:cxn ang="0">
                  <a:pos x="295" y="515"/>
                </a:cxn>
                <a:cxn ang="0">
                  <a:pos x="287" y="483"/>
                </a:cxn>
                <a:cxn ang="0">
                  <a:pos x="309" y="487"/>
                </a:cxn>
                <a:cxn ang="0">
                  <a:pos x="341" y="490"/>
                </a:cxn>
                <a:cxn ang="0">
                  <a:pos x="388" y="422"/>
                </a:cxn>
                <a:cxn ang="0">
                  <a:pos x="423" y="421"/>
                </a:cxn>
                <a:cxn ang="0">
                  <a:pos x="449" y="421"/>
                </a:cxn>
                <a:cxn ang="0">
                  <a:pos x="464" y="397"/>
                </a:cxn>
                <a:cxn ang="0">
                  <a:pos x="537" y="390"/>
                </a:cxn>
                <a:cxn ang="0">
                  <a:pos x="570" y="365"/>
                </a:cxn>
                <a:cxn ang="0">
                  <a:pos x="582" y="338"/>
                </a:cxn>
                <a:cxn ang="0">
                  <a:pos x="680" y="302"/>
                </a:cxn>
                <a:cxn ang="0">
                  <a:pos x="849" y="269"/>
                </a:cxn>
                <a:cxn ang="0">
                  <a:pos x="1148" y="227"/>
                </a:cxn>
                <a:cxn ang="0">
                  <a:pos x="1217" y="174"/>
                </a:cxn>
                <a:cxn ang="0">
                  <a:pos x="1245" y="105"/>
                </a:cxn>
                <a:cxn ang="0">
                  <a:pos x="1244" y="61"/>
                </a:cxn>
                <a:cxn ang="0">
                  <a:pos x="1208" y="17"/>
                </a:cxn>
                <a:cxn ang="0">
                  <a:pos x="1154" y="0"/>
                </a:cxn>
                <a:cxn ang="0">
                  <a:pos x="1126" y="4"/>
                </a:cxn>
              </a:cxnLst>
              <a:rect l="0" t="0" r="r" b="b"/>
              <a:pathLst>
                <a:path w="1246" h="648">
                  <a:moveTo>
                    <a:pt x="1126" y="4"/>
                  </a:moveTo>
                  <a:lnTo>
                    <a:pt x="1118" y="8"/>
                  </a:lnTo>
                  <a:lnTo>
                    <a:pt x="1112" y="12"/>
                  </a:lnTo>
                  <a:lnTo>
                    <a:pt x="1105" y="17"/>
                  </a:lnTo>
                  <a:lnTo>
                    <a:pt x="1100" y="22"/>
                  </a:lnTo>
                  <a:lnTo>
                    <a:pt x="1090" y="36"/>
                  </a:lnTo>
                  <a:lnTo>
                    <a:pt x="1082" y="48"/>
                  </a:lnTo>
                  <a:lnTo>
                    <a:pt x="1076" y="60"/>
                  </a:lnTo>
                  <a:lnTo>
                    <a:pt x="1069" y="70"/>
                  </a:lnTo>
                  <a:lnTo>
                    <a:pt x="1065" y="74"/>
                  </a:lnTo>
                  <a:lnTo>
                    <a:pt x="1062" y="78"/>
                  </a:lnTo>
                  <a:lnTo>
                    <a:pt x="1058" y="81"/>
                  </a:lnTo>
                  <a:lnTo>
                    <a:pt x="1053" y="82"/>
                  </a:lnTo>
                  <a:lnTo>
                    <a:pt x="1046" y="83"/>
                  </a:lnTo>
                  <a:lnTo>
                    <a:pt x="1038" y="83"/>
                  </a:lnTo>
                  <a:lnTo>
                    <a:pt x="1030" y="82"/>
                  </a:lnTo>
                  <a:lnTo>
                    <a:pt x="1021" y="81"/>
                  </a:lnTo>
                  <a:lnTo>
                    <a:pt x="1005" y="78"/>
                  </a:lnTo>
                  <a:lnTo>
                    <a:pt x="993" y="75"/>
                  </a:lnTo>
                  <a:lnTo>
                    <a:pt x="976" y="77"/>
                  </a:lnTo>
                  <a:lnTo>
                    <a:pt x="960" y="81"/>
                  </a:lnTo>
                  <a:lnTo>
                    <a:pt x="945" y="86"/>
                  </a:lnTo>
                  <a:lnTo>
                    <a:pt x="930" y="91"/>
                  </a:lnTo>
                  <a:lnTo>
                    <a:pt x="917" y="97"/>
                  </a:lnTo>
                  <a:lnTo>
                    <a:pt x="902" y="101"/>
                  </a:lnTo>
                  <a:lnTo>
                    <a:pt x="888" y="105"/>
                  </a:lnTo>
                  <a:lnTo>
                    <a:pt x="873" y="106"/>
                  </a:lnTo>
                  <a:lnTo>
                    <a:pt x="861" y="105"/>
                  </a:lnTo>
                  <a:lnTo>
                    <a:pt x="849" y="103"/>
                  </a:lnTo>
                  <a:lnTo>
                    <a:pt x="838" y="101"/>
                  </a:lnTo>
                  <a:lnTo>
                    <a:pt x="829" y="97"/>
                  </a:lnTo>
                  <a:lnTo>
                    <a:pt x="810" y="87"/>
                  </a:lnTo>
                  <a:lnTo>
                    <a:pt x="792" y="75"/>
                  </a:lnTo>
                  <a:lnTo>
                    <a:pt x="773" y="65"/>
                  </a:lnTo>
                  <a:lnTo>
                    <a:pt x="754" y="56"/>
                  </a:lnTo>
                  <a:lnTo>
                    <a:pt x="744" y="52"/>
                  </a:lnTo>
                  <a:lnTo>
                    <a:pt x="733" y="49"/>
                  </a:lnTo>
                  <a:lnTo>
                    <a:pt x="722" y="46"/>
                  </a:lnTo>
                  <a:lnTo>
                    <a:pt x="710" y="46"/>
                  </a:lnTo>
                  <a:lnTo>
                    <a:pt x="710" y="75"/>
                  </a:lnTo>
                  <a:lnTo>
                    <a:pt x="572" y="75"/>
                  </a:lnTo>
                  <a:lnTo>
                    <a:pt x="542" y="90"/>
                  </a:lnTo>
                  <a:lnTo>
                    <a:pt x="519" y="105"/>
                  </a:lnTo>
                  <a:lnTo>
                    <a:pt x="507" y="113"/>
                  </a:lnTo>
                  <a:lnTo>
                    <a:pt x="495" y="119"/>
                  </a:lnTo>
                  <a:lnTo>
                    <a:pt x="483" y="125"/>
                  </a:lnTo>
                  <a:lnTo>
                    <a:pt x="469" y="130"/>
                  </a:lnTo>
                  <a:lnTo>
                    <a:pt x="465" y="134"/>
                  </a:lnTo>
                  <a:lnTo>
                    <a:pt x="463" y="139"/>
                  </a:lnTo>
                  <a:lnTo>
                    <a:pt x="460" y="146"/>
                  </a:lnTo>
                  <a:lnTo>
                    <a:pt x="457" y="154"/>
                  </a:lnTo>
                  <a:lnTo>
                    <a:pt x="453" y="161"/>
                  </a:lnTo>
                  <a:lnTo>
                    <a:pt x="451" y="166"/>
                  </a:lnTo>
                  <a:lnTo>
                    <a:pt x="448" y="169"/>
                  </a:lnTo>
                  <a:lnTo>
                    <a:pt x="445" y="171"/>
                  </a:lnTo>
                  <a:lnTo>
                    <a:pt x="443" y="171"/>
                  </a:lnTo>
                  <a:lnTo>
                    <a:pt x="440" y="173"/>
                  </a:lnTo>
                  <a:lnTo>
                    <a:pt x="419" y="161"/>
                  </a:lnTo>
                  <a:lnTo>
                    <a:pt x="404" y="149"/>
                  </a:lnTo>
                  <a:lnTo>
                    <a:pt x="388" y="163"/>
                  </a:lnTo>
                  <a:lnTo>
                    <a:pt x="376" y="173"/>
                  </a:lnTo>
                  <a:lnTo>
                    <a:pt x="371" y="177"/>
                  </a:lnTo>
                  <a:lnTo>
                    <a:pt x="364" y="179"/>
                  </a:lnTo>
                  <a:lnTo>
                    <a:pt x="357" y="182"/>
                  </a:lnTo>
                  <a:lnTo>
                    <a:pt x="349" y="185"/>
                  </a:lnTo>
                  <a:lnTo>
                    <a:pt x="347" y="177"/>
                  </a:lnTo>
                  <a:lnTo>
                    <a:pt x="344" y="171"/>
                  </a:lnTo>
                  <a:lnTo>
                    <a:pt x="340" y="169"/>
                  </a:lnTo>
                  <a:lnTo>
                    <a:pt x="335" y="166"/>
                  </a:lnTo>
                  <a:lnTo>
                    <a:pt x="323" y="166"/>
                  </a:lnTo>
                  <a:lnTo>
                    <a:pt x="307" y="166"/>
                  </a:lnTo>
                  <a:lnTo>
                    <a:pt x="307" y="209"/>
                  </a:lnTo>
                  <a:lnTo>
                    <a:pt x="315" y="213"/>
                  </a:lnTo>
                  <a:lnTo>
                    <a:pt x="321" y="218"/>
                  </a:lnTo>
                  <a:lnTo>
                    <a:pt x="327" y="225"/>
                  </a:lnTo>
                  <a:lnTo>
                    <a:pt x="331" y="233"/>
                  </a:lnTo>
                  <a:lnTo>
                    <a:pt x="317" y="233"/>
                  </a:lnTo>
                  <a:lnTo>
                    <a:pt x="304" y="233"/>
                  </a:lnTo>
                  <a:lnTo>
                    <a:pt x="291" y="233"/>
                  </a:lnTo>
                  <a:lnTo>
                    <a:pt x="277" y="233"/>
                  </a:lnTo>
                  <a:lnTo>
                    <a:pt x="280" y="243"/>
                  </a:lnTo>
                  <a:lnTo>
                    <a:pt x="283" y="251"/>
                  </a:lnTo>
                  <a:lnTo>
                    <a:pt x="285" y="259"/>
                  </a:lnTo>
                  <a:lnTo>
                    <a:pt x="289" y="266"/>
                  </a:lnTo>
                  <a:lnTo>
                    <a:pt x="299" y="279"/>
                  </a:lnTo>
                  <a:lnTo>
                    <a:pt x="307" y="299"/>
                  </a:lnTo>
                  <a:lnTo>
                    <a:pt x="299" y="298"/>
                  </a:lnTo>
                  <a:lnTo>
                    <a:pt x="291" y="297"/>
                  </a:lnTo>
                  <a:lnTo>
                    <a:pt x="284" y="294"/>
                  </a:lnTo>
                  <a:lnTo>
                    <a:pt x="279" y="291"/>
                  </a:lnTo>
                  <a:lnTo>
                    <a:pt x="275" y="287"/>
                  </a:lnTo>
                  <a:lnTo>
                    <a:pt x="271" y="283"/>
                  </a:lnTo>
                  <a:lnTo>
                    <a:pt x="267" y="279"/>
                  </a:lnTo>
                  <a:lnTo>
                    <a:pt x="265" y="275"/>
                  </a:lnTo>
                  <a:lnTo>
                    <a:pt x="235" y="275"/>
                  </a:lnTo>
                  <a:lnTo>
                    <a:pt x="236" y="293"/>
                  </a:lnTo>
                  <a:lnTo>
                    <a:pt x="237" y="306"/>
                  </a:lnTo>
                  <a:lnTo>
                    <a:pt x="237" y="311"/>
                  </a:lnTo>
                  <a:lnTo>
                    <a:pt x="237" y="317"/>
                  </a:lnTo>
                  <a:lnTo>
                    <a:pt x="236" y="322"/>
                  </a:lnTo>
                  <a:lnTo>
                    <a:pt x="235" y="329"/>
                  </a:lnTo>
                  <a:lnTo>
                    <a:pt x="229" y="330"/>
                  </a:lnTo>
                  <a:lnTo>
                    <a:pt x="225" y="331"/>
                  </a:lnTo>
                  <a:lnTo>
                    <a:pt x="220" y="331"/>
                  </a:lnTo>
                  <a:lnTo>
                    <a:pt x="215" y="331"/>
                  </a:lnTo>
                  <a:lnTo>
                    <a:pt x="208" y="330"/>
                  </a:lnTo>
                  <a:lnTo>
                    <a:pt x="204" y="329"/>
                  </a:lnTo>
                  <a:lnTo>
                    <a:pt x="199" y="330"/>
                  </a:lnTo>
                  <a:lnTo>
                    <a:pt x="193" y="331"/>
                  </a:lnTo>
                  <a:lnTo>
                    <a:pt x="189" y="334"/>
                  </a:lnTo>
                  <a:lnTo>
                    <a:pt x="187" y="337"/>
                  </a:lnTo>
                  <a:lnTo>
                    <a:pt x="181" y="346"/>
                  </a:lnTo>
                  <a:lnTo>
                    <a:pt x="180" y="357"/>
                  </a:lnTo>
                  <a:lnTo>
                    <a:pt x="179" y="369"/>
                  </a:lnTo>
                  <a:lnTo>
                    <a:pt x="176" y="382"/>
                  </a:lnTo>
                  <a:lnTo>
                    <a:pt x="173" y="395"/>
                  </a:lnTo>
                  <a:lnTo>
                    <a:pt x="168" y="407"/>
                  </a:lnTo>
                  <a:lnTo>
                    <a:pt x="155" y="394"/>
                  </a:lnTo>
                  <a:lnTo>
                    <a:pt x="141" y="382"/>
                  </a:lnTo>
                  <a:lnTo>
                    <a:pt x="135" y="378"/>
                  </a:lnTo>
                  <a:lnTo>
                    <a:pt x="128" y="374"/>
                  </a:lnTo>
                  <a:lnTo>
                    <a:pt x="121" y="371"/>
                  </a:lnTo>
                  <a:lnTo>
                    <a:pt x="115" y="371"/>
                  </a:lnTo>
                  <a:lnTo>
                    <a:pt x="97" y="373"/>
                  </a:lnTo>
                  <a:lnTo>
                    <a:pt x="79" y="377"/>
                  </a:lnTo>
                  <a:lnTo>
                    <a:pt x="60" y="382"/>
                  </a:lnTo>
                  <a:lnTo>
                    <a:pt x="41" y="390"/>
                  </a:lnTo>
                  <a:lnTo>
                    <a:pt x="25" y="399"/>
                  </a:lnTo>
                  <a:lnTo>
                    <a:pt x="12" y="409"/>
                  </a:lnTo>
                  <a:lnTo>
                    <a:pt x="7" y="414"/>
                  </a:lnTo>
                  <a:lnTo>
                    <a:pt x="3" y="421"/>
                  </a:lnTo>
                  <a:lnTo>
                    <a:pt x="0" y="426"/>
                  </a:lnTo>
                  <a:lnTo>
                    <a:pt x="0" y="431"/>
                  </a:lnTo>
                  <a:lnTo>
                    <a:pt x="0" y="434"/>
                  </a:lnTo>
                  <a:lnTo>
                    <a:pt x="3" y="437"/>
                  </a:lnTo>
                  <a:lnTo>
                    <a:pt x="7" y="441"/>
                  </a:lnTo>
                  <a:lnTo>
                    <a:pt x="11" y="445"/>
                  </a:lnTo>
                  <a:lnTo>
                    <a:pt x="23" y="454"/>
                  </a:lnTo>
                  <a:lnTo>
                    <a:pt x="37" y="465"/>
                  </a:lnTo>
                  <a:lnTo>
                    <a:pt x="65" y="483"/>
                  </a:lnTo>
                  <a:lnTo>
                    <a:pt x="84" y="498"/>
                  </a:lnTo>
                  <a:lnTo>
                    <a:pt x="69" y="498"/>
                  </a:lnTo>
                  <a:lnTo>
                    <a:pt x="56" y="498"/>
                  </a:lnTo>
                  <a:lnTo>
                    <a:pt x="45" y="498"/>
                  </a:lnTo>
                  <a:lnTo>
                    <a:pt x="41" y="498"/>
                  </a:lnTo>
                  <a:lnTo>
                    <a:pt x="31" y="497"/>
                  </a:lnTo>
                  <a:lnTo>
                    <a:pt x="16" y="498"/>
                  </a:lnTo>
                  <a:lnTo>
                    <a:pt x="9" y="501"/>
                  </a:lnTo>
                  <a:lnTo>
                    <a:pt x="4" y="505"/>
                  </a:lnTo>
                  <a:lnTo>
                    <a:pt x="3" y="509"/>
                  </a:lnTo>
                  <a:lnTo>
                    <a:pt x="1" y="511"/>
                  </a:lnTo>
                  <a:lnTo>
                    <a:pt x="0" y="517"/>
                  </a:lnTo>
                  <a:lnTo>
                    <a:pt x="0" y="522"/>
                  </a:lnTo>
                  <a:lnTo>
                    <a:pt x="0" y="527"/>
                  </a:lnTo>
                  <a:lnTo>
                    <a:pt x="1" y="531"/>
                  </a:lnTo>
                  <a:lnTo>
                    <a:pt x="3" y="534"/>
                  </a:lnTo>
                  <a:lnTo>
                    <a:pt x="5" y="538"/>
                  </a:lnTo>
                  <a:lnTo>
                    <a:pt x="11" y="541"/>
                  </a:lnTo>
                  <a:lnTo>
                    <a:pt x="17" y="543"/>
                  </a:lnTo>
                  <a:lnTo>
                    <a:pt x="25" y="545"/>
                  </a:lnTo>
                  <a:lnTo>
                    <a:pt x="33" y="546"/>
                  </a:lnTo>
                  <a:lnTo>
                    <a:pt x="40" y="549"/>
                  </a:lnTo>
                  <a:lnTo>
                    <a:pt x="48" y="551"/>
                  </a:lnTo>
                  <a:lnTo>
                    <a:pt x="56" y="557"/>
                  </a:lnTo>
                  <a:lnTo>
                    <a:pt x="61" y="563"/>
                  </a:lnTo>
                  <a:lnTo>
                    <a:pt x="64" y="570"/>
                  </a:lnTo>
                  <a:lnTo>
                    <a:pt x="67" y="578"/>
                  </a:lnTo>
                  <a:lnTo>
                    <a:pt x="69" y="594"/>
                  </a:lnTo>
                  <a:lnTo>
                    <a:pt x="72" y="613"/>
                  </a:lnTo>
                  <a:lnTo>
                    <a:pt x="73" y="617"/>
                  </a:lnTo>
                  <a:lnTo>
                    <a:pt x="76" y="621"/>
                  </a:lnTo>
                  <a:lnTo>
                    <a:pt x="80" y="625"/>
                  </a:lnTo>
                  <a:lnTo>
                    <a:pt x="85" y="627"/>
                  </a:lnTo>
                  <a:lnTo>
                    <a:pt x="97" y="634"/>
                  </a:lnTo>
                  <a:lnTo>
                    <a:pt x="111" y="639"/>
                  </a:lnTo>
                  <a:lnTo>
                    <a:pt x="127" y="643"/>
                  </a:lnTo>
                  <a:lnTo>
                    <a:pt x="141" y="646"/>
                  </a:lnTo>
                  <a:lnTo>
                    <a:pt x="156" y="647"/>
                  </a:lnTo>
                  <a:lnTo>
                    <a:pt x="168" y="648"/>
                  </a:lnTo>
                  <a:lnTo>
                    <a:pt x="175" y="647"/>
                  </a:lnTo>
                  <a:lnTo>
                    <a:pt x="180" y="646"/>
                  </a:lnTo>
                  <a:lnTo>
                    <a:pt x="184" y="643"/>
                  </a:lnTo>
                  <a:lnTo>
                    <a:pt x="187" y="639"/>
                  </a:lnTo>
                  <a:lnTo>
                    <a:pt x="188" y="635"/>
                  </a:lnTo>
                  <a:lnTo>
                    <a:pt x="189" y="630"/>
                  </a:lnTo>
                  <a:lnTo>
                    <a:pt x="191" y="623"/>
                  </a:lnTo>
                  <a:lnTo>
                    <a:pt x="191" y="617"/>
                  </a:lnTo>
                  <a:lnTo>
                    <a:pt x="189" y="590"/>
                  </a:lnTo>
                  <a:lnTo>
                    <a:pt x="187" y="563"/>
                  </a:lnTo>
                  <a:lnTo>
                    <a:pt x="203" y="569"/>
                  </a:lnTo>
                  <a:lnTo>
                    <a:pt x="216" y="575"/>
                  </a:lnTo>
                  <a:lnTo>
                    <a:pt x="221" y="578"/>
                  </a:lnTo>
                  <a:lnTo>
                    <a:pt x="228" y="579"/>
                  </a:lnTo>
                  <a:lnTo>
                    <a:pt x="235" y="582"/>
                  </a:lnTo>
                  <a:lnTo>
                    <a:pt x="241" y="582"/>
                  </a:lnTo>
                  <a:lnTo>
                    <a:pt x="241" y="571"/>
                  </a:lnTo>
                  <a:lnTo>
                    <a:pt x="240" y="561"/>
                  </a:lnTo>
                  <a:lnTo>
                    <a:pt x="237" y="550"/>
                  </a:lnTo>
                  <a:lnTo>
                    <a:pt x="235" y="541"/>
                  </a:lnTo>
                  <a:lnTo>
                    <a:pt x="232" y="533"/>
                  </a:lnTo>
                  <a:lnTo>
                    <a:pt x="229" y="525"/>
                  </a:lnTo>
                  <a:lnTo>
                    <a:pt x="228" y="517"/>
                  </a:lnTo>
                  <a:lnTo>
                    <a:pt x="228" y="510"/>
                  </a:lnTo>
                  <a:lnTo>
                    <a:pt x="237" y="523"/>
                  </a:lnTo>
                  <a:lnTo>
                    <a:pt x="248" y="538"/>
                  </a:lnTo>
                  <a:lnTo>
                    <a:pt x="253" y="543"/>
                  </a:lnTo>
                  <a:lnTo>
                    <a:pt x="259" y="547"/>
                  </a:lnTo>
                  <a:lnTo>
                    <a:pt x="264" y="551"/>
                  </a:lnTo>
                  <a:lnTo>
                    <a:pt x="271" y="551"/>
                  </a:lnTo>
                  <a:lnTo>
                    <a:pt x="279" y="551"/>
                  </a:lnTo>
                  <a:lnTo>
                    <a:pt x="285" y="547"/>
                  </a:lnTo>
                  <a:lnTo>
                    <a:pt x="289" y="543"/>
                  </a:lnTo>
                  <a:lnTo>
                    <a:pt x="292" y="538"/>
                  </a:lnTo>
                  <a:lnTo>
                    <a:pt x="295" y="526"/>
                  </a:lnTo>
                  <a:lnTo>
                    <a:pt x="295" y="515"/>
                  </a:lnTo>
                  <a:lnTo>
                    <a:pt x="295" y="506"/>
                  </a:lnTo>
                  <a:lnTo>
                    <a:pt x="292" y="498"/>
                  </a:lnTo>
                  <a:lnTo>
                    <a:pt x="291" y="491"/>
                  </a:lnTo>
                  <a:lnTo>
                    <a:pt x="288" y="487"/>
                  </a:lnTo>
                  <a:lnTo>
                    <a:pt x="287" y="483"/>
                  </a:lnTo>
                  <a:lnTo>
                    <a:pt x="287" y="478"/>
                  </a:lnTo>
                  <a:lnTo>
                    <a:pt x="289" y="474"/>
                  </a:lnTo>
                  <a:lnTo>
                    <a:pt x="295" y="467"/>
                  </a:lnTo>
                  <a:lnTo>
                    <a:pt x="301" y="477"/>
                  </a:lnTo>
                  <a:lnTo>
                    <a:pt x="309" y="487"/>
                  </a:lnTo>
                  <a:lnTo>
                    <a:pt x="319" y="494"/>
                  </a:lnTo>
                  <a:lnTo>
                    <a:pt x="325" y="498"/>
                  </a:lnTo>
                  <a:lnTo>
                    <a:pt x="331" y="497"/>
                  </a:lnTo>
                  <a:lnTo>
                    <a:pt x="336" y="494"/>
                  </a:lnTo>
                  <a:lnTo>
                    <a:pt x="341" y="490"/>
                  </a:lnTo>
                  <a:lnTo>
                    <a:pt x="348" y="485"/>
                  </a:lnTo>
                  <a:lnTo>
                    <a:pt x="359" y="470"/>
                  </a:lnTo>
                  <a:lnTo>
                    <a:pt x="369" y="454"/>
                  </a:lnTo>
                  <a:lnTo>
                    <a:pt x="379" y="437"/>
                  </a:lnTo>
                  <a:lnTo>
                    <a:pt x="388" y="422"/>
                  </a:lnTo>
                  <a:lnTo>
                    <a:pt x="396" y="409"/>
                  </a:lnTo>
                  <a:lnTo>
                    <a:pt x="404" y="401"/>
                  </a:lnTo>
                  <a:lnTo>
                    <a:pt x="412" y="410"/>
                  </a:lnTo>
                  <a:lnTo>
                    <a:pt x="419" y="418"/>
                  </a:lnTo>
                  <a:lnTo>
                    <a:pt x="423" y="421"/>
                  </a:lnTo>
                  <a:lnTo>
                    <a:pt x="428" y="423"/>
                  </a:lnTo>
                  <a:lnTo>
                    <a:pt x="433" y="425"/>
                  </a:lnTo>
                  <a:lnTo>
                    <a:pt x="440" y="425"/>
                  </a:lnTo>
                  <a:lnTo>
                    <a:pt x="445" y="423"/>
                  </a:lnTo>
                  <a:lnTo>
                    <a:pt x="449" y="421"/>
                  </a:lnTo>
                  <a:lnTo>
                    <a:pt x="452" y="415"/>
                  </a:lnTo>
                  <a:lnTo>
                    <a:pt x="455" y="410"/>
                  </a:lnTo>
                  <a:lnTo>
                    <a:pt x="457" y="405"/>
                  </a:lnTo>
                  <a:lnTo>
                    <a:pt x="460" y="399"/>
                  </a:lnTo>
                  <a:lnTo>
                    <a:pt x="464" y="397"/>
                  </a:lnTo>
                  <a:lnTo>
                    <a:pt x="469" y="395"/>
                  </a:lnTo>
                  <a:lnTo>
                    <a:pt x="485" y="395"/>
                  </a:lnTo>
                  <a:lnTo>
                    <a:pt x="511" y="394"/>
                  </a:lnTo>
                  <a:lnTo>
                    <a:pt x="524" y="393"/>
                  </a:lnTo>
                  <a:lnTo>
                    <a:pt x="537" y="390"/>
                  </a:lnTo>
                  <a:lnTo>
                    <a:pt x="549" y="387"/>
                  </a:lnTo>
                  <a:lnTo>
                    <a:pt x="560" y="383"/>
                  </a:lnTo>
                  <a:lnTo>
                    <a:pt x="565" y="378"/>
                  </a:lnTo>
                  <a:lnTo>
                    <a:pt x="569" y="371"/>
                  </a:lnTo>
                  <a:lnTo>
                    <a:pt x="570" y="365"/>
                  </a:lnTo>
                  <a:lnTo>
                    <a:pt x="573" y="357"/>
                  </a:lnTo>
                  <a:lnTo>
                    <a:pt x="574" y="350"/>
                  </a:lnTo>
                  <a:lnTo>
                    <a:pt x="577" y="343"/>
                  </a:lnTo>
                  <a:lnTo>
                    <a:pt x="580" y="341"/>
                  </a:lnTo>
                  <a:lnTo>
                    <a:pt x="582" y="338"/>
                  </a:lnTo>
                  <a:lnTo>
                    <a:pt x="585" y="337"/>
                  </a:lnTo>
                  <a:lnTo>
                    <a:pt x="590" y="335"/>
                  </a:lnTo>
                  <a:lnTo>
                    <a:pt x="622" y="321"/>
                  </a:lnTo>
                  <a:lnTo>
                    <a:pt x="652" y="310"/>
                  </a:lnTo>
                  <a:lnTo>
                    <a:pt x="680" y="302"/>
                  </a:lnTo>
                  <a:lnTo>
                    <a:pt x="708" y="295"/>
                  </a:lnTo>
                  <a:lnTo>
                    <a:pt x="738" y="289"/>
                  </a:lnTo>
                  <a:lnTo>
                    <a:pt x="770" y="283"/>
                  </a:lnTo>
                  <a:lnTo>
                    <a:pt x="806" y="277"/>
                  </a:lnTo>
                  <a:lnTo>
                    <a:pt x="849" y="269"/>
                  </a:lnTo>
                  <a:lnTo>
                    <a:pt x="1048" y="269"/>
                  </a:lnTo>
                  <a:lnTo>
                    <a:pt x="1080" y="255"/>
                  </a:lnTo>
                  <a:lnTo>
                    <a:pt x="1114" y="242"/>
                  </a:lnTo>
                  <a:lnTo>
                    <a:pt x="1132" y="235"/>
                  </a:lnTo>
                  <a:lnTo>
                    <a:pt x="1148" y="227"/>
                  </a:lnTo>
                  <a:lnTo>
                    <a:pt x="1164" y="218"/>
                  </a:lnTo>
                  <a:lnTo>
                    <a:pt x="1178" y="209"/>
                  </a:lnTo>
                  <a:lnTo>
                    <a:pt x="1193" y="199"/>
                  </a:lnTo>
                  <a:lnTo>
                    <a:pt x="1206" y="187"/>
                  </a:lnTo>
                  <a:lnTo>
                    <a:pt x="1217" y="174"/>
                  </a:lnTo>
                  <a:lnTo>
                    <a:pt x="1228" y="159"/>
                  </a:lnTo>
                  <a:lnTo>
                    <a:pt x="1236" y="143"/>
                  </a:lnTo>
                  <a:lnTo>
                    <a:pt x="1241" y="125"/>
                  </a:lnTo>
                  <a:lnTo>
                    <a:pt x="1244" y="115"/>
                  </a:lnTo>
                  <a:lnTo>
                    <a:pt x="1245" y="105"/>
                  </a:lnTo>
                  <a:lnTo>
                    <a:pt x="1246" y="94"/>
                  </a:lnTo>
                  <a:lnTo>
                    <a:pt x="1246" y="82"/>
                  </a:lnTo>
                  <a:lnTo>
                    <a:pt x="1246" y="74"/>
                  </a:lnTo>
                  <a:lnTo>
                    <a:pt x="1245" y="67"/>
                  </a:lnTo>
                  <a:lnTo>
                    <a:pt x="1244" y="61"/>
                  </a:lnTo>
                  <a:lnTo>
                    <a:pt x="1241" y="54"/>
                  </a:lnTo>
                  <a:lnTo>
                    <a:pt x="1236" y="42"/>
                  </a:lnTo>
                  <a:lnTo>
                    <a:pt x="1228" y="33"/>
                  </a:lnTo>
                  <a:lnTo>
                    <a:pt x="1218" y="24"/>
                  </a:lnTo>
                  <a:lnTo>
                    <a:pt x="1208" y="17"/>
                  </a:lnTo>
                  <a:lnTo>
                    <a:pt x="1197" y="12"/>
                  </a:lnTo>
                  <a:lnTo>
                    <a:pt x="1186" y="6"/>
                  </a:lnTo>
                  <a:lnTo>
                    <a:pt x="1174" y="4"/>
                  </a:lnTo>
                  <a:lnTo>
                    <a:pt x="1164" y="1"/>
                  </a:lnTo>
                  <a:lnTo>
                    <a:pt x="1154" y="0"/>
                  </a:lnTo>
                  <a:lnTo>
                    <a:pt x="1145" y="0"/>
                  </a:lnTo>
                  <a:lnTo>
                    <a:pt x="1137" y="0"/>
                  </a:lnTo>
                  <a:lnTo>
                    <a:pt x="1132" y="1"/>
                  </a:lnTo>
                  <a:lnTo>
                    <a:pt x="1128" y="2"/>
                  </a:lnTo>
                  <a:lnTo>
                    <a:pt x="1126" y="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46" name="Freeform 42"/>
            <p:cNvSpPr>
              <a:spLocks/>
            </p:cNvSpPr>
            <p:nvPr/>
          </p:nvSpPr>
          <p:spPr bwMode="auto">
            <a:xfrm>
              <a:off x="1160784" y="3238500"/>
              <a:ext cx="496888" cy="449262"/>
            </a:xfrm>
            <a:custGeom>
              <a:avLst/>
              <a:gdLst/>
              <a:ahLst/>
              <a:cxnLst>
                <a:cxn ang="0">
                  <a:pos x="423" y="18"/>
                </a:cxn>
                <a:cxn ang="0">
                  <a:pos x="322" y="40"/>
                </a:cxn>
                <a:cxn ang="0">
                  <a:pos x="294" y="156"/>
                </a:cxn>
                <a:cxn ang="0">
                  <a:pos x="314" y="226"/>
                </a:cxn>
                <a:cxn ang="0">
                  <a:pos x="353" y="289"/>
                </a:cxn>
                <a:cxn ang="0">
                  <a:pos x="347" y="340"/>
                </a:cxn>
                <a:cxn ang="0">
                  <a:pos x="323" y="370"/>
                </a:cxn>
                <a:cxn ang="0">
                  <a:pos x="306" y="346"/>
                </a:cxn>
                <a:cxn ang="0">
                  <a:pos x="285" y="253"/>
                </a:cxn>
                <a:cxn ang="0">
                  <a:pos x="225" y="216"/>
                </a:cxn>
                <a:cxn ang="0">
                  <a:pos x="174" y="198"/>
                </a:cxn>
                <a:cxn ang="0">
                  <a:pos x="126" y="173"/>
                </a:cxn>
                <a:cxn ang="0">
                  <a:pos x="92" y="194"/>
                </a:cxn>
                <a:cxn ang="0">
                  <a:pos x="78" y="252"/>
                </a:cxn>
                <a:cxn ang="0">
                  <a:pos x="12" y="260"/>
                </a:cxn>
                <a:cxn ang="0">
                  <a:pos x="0" y="306"/>
                </a:cxn>
                <a:cxn ang="0">
                  <a:pos x="13" y="358"/>
                </a:cxn>
                <a:cxn ang="0">
                  <a:pos x="40" y="408"/>
                </a:cxn>
                <a:cxn ang="0">
                  <a:pos x="36" y="462"/>
                </a:cxn>
                <a:cxn ang="0">
                  <a:pos x="24" y="517"/>
                </a:cxn>
                <a:cxn ang="0">
                  <a:pos x="37" y="579"/>
                </a:cxn>
                <a:cxn ang="0">
                  <a:pos x="57" y="582"/>
                </a:cxn>
                <a:cxn ang="0">
                  <a:pos x="84" y="558"/>
                </a:cxn>
                <a:cxn ang="0">
                  <a:pos x="118" y="551"/>
                </a:cxn>
                <a:cxn ang="0">
                  <a:pos x="134" y="574"/>
                </a:cxn>
                <a:cxn ang="0">
                  <a:pos x="193" y="581"/>
                </a:cxn>
                <a:cxn ang="0">
                  <a:pos x="259" y="590"/>
                </a:cxn>
                <a:cxn ang="0">
                  <a:pos x="307" y="613"/>
                </a:cxn>
                <a:cxn ang="0">
                  <a:pos x="335" y="601"/>
                </a:cxn>
                <a:cxn ang="0">
                  <a:pos x="363" y="597"/>
                </a:cxn>
                <a:cxn ang="0">
                  <a:pos x="395" y="622"/>
                </a:cxn>
                <a:cxn ang="0">
                  <a:pos x="407" y="674"/>
                </a:cxn>
                <a:cxn ang="0">
                  <a:pos x="430" y="707"/>
                </a:cxn>
                <a:cxn ang="0">
                  <a:pos x="458" y="707"/>
                </a:cxn>
                <a:cxn ang="0">
                  <a:pos x="470" y="706"/>
                </a:cxn>
                <a:cxn ang="0">
                  <a:pos x="497" y="721"/>
                </a:cxn>
                <a:cxn ang="0">
                  <a:pos x="517" y="786"/>
                </a:cxn>
                <a:cxn ang="0">
                  <a:pos x="543" y="878"/>
                </a:cxn>
                <a:cxn ang="0">
                  <a:pos x="586" y="914"/>
                </a:cxn>
                <a:cxn ang="0">
                  <a:pos x="674" y="926"/>
                </a:cxn>
                <a:cxn ang="0">
                  <a:pos x="741" y="895"/>
                </a:cxn>
                <a:cxn ang="0">
                  <a:pos x="773" y="857"/>
                </a:cxn>
                <a:cxn ang="0">
                  <a:pos x="765" y="809"/>
                </a:cxn>
                <a:cxn ang="0">
                  <a:pos x="777" y="775"/>
                </a:cxn>
                <a:cxn ang="0">
                  <a:pos x="859" y="713"/>
                </a:cxn>
                <a:cxn ang="0">
                  <a:pos x="1023" y="625"/>
                </a:cxn>
                <a:cxn ang="0">
                  <a:pos x="959" y="557"/>
                </a:cxn>
                <a:cxn ang="0">
                  <a:pos x="873" y="457"/>
                </a:cxn>
                <a:cxn ang="0">
                  <a:pos x="841" y="490"/>
                </a:cxn>
                <a:cxn ang="0">
                  <a:pos x="831" y="505"/>
                </a:cxn>
                <a:cxn ang="0">
                  <a:pos x="714" y="477"/>
                </a:cxn>
                <a:cxn ang="0">
                  <a:pos x="661" y="440"/>
                </a:cxn>
                <a:cxn ang="0">
                  <a:pos x="637" y="369"/>
                </a:cxn>
                <a:cxn ang="0">
                  <a:pos x="614" y="282"/>
                </a:cxn>
                <a:cxn ang="0">
                  <a:pos x="554" y="150"/>
                </a:cxn>
                <a:cxn ang="0">
                  <a:pos x="531" y="61"/>
                </a:cxn>
              </a:cxnLst>
              <a:rect l="0" t="0" r="r" b="b"/>
              <a:pathLst>
                <a:path w="1023" h="926">
                  <a:moveTo>
                    <a:pt x="523" y="24"/>
                  </a:moveTo>
                  <a:lnTo>
                    <a:pt x="497" y="22"/>
                  </a:lnTo>
                  <a:lnTo>
                    <a:pt x="471" y="22"/>
                  </a:lnTo>
                  <a:lnTo>
                    <a:pt x="447" y="21"/>
                  </a:lnTo>
                  <a:lnTo>
                    <a:pt x="423" y="18"/>
                  </a:lnTo>
                  <a:lnTo>
                    <a:pt x="401" y="14"/>
                  </a:lnTo>
                  <a:lnTo>
                    <a:pt x="379" y="10"/>
                  </a:lnTo>
                  <a:lnTo>
                    <a:pt x="358" y="5"/>
                  </a:lnTo>
                  <a:lnTo>
                    <a:pt x="337" y="0"/>
                  </a:lnTo>
                  <a:lnTo>
                    <a:pt x="322" y="40"/>
                  </a:lnTo>
                  <a:lnTo>
                    <a:pt x="309" y="80"/>
                  </a:lnTo>
                  <a:lnTo>
                    <a:pt x="303" y="100"/>
                  </a:lnTo>
                  <a:lnTo>
                    <a:pt x="299" y="118"/>
                  </a:lnTo>
                  <a:lnTo>
                    <a:pt x="295" y="137"/>
                  </a:lnTo>
                  <a:lnTo>
                    <a:pt x="294" y="156"/>
                  </a:lnTo>
                  <a:lnTo>
                    <a:pt x="293" y="170"/>
                  </a:lnTo>
                  <a:lnTo>
                    <a:pt x="294" y="182"/>
                  </a:lnTo>
                  <a:lnTo>
                    <a:pt x="297" y="194"/>
                  </a:lnTo>
                  <a:lnTo>
                    <a:pt x="301" y="205"/>
                  </a:lnTo>
                  <a:lnTo>
                    <a:pt x="314" y="226"/>
                  </a:lnTo>
                  <a:lnTo>
                    <a:pt x="330" y="245"/>
                  </a:lnTo>
                  <a:lnTo>
                    <a:pt x="338" y="256"/>
                  </a:lnTo>
                  <a:lnTo>
                    <a:pt x="343" y="266"/>
                  </a:lnTo>
                  <a:lnTo>
                    <a:pt x="350" y="277"/>
                  </a:lnTo>
                  <a:lnTo>
                    <a:pt x="353" y="289"/>
                  </a:lnTo>
                  <a:lnTo>
                    <a:pt x="355" y="302"/>
                  </a:lnTo>
                  <a:lnTo>
                    <a:pt x="354" y="316"/>
                  </a:lnTo>
                  <a:lnTo>
                    <a:pt x="353" y="324"/>
                  </a:lnTo>
                  <a:lnTo>
                    <a:pt x="350" y="332"/>
                  </a:lnTo>
                  <a:lnTo>
                    <a:pt x="347" y="340"/>
                  </a:lnTo>
                  <a:lnTo>
                    <a:pt x="343" y="349"/>
                  </a:lnTo>
                  <a:lnTo>
                    <a:pt x="335" y="361"/>
                  </a:lnTo>
                  <a:lnTo>
                    <a:pt x="329" y="368"/>
                  </a:lnTo>
                  <a:lnTo>
                    <a:pt x="326" y="369"/>
                  </a:lnTo>
                  <a:lnTo>
                    <a:pt x="323" y="370"/>
                  </a:lnTo>
                  <a:lnTo>
                    <a:pt x="321" y="370"/>
                  </a:lnTo>
                  <a:lnTo>
                    <a:pt x="318" y="369"/>
                  </a:lnTo>
                  <a:lnTo>
                    <a:pt x="314" y="364"/>
                  </a:lnTo>
                  <a:lnTo>
                    <a:pt x="310" y="356"/>
                  </a:lnTo>
                  <a:lnTo>
                    <a:pt x="306" y="346"/>
                  </a:lnTo>
                  <a:lnTo>
                    <a:pt x="303" y="334"/>
                  </a:lnTo>
                  <a:lnTo>
                    <a:pt x="297" y="306"/>
                  </a:lnTo>
                  <a:lnTo>
                    <a:pt x="291" y="278"/>
                  </a:lnTo>
                  <a:lnTo>
                    <a:pt x="287" y="265"/>
                  </a:lnTo>
                  <a:lnTo>
                    <a:pt x="285" y="253"/>
                  </a:lnTo>
                  <a:lnTo>
                    <a:pt x="281" y="242"/>
                  </a:lnTo>
                  <a:lnTo>
                    <a:pt x="277" y="234"/>
                  </a:lnTo>
                  <a:lnTo>
                    <a:pt x="257" y="226"/>
                  </a:lnTo>
                  <a:lnTo>
                    <a:pt x="241" y="220"/>
                  </a:lnTo>
                  <a:lnTo>
                    <a:pt x="225" y="216"/>
                  </a:lnTo>
                  <a:lnTo>
                    <a:pt x="211" y="212"/>
                  </a:lnTo>
                  <a:lnTo>
                    <a:pt x="201" y="208"/>
                  </a:lnTo>
                  <a:lnTo>
                    <a:pt x="190" y="205"/>
                  </a:lnTo>
                  <a:lnTo>
                    <a:pt x="182" y="202"/>
                  </a:lnTo>
                  <a:lnTo>
                    <a:pt x="174" y="198"/>
                  </a:lnTo>
                  <a:lnTo>
                    <a:pt x="162" y="188"/>
                  </a:lnTo>
                  <a:lnTo>
                    <a:pt x="152" y="181"/>
                  </a:lnTo>
                  <a:lnTo>
                    <a:pt x="142" y="177"/>
                  </a:lnTo>
                  <a:lnTo>
                    <a:pt x="134" y="174"/>
                  </a:lnTo>
                  <a:lnTo>
                    <a:pt x="126" y="173"/>
                  </a:lnTo>
                  <a:lnTo>
                    <a:pt x="120" y="174"/>
                  </a:lnTo>
                  <a:lnTo>
                    <a:pt x="113" y="177"/>
                  </a:lnTo>
                  <a:lnTo>
                    <a:pt x="108" y="180"/>
                  </a:lnTo>
                  <a:lnTo>
                    <a:pt x="100" y="188"/>
                  </a:lnTo>
                  <a:lnTo>
                    <a:pt x="92" y="194"/>
                  </a:lnTo>
                  <a:lnTo>
                    <a:pt x="88" y="197"/>
                  </a:lnTo>
                  <a:lnTo>
                    <a:pt x="85" y="198"/>
                  </a:lnTo>
                  <a:lnTo>
                    <a:pt x="81" y="200"/>
                  </a:lnTo>
                  <a:lnTo>
                    <a:pt x="78" y="198"/>
                  </a:lnTo>
                  <a:lnTo>
                    <a:pt x="78" y="252"/>
                  </a:lnTo>
                  <a:lnTo>
                    <a:pt x="57" y="252"/>
                  </a:lnTo>
                  <a:lnTo>
                    <a:pt x="41" y="252"/>
                  </a:lnTo>
                  <a:lnTo>
                    <a:pt x="26" y="253"/>
                  </a:lnTo>
                  <a:lnTo>
                    <a:pt x="17" y="257"/>
                  </a:lnTo>
                  <a:lnTo>
                    <a:pt x="12" y="260"/>
                  </a:lnTo>
                  <a:lnTo>
                    <a:pt x="9" y="262"/>
                  </a:lnTo>
                  <a:lnTo>
                    <a:pt x="6" y="268"/>
                  </a:lnTo>
                  <a:lnTo>
                    <a:pt x="4" y="273"/>
                  </a:lnTo>
                  <a:lnTo>
                    <a:pt x="1" y="286"/>
                  </a:lnTo>
                  <a:lnTo>
                    <a:pt x="0" y="306"/>
                  </a:lnTo>
                  <a:lnTo>
                    <a:pt x="0" y="318"/>
                  </a:lnTo>
                  <a:lnTo>
                    <a:pt x="1" y="328"/>
                  </a:lnTo>
                  <a:lnTo>
                    <a:pt x="4" y="337"/>
                  </a:lnTo>
                  <a:lnTo>
                    <a:pt x="6" y="345"/>
                  </a:lnTo>
                  <a:lnTo>
                    <a:pt x="13" y="358"/>
                  </a:lnTo>
                  <a:lnTo>
                    <a:pt x="21" y="369"/>
                  </a:lnTo>
                  <a:lnTo>
                    <a:pt x="29" y="380"/>
                  </a:lnTo>
                  <a:lnTo>
                    <a:pt x="36" y="392"/>
                  </a:lnTo>
                  <a:lnTo>
                    <a:pt x="38" y="400"/>
                  </a:lnTo>
                  <a:lnTo>
                    <a:pt x="40" y="408"/>
                  </a:lnTo>
                  <a:lnTo>
                    <a:pt x="41" y="416"/>
                  </a:lnTo>
                  <a:lnTo>
                    <a:pt x="42" y="426"/>
                  </a:lnTo>
                  <a:lnTo>
                    <a:pt x="41" y="440"/>
                  </a:lnTo>
                  <a:lnTo>
                    <a:pt x="40" y="452"/>
                  </a:lnTo>
                  <a:lnTo>
                    <a:pt x="36" y="462"/>
                  </a:lnTo>
                  <a:lnTo>
                    <a:pt x="33" y="472"/>
                  </a:lnTo>
                  <a:lnTo>
                    <a:pt x="29" y="482"/>
                  </a:lnTo>
                  <a:lnTo>
                    <a:pt x="26" y="493"/>
                  </a:lnTo>
                  <a:lnTo>
                    <a:pt x="25" y="505"/>
                  </a:lnTo>
                  <a:lnTo>
                    <a:pt x="24" y="517"/>
                  </a:lnTo>
                  <a:lnTo>
                    <a:pt x="24" y="539"/>
                  </a:lnTo>
                  <a:lnTo>
                    <a:pt x="26" y="561"/>
                  </a:lnTo>
                  <a:lnTo>
                    <a:pt x="30" y="570"/>
                  </a:lnTo>
                  <a:lnTo>
                    <a:pt x="34" y="577"/>
                  </a:lnTo>
                  <a:lnTo>
                    <a:pt x="37" y="579"/>
                  </a:lnTo>
                  <a:lnTo>
                    <a:pt x="40" y="582"/>
                  </a:lnTo>
                  <a:lnTo>
                    <a:pt x="44" y="583"/>
                  </a:lnTo>
                  <a:lnTo>
                    <a:pt x="48" y="583"/>
                  </a:lnTo>
                  <a:lnTo>
                    <a:pt x="53" y="583"/>
                  </a:lnTo>
                  <a:lnTo>
                    <a:pt x="57" y="582"/>
                  </a:lnTo>
                  <a:lnTo>
                    <a:pt x="61" y="579"/>
                  </a:lnTo>
                  <a:lnTo>
                    <a:pt x="64" y="578"/>
                  </a:lnTo>
                  <a:lnTo>
                    <a:pt x="70" y="571"/>
                  </a:lnTo>
                  <a:lnTo>
                    <a:pt x="77" y="565"/>
                  </a:lnTo>
                  <a:lnTo>
                    <a:pt x="84" y="558"/>
                  </a:lnTo>
                  <a:lnTo>
                    <a:pt x="89" y="553"/>
                  </a:lnTo>
                  <a:lnTo>
                    <a:pt x="96" y="549"/>
                  </a:lnTo>
                  <a:lnTo>
                    <a:pt x="102" y="547"/>
                  </a:lnTo>
                  <a:lnTo>
                    <a:pt x="112" y="549"/>
                  </a:lnTo>
                  <a:lnTo>
                    <a:pt x="118" y="551"/>
                  </a:lnTo>
                  <a:lnTo>
                    <a:pt x="124" y="555"/>
                  </a:lnTo>
                  <a:lnTo>
                    <a:pt x="128" y="559"/>
                  </a:lnTo>
                  <a:lnTo>
                    <a:pt x="129" y="565"/>
                  </a:lnTo>
                  <a:lnTo>
                    <a:pt x="132" y="570"/>
                  </a:lnTo>
                  <a:lnTo>
                    <a:pt x="134" y="574"/>
                  </a:lnTo>
                  <a:lnTo>
                    <a:pt x="138" y="577"/>
                  </a:lnTo>
                  <a:lnTo>
                    <a:pt x="152" y="581"/>
                  </a:lnTo>
                  <a:lnTo>
                    <a:pt x="165" y="582"/>
                  </a:lnTo>
                  <a:lnTo>
                    <a:pt x="178" y="581"/>
                  </a:lnTo>
                  <a:lnTo>
                    <a:pt x="193" y="581"/>
                  </a:lnTo>
                  <a:lnTo>
                    <a:pt x="206" y="579"/>
                  </a:lnTo>
                  <a:lnTo>
                    <a:pt x="219" y="579"/>
                  </a:lnTo>
                  <a:lnTo>
                    <a:pt x="233" y="579"/>
                  </a:lnTo>
                  <a:lnTo>
                    <a:pt x="246" y="583"/>
                  </a:lnTo>
                  <a:lnTo>
                    <a:pt x="259" y="590"/>
                  </a:lnTo>
                  <a:lnTo>
                    <a:pt x="273" y="601"/>
                  </a:lnTo>
                  <a:lnTo>
                    <a:pt x="279" y="605"/>
                  </a:lnTo>
                  <a:lnTo>
                    <a:pt x="287" y="610"/>
                  </a:lnTo>
                  <a:lnTo>
                    <a:pt x="297" y="613"/>
                  </a:lnTo>
                  <a:lnTo>
                    <a:pt x="307" y="613"/>
                  </a:lnTo>
                  <a:lnTo>
                    <a:pt x="313" y="613"/>
                  </a:lnTo>
                  <a:lnTo>
                    <a:pt x="319" y="610"/>
                  </a:lnTo>
                  <a:lnTo>
                    <a:pt x="325" y="607"/>
                  </a:lnTo>
                  <a:lnTo>
                    <a:pt x="330" y="605"/>
                  </a:lnTo>
                  <a:lnTo>
                    <a:pt x="335" y="601"/>
                  </a:lnTo>
                  <a:lnTo>
                    <a:pt x="339" y="598"/>
                  </a:lnTo>
                  <a:lnTo>
                    <a:pt x="345" y="595"/>
                  </a:lnTo>
                  <a:lnTo>
                    <a:pt x="349" y="595"/>
                  </a:lnTo>
                  <a:lnTo>
                    <a:pt x="357" y="595"/>
                  </a:lnTo>
                  <a:lnTo>
                    <a:pt x="363" y="597"/>
                  </a:lnTo>
                  <a:lnTo>
                    <a:pt x="369" y="598"/>
                  </a:lnTo>
                  <a:lnTo>
                    <a:pt x="374" y="601"/>
                  </a:lnTo>
                  <a:lnTo>
                    <a:pt x="383" y="606"/>
                  </a:lnTo>
                  <a:lnTo>
                    <a:pt x="390" y="613"/>
                  </a:lnTo>
                  <a:lnTo>
                    <a:pt x="395" y="622"/>
                  </a:lnTo>
                  <a:lnTo>
                    <a:pt x="399" y="631"/>
                  </a:lnTo>
                  <a:lnTo>
                    <a:pt x="402" y="642"/>
                  </a:lnTo>
                  <a:lnTo>
                    <a:pt x="403" y="653"/>
                  </a:lnTo>
                  <a:lnTo>
                    <a:pt x="406" y="663"/>
                  </a:lnTo>
                  <a:lnTo>
                    <a:pt x="407" y="674"/>
                  </a:lnTo>
                  <a:lnTo>
                    <a:pt x="410" y="683"/>
                  </a:lnTo>
                  <a:lnTo>
                    <a:pt x="414" y="691"/>
                  </a:lnTo>
                  <a:lnTo>
                    <a:pt x="419" y="699"/>
                  </a:lnTo>
                  <a:lnTo>
                    <a:pt x="426" y="705"/>
                  </a:lnTo>
                  <a:lnTo>
                    <a:pt x="430" y="707"/>
                  </a:lnTo>
                  <a:lnTo>
                    <a:pt x="434" y="709"/>
                  </a:lnTo>
                  <a:lnTo>
                    <a:pt x="439" y="709"/>
                  </a:lnTo>
                  <a:lnTo>
                    <a:pt x="445" y="710"/>
                  </a:lnTo>
                  <a:lnTo>
                    <a:pt x="453" y="709"/>
                  </a:lnTo>
                  <a:lnTo>
                    <a:pt x="458" y="707"/>
                  </a:lnTo>
                  <a:lnTo>
                    <a:pt x="461" y="706"/>
                  </a:lnTo>
                  <a:lnTo>
                    <a:pt x="462" y="705"/>
                  </a:lnTo>
                  <a:lnTo>
                    <a:pt x="465" y="705"/>
                  </a:lnTo>
                  <a:lnTo>
                    <a:pt x="466" y="705"/>
                  </a:lnTo>
                  <a:lnTo>
                    <a:pt x="470" y="706"/>
                  </a:lnTo>
                  <a:lnTo>
                    <a:pt x="475" y="710"/>
                  </a:lnTo>
                  <a:lnTo>
                    <a:pt x="482" y="710"/>
                  </a:lnTo>
                  <a:lnTo>
                    <a:pt x="487" y="713"/>
                  </a:lnTo>
                  <a:lnTo>
                    <a:pt x="493" y="717"/>
                  </a:lnTo>
                  <a:lnTo>
                    <a:pt x="497" y="721"/>
                  </a:lnTo>
                  <a:lnTo>
                    <a:pt x="501" y="726"/>
                  </a:lnTo>
                  <a:lnTo>
                    <a:pt x="503" y="733"/>
                  </a:lnTo>
                  <a:lnTo>
                    <a:pt x="506" y="741"/>
                  </a:lnTo>
                  <a:lnTo>
                    <a:pt x="509" y="749"/>
                  </a:lnTo>
                  <a:lnTo>
                    <a:pt x="517" y="786"/>
                  </a:lnTo>
                  <a:lnTo>
                    <a:pt x="523" y="825"/>
                  </a:lnTo>
                  <a:lnTo>
                    <a:pt x="527" y="841"/>
                  </a:lnTo>
                  <a:lnTo>
                    <a:pt x="531" y="854"/>
                  </a:lnTo>
                  <a:lnTo>
                    <a:pt x="538" y="867"/>
                  </a:lnTo>
                  <a:lnTo>
                    <a:pt x="543" y="878"/>
                  </a:lnTo>
                  <a:lnTo>
                    <a:pt x="551" y="887"/>
                  </a:lnTo>
                  <a:lnTo>
                    <a:pt x="558" y="897"/>
                  </a:lnTo>
                  <a:lnTo>
                    <a:pt x="567" y="903"/>
                  </a:lnTo>
                  <a:lnTo>
                    <a:pt x="577" y="909"/>
                  </a:lnTo>
                  <a:lnTo>
                    <a:pt x="586" y="914"/>
                  </a:lnTo>
                  <a:lnTo>
                    <a:pt x="597" y="918"/>
                  </a:lnTo>
                  <a:lnTo>
                    <a:pt x="609" y="921"/>
                  </a:lnTo>
                  <a:lnTo>
                    <a:pt x="621" y="923"/>
                  </a:lnTo>
                  <a:lnTo>
                    <a:pt x="646" y="926"/>
                  </a:lnTo>
                  <a:lnTo>
                    <a:pt x="674" y="926"/>
                  </a:lnTo>
                  <a:lnTo>
                    <a:pt x="682" y="925"/>
                  </a:lnTo>
                  <a:lnTo>
                    <a:pt x="694" y="919"/>
                  </a:lnTo>
                  <a:lnTo>
                    <a:pt x="709" y="913"/>
                  </a:lnTo>
                  <a:lnTo>
                    <a:pt x="725" y="903"/>
                  </a:lnTo>
                  <a:lnTo>
                    <a:pt x="741" y="895"/>
                  </a:lnTo>
                  <a:lnTo>
                    <a:pt x="754" y="886"/>
                  </a:lnTo>
                  <a:lnTo>
                    <a:pt x="765" y="878"/>
                  </a:lnTo>
                  <a:lnTo>
                    <a:pt x="770" y="873"/>
                  </a:lnTo>
                  <a:lnTo>
                    <a:pt x="773" y="865"/>
                  </a:lnTo>
                  <a:lnTo>
                    <a:pt x="773" y="857"/>
                  </a:lnTo>
                  <a:lnTo>
                    <a:pt x="773" y="850"/>
                  </a:lnTo>
                  <a:lnTo>
                    <a:pt x="773" y="843"/>
                  </a:lnTo>
                  <a:lnTo>
                    <a:pt x="770" y="831"/>
                  </a:lnTo>
                  <a:lnTo>
                    <a:pt x="767" y="819"/>
                  </a:lnTo>
                  <a:lnTo>
                    <a:pt x="765" y="809"/>
                  </a:lnTo>
                  <a:lnTo>
                    <a:pt x="765" y="798"/>
                  </a:lnTo>
                  <a:lnTo>
                    <a:pt x="766" y="793"/>
                  </a:lnTo>
                  <a:lnTo>
                    <a:pt x="769" y="787"/>
                  </a:lnTo>
                  <a:lnTo>
                    <a:pt x="771" y="782"/>
                  </a:lnTo>
                  <a:lnTo>
                    <a:pt x="777" y="775"/>
                  </a:lnTo>
                  <a:lnTo>
                    <a:pt x="787" y="766"/>
                  </a:lnTo>
                  <a:lnTo>
                    <a:pt x="799" y="755"/>
                  </a:lnTo>
                  <a:lnTo>
                    <a:pt x="813" y="745"/>
                  </a:lnTo>
                  <a:lnTo>
                    <a:pt x="827" y="734"/>
                  </a:lnTo>
                  <a:lnTo>
                    <a:pt x="859" y="713"/>
                  </a:lnTo>
                  <a:lnTo>
                    <a:pt x="893" y="691"/>
                  </a:lnTo>
                  <a:lnTo>
                    <a:pt x="927" y="671"/>
                  </a:lnTo>
                  <a:lnTo>
                    <a:pt x="962" y="654"/>
                  </a:lnTo>
                  <a:lnTo>
                    <a:pt x="994" y="638"/>
                  </a:lnTo>
                  <a:lnTo>
                    <a:pt x="1023" y="625"/>
                  </a:lnTo>
                  <a:lnTo>
                    <a:pt x="1012" y="615"/>
                  </a:lnTo>
                  <a:lnTo>
                    <a:pt x="1002" y="605"/>
                  </a:lnTo>
                  <a:lnTo>
                    <a:pt x="991" y="594"/>
                  </a:lnTo>
                  <a:lnTo>
                    <a:pt x="980" y="582"/>
                  </a:lnTo>
                  <a:lnTo>
                    <a:pt x="959" y="557"/>
                  </a:lnTo>
                  <a:lnTo>
                    <a:pt x="938" y="530"/>
                  </a:lnTo>
                  <a:lnTo>
                    <a:pt x="918" y="504"/>
                  </a:lnTo>
                  <a:lnTo>
                    <a:pt x="895" y="480"/>
                  </a:lnTo>
                  <a:lnTo>
                    <a:pt x="885" y="468"/>
                  </a:lnTo>
                  <a:lnTo>
                    <a:pt x="873" y="457"/>
                  </a:lnTo>
                  <a:lnTo>
                    <a:pt x="861" y="448"/>
                  </a:lnTo>
                  <a:lnTo>
                    <a:pt x="849" y="438"/>
                  </a:lnTo>
                  <a:lnTo>
                    <a:pt x="845" y="460"/>
                  </a:lnTo>
                  <a:lnTo>
                    <a:pt x="842" y="481"/>
                  </a:lnTo>
                  <a:lnTo>
                    <a:pt x="841" y="490"/>
                  </a:lnTo>
                  <a:lnTo>
                    <a:pt x="838" y="498"/>
                  </a:lnTo>
                  <a:lnTo>
                    <a:pt x="837" y="501"/>
                  </a:lnTo>
                  <a:lnTo>
                    <a:pt x="835" y="504"/>
                  </a:lnTo>
                  <a:lnTo>
                    <a:pt x="833" y="505"/>
                  </a:lnTo>
                  <a:lnTo>
                    <a:pt x="831" y="505"/>
                  </a:lnTo>
                  <a:lnTo>
                    <a:pt x="809" y="504"/>
                  </a:lnTo>
                  <a:lnTo>
                    <a:pt x="782" y="500"/>
                  </a:lnTo>
                  <a:lnTo>
                    <a:pt x="754" y="493"/>
                  </a:lnTo>
                  <a:lnTo>
                    <a:pt x="727" y="484"/>
                  </a:lnTo>
                  <a:lnTo>
                    <a:pt x="714" y="477"/>
                  </a:lnTo>
                  <a:lnTo>
                    <a:pt x="701" y="472"/>
                  </a:lnTo>
                  <a:lnTo>
                    <a:pt x="689" y="465"/>
                  </a:lnTo>
                  <a:lnTo>
                    <a:pt x="678" y="457"/>
                  </a:lnTo>
                  <a:lnTo>
                    <a:pt x="669" y="449"/>
                  </a:lnTo>
                  <a:lnTo>
                    <a:pt x="661" y="440"/>
                  </a:lnTo>
                  <a:lnTo>
                    <a:pt x="654" y="430"/>
                  </a:lnTo>
                  <a:lnTo>
                    <a:pt x="650" y="421"/>
                  </a:lnTo>
                  <a:lnTo>
                    <a:pt x="645" y="404"/>
                  </a:lnTo>
                  <a:lnTo>
                    <a:pt x="641" y="385"/>
                  </a:lnTo>
                  <a:lnTo>
                    <a:pt x="637" y="369"/>
                  </a:lnTo>
                  <a:lnTo>
                    <a:pt x="634" y="352"/>
                  </a:lnTo>
                  <a:lnTo>
                    <a:pt x="631" y="334"/>
                  </a:lnTo>
                  <a:lnTo>
                    <a:pt x="627" y="317"/>
                  </a:lnTo>
                  <a:lnTo>
                    <a:pt x="622" y="300"/>
                  </a:lnTo>
                  <a:lnTo>
                    <a:pt x="614" y="282"/>
                  </a:lnTo>
                  <a:lnTo>
                    <a:pt x="602" y="256"/>
                  </a:lnTo>
                  <a:lnTo>
                    <a:pt x="589" y="228"/>
                  </a:lnTo>
                  <a:lnTo>
                    <a:pt x="574" y="198"/>
                  </a:lnTo>
                  <a:lnTo>
                    <a:pt x="561" y="166"/>
                  </a:lnTo>
                  <a:lnTo>
                    <a:pt x="554" y="150"/>
                  </a:lnTo>
                  <a:lnTo>
                    <a:pt x="549" y="133"/>
                  </a:lnTo>
                  <a:lnTo>
                    <a:pt x="543" y="116"/>
                  </a:lnTo>
                  <a:lnTo>
                    <a:pt x="538" y="97"/>
                  </a:lnTo>
                  <a:lnTo>
                    <a:pt x="535" y="80"/>
                  </a:lnTo>
                  <a:lnTo>
                    <a:pt x="531" y="61"/>
                  </a:lnTo>
                  <a:lnTo>
                    <a:pt x="530" y="42"/>
                  </a:lnTo>
                  <a:lnTo>
                    <a:pt x="530" y="24"/>
                  </a:lnTo>
                  <a:lnTo>
                    <a:pt x="523" y="2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47" name="Freeform 43"/>
            <p:cNvSpPr>
              <a:spLocks/>
            </p:cNvSpPr>
            <p:nvPr/>
          </p:nvSpPr>
          <p:spPr bwMode="auto">
            <a:xfrm>
              <a:off x="911547" y="3365500"/>
              <a:ext cx="271463" cy="433387"/>
            </a:xfrm>
            <a:custGeom>
              <a:avLst/>
              <a:gdLst/>
              <a:ahLst/>
              <a:cxnLst>
                <a:cxn ang="0">
                  <a:pos x="403" y="21"/>
                </a:cxn>
                <a:cxn ang="0">
                  <a:pos x="364" y="61"/>
                </a:cxn>
                <a:cxn ang="0">
                  <a:pos x="312" y="109"/>
                </a:cxn>
                <a:cxn ang="0">
                  <a:pos x="294" y="148"/>
                </a:cxn>
                <a:cxn ang="0">
                  <a:pos x="271" y="186"/>
                </a:cxn>
                <a:cxn ang="0">
                  <a:pos x="228" y="190"/>
                </a:cxn>
                <a:cxn ang="0">
                  <a:pos x="191" y="194"/>
                </a:cxn>
                <a:cxn ang="0">
                  <a:pos x="172" y="209"/>
                </a:cxn>
                <a:cxn ang="0">
                  <a:pos x="171" y="242"/>
                </a:cxn>
                <a:cxn ang="0">
                  <a:pos x="180" y="282"/>
                </a:cxn>
                <a:cxn ang="0">
                  <a:pos x="142" y="313"/>
                </a:cxn>
                <a:cxn ang="0">
                  <a:pos x="94" y="341"/>
                </a:cxn>
                <a:cxn ang="0">
                  <a:pos x="68" y="401"/>
                </a:cxn>
                <a:cxn ang="0">
                  <a:pos x="42" y="482"/>
                </a:cxn>
                <a:cxn ang="0">
                  <a:pos x="16" y="507"/>
                </a:cxn>
                <a:cxn ang="0">
                  <a:pos x="2" y="530"/>
                </a:cxn>
                <a:cxn ang="0">
                  <a:pos x="2" y="562"/>
                </a:cxn>
                <a:cxn ang="0">
                  <a:pos x="27" y="603"/>
                </a:cxn>
                <a:cxn ang="0">
                  <a:pos x="51" y="637"/>
                </a:cxn>
                <a:cxn ang="0">
                  <a:pos x="52" y="661"/>
                </a:cxn>
                <a:cxn ang="0">
                  <a:pos x="32" y="683"/>
                </a:cxn>
                <a:cxn ang="0">
                  <a:pos x="14" y="706"/>
                </a:cxn>
                <a:cxn ang="0">
                  <a:pos x="15" y="722"/>
                </a:cxn>
                <a:cxn ang="0">
                  <a:pos x="58" y="746"/>
                </a:cxn>
                <a:cxn ang="0">
                  <a:pos x="102" y="774"/>
                </a:cxn>
                <a:cxn ang="0">
                  <a:pos x="118" y="844"/>
                </a:cxn>
                <a:cxn ang="0">
                  <a:pos x="126" y="870"/>
                </a:cxn>
                <a:cxn ang="0">
                  <a:pos x="144" y="879"/>
                </a:cxn>
                <a:cxn ang="0">
                  <a:pos x="183" y="866"/>
                </a:cxn>
                <a:cxn ang="0">
                  <a:pos x="199" y="887"/>
                </a:cxn>
                <a:cxn ang="0">
                  <a:pos x="224" y="888"/>
                </a:cxn>
                <a:cxn ang="0">
                  <a:pos x="279" y="854"/>
                </a:cxn>
                <a:cxn ang="0">
                  <a:pos x="322" y="807"/>
                </a:cxn>
                <a:cxn ang="0">
                  <a:pos x="326" y="774"/>
                </a:cxn>
                <a:cxn ang="0">
                  <a:pos x="332" y="713"/>
                </a:cxn>
                <a:cxn ang="0">
                  <a:pos x="362" y="661"/>
                </a:cxn>
                <a:cxn ang="0">
                  <a:pos x="379" y="662"/>
                </a:cxn>
                <a:cxn ang="0">
                  <a:pos x="379" y="621"/>
                </a:cxn>
                <a:cxn ang="0">
                  <a:pos x="400" y="578"/>
                </a:cxn>
                <a:cxn ang="0">
                  <a:pos x="491" y="491"/>
                </a:cxn>
                <a:cxn ang="0">
                  <a:pos x="512" y="446"/>
                </a:cxn>
                <a:cxn ang="0">
                  <a:pos x="500" y="415"/>
                </a:cxn>
                <a:cxn ang="0">
                  <a:pos x="487" y="379"/>
                </a:cxn>
                <a:cxn ang="0">
                  <a:pos x="495" y="333"/>
                </a:cxn>
                <a:cxn ang="0">
                  <a:pos x="510" y="315"/>
                </a:cxn>
                <a:cxn ang="0">
                  <a:pos x="548" y="307"/>
                </a:cxn>
                <a:cxn ang="0">
                  <a:pos x="542" y="253"/>
                </a:cxn>
                <a:cxn ang="0">
                  <a:pos x="551" y="208"/>
                </a:cxn>
                <a:cxn ang="0">
                  <a:pos x="560" y="162"/>
                </a:cxn>
                <a:cxn ang="0">
                  <a:pos x="554" y="128"/>
                </a:cxn>
                <a:cxn ang="0">
                  <a:pos x="524" y="81"/>
                </a:cxn>
                <a:cxn ang="0">
                  <a:pos x="518" y="42"/>
                </a:cxn>
                <a:cxn ang="0">
                  <a:pos x="524" y="0"/>
                </a:cxn>
              </a:cxnLst>
              <a:rect l="0" t="0" r="r" b="b"/>
              <a:pathLst>
                <a:path w="560" h="891">
                  <a:moveTo>
                    <a:pt x="518" y="0"/>
                  </a:moveTo>
                  <a:lnTo>
                    <a:pt x="415" y="0"/>
                  </a:lnTo>
                  <a:lnTo>
                    <a:pt x="410" y="10"/>
                  </a:lnTo>
                  <a:lnTo>
                    <a:pt x="403" y="21"/>
                  </a:lnTo>
                  <a:lnTo>
                    <a:pt x="398" y="29"/>
                  </a:lnTo>
                  <a:lnTo>
                    <a:pt x="391" y="37"/>
                  </a:lnTo>
                  <a:lnTo>
                    <a:pt x="378" y="50"/>
                  </a:lnTo>
                  <a:lnTo>
                    <a:pt x="364" y="61"/>
                  </a:lnTo>
                  <a:lnTo>
                    <a:pt x="351" y="72"/>
                  </a:lnTo>
                  <a:lnTo>
                    <a:pt x="338" y="82"/>
                  </a:lnTo>
                  <a:lnTo>
                    <a:pt x="324" y="94"/>
                  </a:lnTo>
                  <a:lnTo>
                    <a:pt x="312" y="109"/>
                  </a:lnTo>
                  <a:lnTo>
                    <a:pt x="307" y="118"/>
                  </a:lnTo>
                  <a:lnTo>
                    <a:pt x="302" y="128"/>
                  </a:lnTo>
                  <a:lnTo>
                    <a:pt x="298" y="137"/>
                  </a:lnTo>
                  <a:lnTo>
                    <a:pt x="294" y="148"/>
                  </a:lnTo>
                  <a:lnTo>
                    <a:pt x="290" y="158"/>
                  </a:lnTo>
                  <a:lnTo>
                    <a:pt x="286" y="168"/>
                  </a:lnTo>
                  <a:lnTo>
                    <a:pt x="279" y="177"/>
                  </a:lnTo>
                  <a:lnTo>
                    <a:pt x="271" y="186"/>
                  </a:lnTo>
                  <a:lnTo>
                    <a:pt x="263" y="190"/>
                  </a:lnTo>
                  <a:lnTo>
                    <a:pt x="252" y="192"/>
                  </a:lnTo>
                  <a:lnTo>
                    <a:pt x="240" y="192"/>
                  </a:lnTo>
                  <a:lnTo>
                    <a:pt x="228" y="190"/>
                  </a:lnTo>
                  <a:lnTo>
                    <a:pt x="215" y="190"/>
                  </a:lnTo>
                  <a:lnTo>
                    <a:pt x="202" y="192"/>
                  </a:lnTo>
                  <a:lnTo>
                    <a:pt x="196" y="192"/>
                  </a:lnTo>
                  <a:lnTo>
                    <a:pt x="191" y="194"/>
                  </a:lnTo>
                  <a:lnTo>
                    <a:pt x="186" y="196"/>
                  </a:lnTo>
                  <a:lnTo>
                    <a:pt x="180" y="198"/>
                  </a:lnTo>
                  <a:lnTo>
                    <a:pt x="175" y="204"/>
                  </a:lnTo>
                  <a:lnTo>
                    <a:pt x="172" y="209"/>
                  </a:lnTo>
                  <a:lnTo>
                    <a:pt x="170" y="214"/>
                  </a:lnTo>
                  <a:lnTo>
                    <a:pt x="168" y="220"/>
                  </a:lnTo>
                  <a:lnTo>
                    <a:pt x="168" y="230"/>
                  </a:lnTo>
                  <a:lnTo>
                    <a:pt x="171" y="242"/>
                  </a:lnTo>
                  <a:lnTo>
                    <a:pt x="175" y="255"/>
                  </a:lnTo>
                  <a:lnTo>
                    <a:pt x="179" y="269"/>
                  </a:lnTo>
                  <a:lnTo>
                    <a:pt x="180" y="275"/>
                  </a:lnTo>
                  <a:lnTo>
                    <a:pt x="180" y="282"/>
                  </a:lnTo>
                  <a:lnTo>
                    <a:pt x="182" y="289"/>
                  </a:lnTo>
                  <a:lnTo>
                    <a:pt x="180" y="295"/>
                  </a:lnTo>
                  <a:lnTo>
                    <a:pt x="167" y="302"/>
                  </a:lnTo>
                  <a:lnTo>
                    <a:pt x="142" y="313"/>
                  </a:lnTo>
                  <a:lnTo>
                    <a:pt x="119" y="321"/>
                  </a:lnTo>
                  <a:lnTo>
                    <a:pt x="108" y="325"/>
                  </a:lnTo>
                  <a:lnTo>
                    <a:pt x="100" y="333"/>
                  </a:lnTo>
                  <a:lnTo>
                    <a:pt x="94" y="341"/>
                  </a:lnTo>
                  <a:lnTo>
                    <a:pt x="88" y="350"/>
                  </a:lnTo>
                  <a:lnTo>
                    <a:pt x="83" y="359"/>
                  </a:lnTo>
                  <a:lnTo>
                    <a:pt x="75" y="379"/>
                  </a:lnTo>
                  <a:lnTo>
                    <a:pt x="68" y="401"/>
                  </a:lnTo>
                  <a:lnTo>
                    <a:pt x="62" y="423"/>
                  </a:lnTo>
                  <a:lnTo>
                    <a:pt x="56" y="445"/>
                  </a:lnTo>
                  <a:lnTo>
                    <a:pt x="50" y="465"/>
                  </a:lnTo>
                  <a:lnTo>
                    <a:pt x="42" y="482"/>
                  </a:lnTo>
                  <a:lnTo>
                    <a:pt x="36" y="490"/>
                  </a:lnTo>
                  <a:lnTo>
                    <a:pt x="30" y="497"/>
                  </a:lnTo>
                  <a:lnTo>
                    <a:pt x="23" y="502"/>
                  </a:lnTo>
                  <a:lnTo>
                    <a:pt x="16" y="507"/>
                  </a:lnTo>
                  <a:lnTo>
                    <a:pt x="10" y="514"/>
                  </a:lnTo>
                  <a:lnTo>
                    <a:pt x="4" y="521"/>
                  </a:lnTo>
                  <a:lnTo>
                    <a:pt x="3" y="525"/>
                  </a:lnTo>
                  <a:lnTo>
                    <a:pt x="2" y="530"/>
                  </a:lnTo>
                  <a:lnTo>
                    <a:pt x="0" y="535"/>
                  </a:lnTo>
                  <a:lnTo>
                    <a:pt x="0" y="542"/>
                  </a:lnTo>
                  <a:lnTo>
                    <a:pt x="0" y="553"/>
                  </a:lnTo>
                  <a:lnTo>
                    <a:pt x="2" y="562"/>
                  </a:lnTo>
                  <a:lnTo>
                    <a:pt x="4" y="571"/>
                  </a:lnTo>
                  <a:lnTo>
                    <a:pt x="8" y="578"/>
                  </a:lnTo>
                  <a:lnTo>
                    <a:pt x="16" y="591"/>
                  </a:lnTo>
                  <a:lnTo>
                    <a:pt x="27" y="603"/>
                  </a:lnTo>
                  <a:lnTo>
                    <a:pt x="36" y="614"/>
                  </a:lnTo>
                  <a:lnTo>
                    <a:pt x="46" y="625"/>
                  </a:lnTo>
                  <a:lnTo>
                    <a:pt x="48" y="630"/>
                  </a:lnTo>
                  <a:lnTo>
                    <a:pt x="51" y="637"/>
                  </a:lnTo>
                  <a:lnTo>
                    <a:pt x="54" y="643"/>
                  </a:lnTo>
                  <a:lnTo>
                    <a:pt x="54" y="650"/>
                  </a:lnTo>
                  <a:lnTo>
                    <a:pt x="54" y="655"/>
                  </a:lnTo>
                  <a:lnTo>
                    <a:pt x="52" y="661"/>
                  </a:lnTo>
                  <a:lnTo>
                    <a:pt x="50" y="665"/>
                  </a:lnTo>
                  <a:lnTo>
                    <a:pt x="47" y="669"/>
                  </a:lnTo>
                  <a:lnTo>
                    <a:pt x="40" y="677"/>
                  </a:lnTo>
                  <a:lnTo>
                    <a:pt x="32" y="683"/>
                  </a:lnTo>
                  <a:lnTo>
                    <a:pt x="26" y="690"/>
                  </a:lnTo>
                  <a:lnTo>
                    <a:pt x="19" y="698"/>
                  </a:lnTo>
                  <a:lnTo>
                    <a:pt x="15" y="702"/>
                  </a:lnTo>
                  <a:lnTo>
                    <a:pt x="14" y="706"/>
                  </a:lnTo>
                  <a:lnTo>
                    <a:pt x="12" y="711"/>
                  </a:lnTo>
                  <a:lnTo>
                    <a:pt x="12" y="717"/>
                  </a:lnTo>
                  <a:lnTo>
                    <a:pt x="12" y="719"/>
                  </a:lnTo>
                  <a:lnTo>
                    <a:pt x="15" y="722"/>
                  </a:lnTo>
                  <a:lnTo>
                    <a:pt x="20" y="725"/>
                  </a:lnTo>
                  <a:lnTo>
                    <a:pt x="26" y="729"/>
                  </a:lnTo>
                  <a:lnTo>
                    <a:pt x="40" y="737"/>
                  </a:lnTo>
                  <a:lnTo>
                    <a:pt x="58" y="746"/>
                  </a:lnTo>
                  <a:lnTo>
                    <a:pt x="75" y="754"/>
                  </a:lnTo>
                  <a:lnTo>
                    <a:pt x="91" y="765"/>
                  </a:lnTo>
                  <a:lnTo>
                    <a:pt x="98" y="769"/>
                  </a:lnTo>
                  <a:lnTo>
                    <a:pt x="102" y="774"/>
                  </a:lnTo>
                  <a:lnTo>
                    <a:pt x="106" y="778"/>
                  </a:lnTo>
                  <a:lnTo>
                    <a:pt x="108" y="783"/>
                  </a:lnTo>
                  <a:lnTo>
                    <a:pt x="114" y="813"/>
                  </a:lnTo>
                  <a:lnTo>
                    <a:pt x="118" y="844"/>
                  </a:lnTo>
                  <a:lnTo>
                    <a:pt x="119" y="851"/>
                  </a:lnTo>
                  <a:lnTo>
                    <a:pt x="120" y="858"/>
                  </a:lnTo>
                  <a:lnTo>
                    <a:pt x="122" y="864"/>
                  </a:lnTo>
                  <a:lnTo>
                    <a:pt x="126" y="870"/>
                  </a:lnTo>
                  <a:lnTo>
                    <a:pt x="128" y="874"/>
                  </a:lnTo>
                  <a:lnTo>
                    <a:pt x="132" y="876"/>
                  </a:lnTo>
                  <a:lnTo>
                    <a:pt x="138" y="879"/>
                  </a:lnTo>
                  <a:lnTo>
                    <a:pt x="144" y="879"/>
                  </a:lnTo>
                  <a:lnTo>
                    <a:pt x="159" y="870"/>
                  </a:lnTo>
                  <a:lnTo>
                    <a:pt x="175" y="860"/>
                  </a:lnTo>
                  <a:lnTo>
                    <a:pt x="179" y="862"/>
                  </a:lnTo>
                  <a:lnTo>
                    <a:pt x="183" y="866"/>
                  </a:lnTo>
                  <a:lnTo>
                    <a:pt x="187" y="871"/>
                  </a:lnTo>
                  <a:lnTo>
                    <a:pt x="190" y="876"/>
                  </a:lnTo>
                  <a:lnTo>
                    <a:pt x="195" y="882"/>
                  </a:lnTo>
                  <a:lnTo>
                    <a:pt x="199" y="887"/>
                  </a:lnTo>
                  <a:lnTo>
                    <a:pt x="204" y="890"/>
                  </a:lnTo>
                  <a:lnTo>
                    <a:pt x="211" y="891"/>
                  </a:lnTo>
                  <a:lnTo>
                    <a:pt x="216" y="891"/>
                  </a:lnTo>
                  <a:lnTo>
                    <a:pt x="224" y="888"/>
                  </a:lnTo>
                  <a:lnTo>
                    <a:pt x="232" y="884"/>
                  </a:lnTo>
                  <a:lnTo>
                    <a:pt x="242" y="880"/>
                  </a:lnTo>
                  <a:lnTo>
                    <a:pt x="260" y="868"/>
                  </a:lnTo>
                  <a:lnTo>
                    <a:pt x="279" y="854"/>
                  </a:lnTo>
                  <a:lnTo>
                    <a:pt x="296" y="839"/>
                  </a:lnTo>
                  <a:lnTo>
                    <a:pt x="311" y="823"/>
                  </a:lnTo>
                  <a:lnTo>
                    <a:pt x="318" y="815"/>
                  </a:lnTo>
                  <a:lnTo>
                    <a:pt x="322" y="807"/>
                  </a:lnTo>
                  <a:lnTo>
                    <a:pt x="324" y="801"/>
                  </a:lnTo>
                  <a:lnTo>
                    <a:pt x="326" y="795"/>
                  </a:lnTo>
                  <a:lnTo>
                    <a:pt x="326" y="783"/>
                  </a:lnTo>
                  <a:lnTo>
                    <a:pt x="326" y="774"/>
                  </a:lnTo>
                  <a:lnTo>
                    <a:pt x="326" y="765"/>
                  </a:lnTo>
                  <a:lnTo>
                    <a:pt x="326" y="753"/>
                  </a:lnTo>
                  <a:lnTo>
                    <a:pt x="327" y="734"/>
                  </a:lnTo>
                  <a:lnTo>
                    <a:pt x="332" y="713"/>
                  </a:lnTo>
                  <a:lnTo>
                    <a:pt x="338" y="689"/>
                  </a:lnTo>
                  <a:lnTo>
                    <a:pt x="343" y="662"/>
                  </a:lnTo>
                  <a:lnTo>
                    <a:pt x="352" y="662"/>
                  </a:lnTo>
                  <a:lnTo>
                    <a:pt x="362" y="661"/>
                  </a:lnTo>
                  <a:lnTo>
                    <a:pt x="366" y="659"/>
                  </a:lnTo>
                  <a:lnTo>
                    <a:pt x="370" y="659"/>
                  </a:lnTo>
                  <a:lnTo>
                    <a:pt x="375" y="661"/>
                  </a:lnTo>
                  <a:lnTo>
                    <a:pt x="379" y="662"/>
                  </a:lnTo>
                  <a:lnTo>
                    <a:pt x="379" y="649"/>
                  </a:lnTo>
                  <a:lnTo>
                    <a:pt x="379" y="634"/>
                  </a:lnTo>
                  <a:lnTo>
                    <a:pt x="379" y="625"/>
                  </a:lnTo>
                  <a:lnTo>
                    <a:pt x="379" y="621"/>
                  </a:lnTo>
                  <a:lnTo>
                    <a:pt x="380" y="610"/>
                  </a:lnTo>
                  <a:lnTo>
                    <a:pt x="384" y="599"/>
                  </a:lnTo>
                  <a:lnTo>
                    <a:pt x="391" y="589"/>
                  </a:lnTo>
                  <a:lnTo>
                    <a:pt x="400" y="578"/>
                  </a:lnTo>
                  <a:lnTo>
                    <a:pt x="422" y="557"/>
                  </a:lnTo>
                  <a:lnTo>
                    <a:pt x="446" y="535"/>
                  </a:lnTo>
                  <a:lnTo>
                    <a:pt x="470" y="513"/>
                  </a:lnTo>
                  <a:lnTo>
                    <a:pt x="491" y="491"/>
                  </a:lnTo>
                  <a:lnTo>
                    <a:pt x="499" y="479"/>
                  </a:lnTo>
                  <a:lnTo>
                    <a:pt x="506" y="469"/>
                  </a:lnTo>
                  <a:lnTo>
                    <a:pt x="510" y="457"/>
                  </a:lnTo>
                  <a:lnTo>
                    <a:pt x="512" y="446"/>
                  </a:lnTo>
                  <a:lnTo>
                    <a:pt x="511" y="437"/>
                  </a:lnTo>
                  <a:lnTo>
                    <a:pt x="508" y="430"/>
                  </a:lnTo>
                  <a:lnTo>
                    <a:pt x="504" y="422"/>
                  </a:lnTo>
                  <a:lnTo>
                    <a:pt x="500" y="415"/>
                  </a:lnTo>
                  <a:lnTo>
                    <a:pt x="495" y="407"/>
                  </a:lnTo>
                  <a:lnTo>
                    <a:pt x="491" y="399"/>
                  </a:lnTo>
                  <a:lnTo>
                    <a:pt x="488" y="390"/>
                  </a:lnTo>
                  <a:lnTo>
                    <a:pt x="487" y="379"/>
                  </a:lnTo>
                  <a:lnTo>
                    <a:pt x="488" y="361"/>
                  </a:lnTo>
                  <a:lnTo>
                    <a:pt x="491" y="345"/>
                  </a:lnTo>
                  <a:lnTo>
                    <a:pt x="494" y="338"/>
                  </a:lnTo>
                  <a:lnTo>
                    <a:pt x="495" y="333"/>
                  </a:lnTo>
                  <a:lnTo>
                    <a:pt x="499" y="327"/>
                  </a:lnTo>
                  <a:lnTo>
                    <a:pt x="502" y="323"/>
                  </a:lnTo>
                  <a:lnTo>
                    <a:pt x="506" y="319"/>
                  </a:lnTo>
                  <a:lnTo>
                    <a:pt x="510" y="315"/>
                  </a:lnTo>
                  <a:lnTo>
                    <a:pt x="515" y="313"/>
                  </a:lnTo>
                  <a:lnTo>
                    <a:pt x="520" y="311"/>
                  </a:lnTo>
                  <a:lnTo>
                    <a:pt x="534" y="307"/>
                  </a:lnTo>
                  <a:lnTo>
                    <a:pt x="548" y="307"/>
                  </a:lnTo>
                  <a:lnTo>
                    <a:pt x="544" y="297"/>
                  </a:lnTo>
                  <a:lnTo>
                    <a:pt x="543" y="282"/>
                  </a:lnTo>
                  <a:lnTo>
                    <a:pt x="542" y="267"/>
                  </a:lnTo>
                  <a:lnTo>
                    <a:pt x="542" y="253"/>
                  </a:lnTo>
                  <a:lnTo>
                    <a:pt x="543" y="241"/>
                  </a:lnTo>
                  <a:lnTo>
                    <a:pt x="544" y="229"/>
                  </a:lnTo>
                  <a:lnTo>
                    <a:pt x="547" y="218"/>
                  </a:lnTo>
                  <a:lnTo>
                    <a:pt x="551" y="208"/>
                  </a:lnTo>
                  <a:lnTo>
                    <a:pt x="554" y="198"/>
                  </a:lnTo>
                  <a:lnTo>
                    <a:pt x="558" y="188"/>
                  </a:lnTo>
                  <a:lnTo>
                    <a:pt x="559" y="176"/>
                  </a:lnTo>
                  <a:lnTo>
                    <a:pt x="560" y="162"/>
                  </a:lnTo>
                  <a:lnTo>
                    <a:pt x="559" y="152"/>
                  </a:lnTo>
                  <a:lnTo>
                    <a:pt x="558" y="144"/>
                  </a:lnTo>
                  <a:lnTo>
                    <a:pt x="556" y="136"/>
                  </a:lnTo>
                  <a:lnTo>
                    <a:pt x="554" y="128"/>
                  </a:lnTo>
                  <a:lnTo>
                    <a:pt x="547" y="116"/>
                  </a:lnTo>
                  <a:lnTo>
                    <a:pt x="539" y="105"/>
                  </a:lnTo>
                  <a:lnTo>
                    <a:pt x="531" y="94"/>
                  </a:lnTo>
                  <a:lnTo>
                    <a:pt x="524" y="81"/>
                  </a:lnTo>
                  <a:lnTo>
                    <a:pt x="522" y="73"/>
                  </a:lnTo>
                  <a:lnTo>
                    <a:pt x="519" y="64"/>
                  </a:lnTo>
                  <a:lnTo>
                    <a:pt x="518" y="54"/>
                  </a:lnTo>
                  <a:lnTo>
                    <a:pt x="518" y="42"/>
                  </a:lnTo>
                  <a:lnTo>
                    <a:pt x="518" y="26"/>
                  </a:lnTo>
                  <a:lnTo>
                    <a:pt x="519" y="14"/>
                  </a:lnTo>
                  <a:lnTo>
                    <a:pt x="520" y="6"/>
                  </a:lnTo>
                  <a:lnTo>
                    <a:pt x="524" y="0"/>
                  </a:lnTo>
                  <a:lnTo>
                    <a:pt x="518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48" name="Freeform 44"/>
            <p:cNvSpPr>
              <a:spLocks/>
            </p:cNvSpPr>
            <p:nvPr/>
          </p:nvSpPr>
          <p:spPr bwMode="auto">
            <a:xfrm>
              <a:off x="1095697" y="3503613"/>
              <a:ext cx="376238" cy="295275"/>
            </a:xfrm>
            <a:custGeom>
              <a:avLst/>
              <a:gdLst/>
              <a:ahLst/>
              <a:cxnLst>
                <a:cxn ang="0">
                  <a:pos x="776" y="534"/>
                </a:cxn>
                <a:cxn ang="0">
                  <a:pos x="769" y="495"/>
                </a:cxn>
                <a:cxn ang="0">
                  <a:pos x="724" y="474"/>
                </a:cxn>
                <a:cxn ang="0">
                  <a:pos x="705" y="462"/>
                </a:cxn>
                <a:cxn ang="0">
                  <a:pos x="712" y="427"/>
                </a:cxn>
                <a:cxn ang="0">
                  <a:pos x="728" y="378"/>
                </a:cxn>
                <a:cxn ang="0">
                  <a:pos x="696" y="336"/>
                </a:cxn>
                <a:cxn ang="0">
                  <a:pos x="668" y="291"/>
                </a:cxn>
                <a:cxn ang="0">
                  <a:pos x="641" y="186"/>
                </a:cxn>
                <a:cxn ang="0">
                  <a:pos x="621" y="163"/>
                </a:cxn>
                <a:cxn ang="0">
                  <a:pos x="604" y="158"/>
                </a:cxn>
                <a:cxn ang="0">
                  <a:pos x="592" y="162"/>
                </a:cxn>
                <a:cxn ang="0">
                  <a:pos x="569" y="160"/>
                </a:cxn>
                <a:cxn ang="0">
                  <a:pos x="549" y="136"/>
                </a:cxn>
                <a:cxn ang="0">
                  <a:pos x="541" y="95"/>
                </a:cxn>
                <a:cxn ang="0">
                  <a:pos x="522" y="59"/>
                </a:cxn>
                <a:cxn ang="0">
                  <a:pos x="496" y="48"/>
                </a:cxn>
                <a:cxn ang="0">
                  <a:pos x="474" y="54"/>
                </a:cxn>
                <a:cxn ang="0">
                  <a:pos x="452" y="66"/>
                </a:cxn>
                <a:cxn ang="0">
                  <a:pos x="418" y="58"/>
                </a:cxn>
                <a:cxn ang="0">
                  <a:pos x="372" y="32"/>
                </a:cxn>
                <a:cxn ang="0">
                  <a:pos x="317" y="34"/>
                </a:cxn>
                <a:cxn ang="0">
                  <a:pos x="273" y="27"/>
                </a:cxn>
                <a:cxn ang="0">
                  <a:pos x="263" y="8"/>
                </a:cxn>
                <a:cxn ang="0">
                  <a:pos x="235" y="2"/>
                </a:cxn>
                <a:cxn ang="0">
                  <a:pos x="215" y="24"/>
                </a:cxn>
                <a:cxn ang="0">
                  <a:pos x="197" y="36"/>
                </a:cxn>
                <a:cxn ang="0">
                  <a:pos x="175" y="28"/>
                </a:cxn>
                <a:cxn ang="0">
                  <a:pos x="136" y="30"/>
                </a:cxn>
                <a:cxn ang="0">
                  <a:pos x="120" y="44"/>
                </a:cxn>
                <a:cxn ang="0">
                  <a:pos x="109" y="78"/>
                </a:cxn>
                <a:cxn ang="0">
                  <a:pos x="116" y="124"/>
                </a:cxn>
                <a:cxn ang="0">
                  <a:pos x="132" y="154"/>
                </a:cxn>
                <a:cxn ang="0">
                  <a:pos x="120" y="196"/>
                </a:cxn>
                <a:cxn ang="0">
                  <a:pos x="43" y="274"/>
                </a:cxn>
                <a:cxn ang="0">
                  <a:pos x="1" y="327"/>
                </a:cxn>
                <a:cxn ang="0">
                  <a:pos x="7" y="375"/>
                </a:cxn>
                <a:cxn ang="0">
                  <a:pos x="27" y="394"/>
                </a:cxn>
                <a:cxn ang="0">
                  <a:pos x="44" y="427"/>
                </a:cxn>
                <a:cxn ang="0">
                  <a:pos x="88" y="443"/>
                </a:cxn>
                <a:cxn ang="0">
                  <a:pos x="181" y="454"/>
                </a:cxn>
                <a:cxn ang="0">
                  <a:pos x="239" y="464"/>
                </a:cxn>
                <a:cxn ang="0">
                  <a:pos x="275" y="488"/>
                </a:cxn>
                <a:cxn ang="0">
                  <a:pos x="299" y="511"/>
                </a:cxn>
                <a:cxn ang="0">
                  <a:pos x="343" y="507"/>
                </a:cxn>
                <a:cxn ang="0">
                  <a:pos x="413" y="471"/>
                </a:cxn>
                <a:cxn ang="0">
                  <a:pos x="456" y="452"/>
                </a:cxn>
                <a:cxn ang="0">
                  <a:pos x="496" y="460"/>
                </a:cxn>
                <a:cxn ang="0">
                  <a:pos x="517" y="488"/>
                </a:cxn>
                <a:cxn ang="0">
                  <a:pos x="533" y="534"/>
                </a:cxn>
                <a:cxn ang="0">
                  <a:pos x="553" y="542"/>
                </a:cxn>
                <a:cxn ang="0">
                  <a:pos x="580" y="527"/>
                </a:cxn>
                <a:cxn ang="0">
                  <a:pos x="600" y="548"/>
                </a:cxn>
                <a:cxn ang="0">
                  <a:pos x="620" y="565"/>
                </a:cxn>
                <a:cxn ang="0">
                  <a:pos x="662" y="548"/>
                </a:cxn>
                <a:cxn ang="0">
                  <a:pos x="689" y="563"/>
                </a:cxn>
                <a:cxn ang="0">
                  <a:pos x="734" y="592"/>
                </a:cxn>
                <a:cxn ang="0">
                  <a:pos x="765" y="608"/>
                </a:cxn>
              </a:cxnLst>
              <a:rect l="0" t="0" r="r" b="b"/>
              <a:pathLst>
                <a:path w="776" h="608">
                  <a:moveTo>
                    <a:pt x="765" y="608"/>
                  </a:moveTo>
                  <a:lnTo>
                    <a:pt x="769" y="581"/>
                  </a:lnTo>
                  <a:lnTo>
                    <a:pt x="774" y="551"/>
                  </a:lnTo>
                  <a:lnTo>
                    <a:pt x="776" y="534"/>
                  </a:lnTo>
                  <a:lnTo>
                    <a:pt x="776" y="518"/>
                  </a:lnTo>
                  <a:lnTo>
                    <a:pt x="774" y="510"/>
                  </a:lnTo>
                  <a:lnTo>
                    <a:pt x="772" y="502"/>
                  </a:lnTo>
                  <a:lnTo>
                    <a:pt x="769" y="495"/>
                  </a:lnTo>
                  <a:lnTo>
                    <a:pt x="765" y="488"/>
                  </a:lnTo>
                  <a:lnTo>
                    <a:pt x="756" y="483"/>
                  </a:lnTo>
                  <a:lnTo>
                    <a:pt x="734" y="478"/>
                  </a:lnTo>
                  <a:lnTo>
                    <a:pt x="724" y="474"/>
                  </a:lnTo>
                  <a:lnTo>
                    <a:pt x="714" y="470"/>
                  </a:lnTo>
                  <a:lnTo>
                    <a:pt x="710" y="467"/>
                  </a:lnTo>
                  <a:lnTo>
                    <a:pt x="708" y="464"/>
                  </a:lnTo>
                  <a:lnTo>
                    <a:pt x="705" y="462"/>
                  </a:lnTo>
                  <a:lnTo>
                    <a:pt x="705" y="458"/>
                  </a:lnTo>
                  <a:lnTo>
                    <a:pt x="706" y="447"/>
                  </a:lnTo>
                  <a:lnTo>
                    <a:pt x="709" y="436"/>
                  </a:lnTo>
                  <a:lnTo>
                    <a:pt x="712" y="427"/>
                  </a:lnTo>
                  <a:lnTo>
                    <a:pt x="717" y="416"/>
                  </a:lnTo>
                  <a:lnTo>
                    <a:pt x="721" y="406"/>
                  </a:lnTo>
                  <a:lnTo>
                    <a:pt x="725" y="392"/>
                  </a:lnTo>
                  <a:lnTo>
                    <a:pt x="728" y="378"/>
                  </a:lnTo>
                  <a:lnTo>
                    <a:pt x="729" y="362"/>
                  </a:lnTo>
                  <a:lnTo>
                    <a:pt x="716" y="354"/>
                  </a:lnTo>
                  <a:lnTo>
                    <a:pt x="705" y="346"/>
                  </a:lnTo>
                  <a:lnTo>
                    <a:pt x="696" y="336"/>
                  </a:lnTo>
                  <a:lnTo>
                    <a:pt x="686" y="326"/>
                  </a:lnTo>
                  <a:lnTo>
                    <a:pt x="680" y="315"/>
                  </a:lnTo>
                  <a:lnTo>
                    <a:pt x="673" y="303"/>
                  </a:lnTo>
                  <a:lnTo>
                    <a:pt x="668" y="291"/>
                  </a:lnTo>
                  <a:lnTo>
                    <a:pt x="662" y="278"/>
                  </a:lnTo>
                  <a:lnTo>
                    <a:pt x="653" y="239"/>
                  </a:lnTo>
                  <a:lnTo>
                    <a:pt x="645" y="202"/>
                  </a:lnTo>
                  <a:lnTo>
                    <a:pt x="641" y="186"/>
                  </a:lnTo>
                  <a:lnTo>
                    <a:pt x="634" y="174"/>
                  </a:lnTo>
                  <a:lnTo>
                    <a:pt x="630" y="170"/>
                  </a:lnTo>
                  <a:lnTo>
                    <a:pt x="626" y="166"/>
                  </a:lnTo>
                  <a:lnTo>
                    <a:pt x="621" y="163"/>
                  </a:lnTo>
                  <a:lnTo>
                    <a:pt x="614" y="163"/>
                  </a:lnTo>
                  <a:lnTo>
                    <a:pt x="609" y="159"/>
                  </a:lnTo>
                  <a:lnTo>
                    <a:pt x="605" y="158"/>
                  </a:lnTo>
                  <a:lnTo>
                    <a:pt x="604" y="158"/>
                  </a:lnTo>
                  <a:lnTo>
                    <a:pt x="601" y="158"/>
                  </a:lnTo>
                  <a:lnTo>
                    <a:pt x="600" y="159"/>
                  </a:lnTo>
                  <a:lnTo>
                    <a:pt x="597" y="160"/>
                  </a:lnTo>
                  <a:lnTo>
                    <a:pt x="592" y="162"/>
                  </a:lnTo>
                  <a:lnTo>
                    <a:pt x="584" y="163"/>
                  </a:lnTo>
                  <a:lnTo>
                    <a:pt x="578" y="162"/>
                  </a:lnTo>
                  <a:lnTo>
                    <a:pt x="573" y="162"/>
                  </a:lnTo>
                  <a:lnTo>
                    <a:pt x="569" y="160"/>
                  </a:lnTo>
                  <a:lnTo>
                    <a:pt x="565" y="158"/>
                  </a:lnTo>
                  <a:lnTo>
                    <a:pt x="558" y="152"/>
                  </a:lnTo>
                  <a:lnTo>
                    <a:pt x="553" y="144"/>
                  </a:lnTo>
                  <a:lnTo>
                    <a:pt x="549" y="136"/>
                  </a:lnTo>
                  <a:lnTo>
                    <a:pt x="546" y="127"/>
                  </a:lnTo>
                  <a:lnTo>
                    <a:pt x="545" y="116"/>
                  </a:lnTo>
                  <a:lnTo>
                    <a:pt x="542" y="106"/>
                  </a:lnTo>
                  <a:lnTo>
                    <a:pt x="541" y="95"/>
                  </a:lnTo>
                  <a:lnTo>
                    <a:pt x="538" y="84"/>
                  </a:lnTo>
                  <a:lnTo>
                    <a:pt x="534" y="75"/>
                  </a:lnTo>
                  <a:lnTo>
                    <a:pt x="529" y="66"/>
                  </a:lnTo>
                  <a:lnTo>
                    <a:pt x="522" y="59"/>
                  </a:lnTo>
                  <a:lnTo>
                    <a:pt x="513" y="54"/>
                  </a:lnTo>
                  <a:lnTo>
                    <a:pt x="508" y="51"/>
                  </a:lnTo>
                  <a:lnTo>
                    <a:pt x="502" y="50"/>
                  </a:lnTo>
                  <a:lnTo>
                    <a:pt x="496" y="48"/>
                  </a:lnTo>
                  <a:lnTo>
                    <a:pt x="488" y="48"/>
                  </a:lnTo>
                  <a:lnTo>
                    <a:pt x="484" y="48"/>
                  </a:lnTo>
                  <a:lnTo>
                    <a:pt x="478" y="51"/>
                  </a:lnTo>
                  <a:lnTo>
                    <a:pt x="474" y="54"/>
                  </a:lnTo>
                  <a:lnTo>
                    <a:pt x="469" y="58"/>
                  </a:lnTo>
                  <a:lnTo>
                    <a:pt x="464" y="60"/>
                  </a:lnTo>
                  <a:lnTo>
                    <a:pt x="458" y="63"/>
                  </a:lnTo>
                  <a:lnTo>
                    <a:pt x="452" y="66"/>
                  </a:lnTo>
                  <a:lnTo>
                    <a:pt x="446" y="66"/>
                  </a:lnTo>
                  <a:lnTo>
                    <a:pt x="436" y="66"/>
                  </a:lnTo>
                  <a:lnTo>
                    <a:pt x="426" y="63"/>
                  </a:lnTo>
                  <a:lnTo>
                    <a:pt x="418" y="58"/>
                  </a:lnTo>
                  <a:lnTo>
                    <a:pt x="412" y="54"/>
                  </a:lnTo>
                  <a:lnTo>
                    <a:pt x="398" y="43"/>
                  </a:lnTo>
                  <a:lnTo>
                    <a:pt x="385" y="36"/>
                  </a:lnTo>
                  <a:lnTo>
                    <a:pt x="372" y="32"/>
                  </a:lnTo>
                  <a:lnTo>
                    <a:pt x="358" y="32"/>
                  </a:lnTo>
                  <a:lnTo>
                    <a:pt x="345" y="32"/>
                  </a:lnTo>
                  <a:lnTo>
                    <a:pt x="332" y="34"/>
                  </a:lnTo>
                  <a:lnTo>
                    <a:pt x="317" y="34"/>
                  </a:lnTo>
                  <a:lnTo>
                    <a:pt x="304" y="35"/>
                  </a:lnTo>
                  <a:lnTo>
                    <a:pt x="291" y="34"/>
                  </a:lnTo>
                  <a:lnTo>
                    <a:pt x="277" y="30"/>
                  </a:lnTo>
                  <a:lnTo>
                    <a:pt x="273" y="27"/>
                  </a:lnTo>
                  <a:lnTo>
                    <a:pt x="271" y="23"/>
                  </a:lnTo>
                  <a:lnTo>
                    <a:pt x="268" y="18"/>
                  </a:lnTo>
                  <a:lnTo>
                    <a:pt x="267" y="12"/>
                  </a:lnTo>
                  <a:lnTo>
                    <a:pt x="263" y="8"/>
                  </a:lnTo>
                  <a:lnTo>
                    <a:pt x="257" y="4"/>
                  </a:lnTo>
                  <a:lnTo>
                    <a:pt x="251" y="2"/>
                  </a:lnTo>
                  <a:lnTo>
                    <a:pt x="241" y="0"/>
                  </a:lnTo>
                  <a:lnTo>
                    <a:pt x="235" y="2"/>
                  </a:lnTo>
                  <a:lnTo>
                    <a:pt x="229" y="6"/>
                  </a:lnTo>
                  <a:lnTo>
                    <a:pt x="224" y="11"/>
                  </a:lnTo>
                  <a:lnTo>
                    <a:pt x="220" y="18"/>
                  </a:lnTo>
                  <a:lnTo>
                    <a:pt x="215" y="24"/>
                  </a:lnTo>
                  <a:lnTo>
                    <a:pt x="208" y="31"/>
                  </a:lnTo>
                  <a:lnTo>
                    <a:pt x="205" y="32"/>
                  </a:lnTo>
                  <a:lnTo>
                    <a:pt x="201" y="35"/>
                  </a:lnTo>
                  <a:lnTo>
                    <a:pt x="197" y="36"/>
                  </a:lnTo>
                  <a:lnTo>
                    <a:pt x="193" y="36"/>
                  </a:lnTo>
                  <a:lnTo>
                    <a:pt x="188" y="35"/>
                  </a:lnTo>
                  <a:lnTo>
                    <a:pt x="181" y="32"/>
                  </a:lnTo>
                  <a:lnTo>
                    <a:pt x="175" y="28"/>
                  </a:lnTo>
                  <a:lnTo>
                    <a:pt x="169" y="24"/>
                  </a:lnTo>
                  <a:lnTo>
                    <a:pt x="155" y="24"/>
                  </a:lnTo>
                  <a:lnTo>
                    <a:pt x="141" y="28"/>
                  </a:lnTo>
                  <a:lnTo>
                    <a:pt x="136" y="30"/>
                  </a:lnTo>
                  <a:lnTo>
                    <a:pt x="131" y="32"/>
                  </a:lnTo>
                  <a:lnTo>
                    <a:pt x="127" y="36"/>
                  </a:lnTo>
                  <a:lnTo>
                    <a:pt x="123" y="40"/>
                  </a:lnTo>
                  <a:lnTo>
                    <a:pt x="120" y="44"/>
                  </a:lnTo>
                  <a:lnTo>
                    <a:pt x="116" y="50"/>
                  </a:lnTo>
                  <a:lnTo>
                    <a:pt x="115" y="55"/>
                  </a:lnTo>
                  <a:lnTo>
                    <a:pt x="112" y="62"/>
                  </a:lnTo>
                  <a:lnTo>
                    <a:pt x="109" y="78"/>
                  </a:lnTo>
                  <a:lnTo>
                    <a:pt x="108" y="96"/>
                  </a:lnTo>
                  <a:lnTo>
                    <a:pt x="109" y="107"/>
                  </a:lnTo>
                  <a:lnTo>
                    <a:pt x="112" y="116"/>
                  </a:lnTo>
                  <a:lnTo>
                    <a:pt x="116" y="124"/>
                  </a:lnTo>
                  <a:lnTo>
                    <a:pt x="121" y="132"/>
                  </a:lnTo>
                  <a:lnTo>
                    <a:pt x="125" y="139"/>
                  </a:lnTo>
                  <a:lnTo>
                    <a:pt x="129" y="147"/>
                  </a:lnTo>
                  <a:lnTo>
                    <a:pt x="132" y="154"/>
                  </a:lnTo>
                  <a:lnTo>
                    <a:pt x="133" y="163"/>
                  </a:lnTo>
                  <a:lnTo>
                    <a:pt x="131" y="174"/>
                  </a:lnTo>
                  <a:lnTo>
                    <a:pt x="127" y="186"/>
                  </a:lnTo>
                  <a:lnTo>
                    <a:pt x="120" y="196"/>
                  </a:lnTo>
                  <a:lnTo>
                    <a:pt x="112" y="208"/>
                  </a:lnTo>
                  <a:lnTo>
                    <a:pt x="91" y="230"/>
                  </a:lnTo>
                  <a:lnTo>
                    <a:pt x="67" y="252"/>
                  </a:lnTo>
                  <a:lnTo>
                    <a:pt x="43" y="274"/>
                  </a:lnTo>
                  <a:lnTo>
                    <a:pt x="21" y="295"/>
                  </a:lnTo>
                  <a:lnTo>
                    <a:pt x="12" y="306"/>
                  </a:lnTo>
                  <a:lnTo>
                    <a:pt x="5" y="316"/>
                  </a:lnTo>
                  <a:lnTo>
                    <a:pt x="1" y="327"/>
                  </a:lnTo>
                  <a:lnTo>
                    <a:pt x="0" y="338"/>
                  </a:lnTo>
                  <a:lnTo>
                    <a:pt x="0" y="348"/>
                  </a:lnTo>
                  <a:lnTo>
                    <a:pt x="0" y="374"/>
                  </a:lnTo>
                  <a:lnTo>
                    <a:pt x="7" y="375"/>
                  </a:lnTo>
                  <a:lnTo>
                    <a:pt x="12" y="378"/>
                  </a:lnTo>
                  <a:lnTo>
                    <a:pt x="16" y="380"/>
                  </a:lnTo>
                  <a:lnTo>
                    <a:pt x="20" y="384"/>
                  </a:lnTo>
                  <a:lnTo>
                    <a:pt x="27" y="394"/>
                  </a:lnTo>
                  <a:lnTo>
                    <a:pt x="32" y="403"/>
                  </a:lnTo>
                  <a:lnTo>
                    <a:pt x="36" y="414"/>
                  </a:lnTo>
                  <a:lnTo>
                    <a:pt x="41" y="423"/>
                  </a:lnTo>
                  <a:lnTo>
                    <a:pt x="44" y="427"/>
                  </a:lnTo>
                  <a:lnTo>
                    <a:pt x="47" y="430"/>
                  </a:lnTo>
                  <a:lnTo>
                    <a:pt x="51" y="432"/>
                  </a:lnTo>
                  <a:lnTo>
                    <a:pt x="55" y="434"/>
                  </a:lnTo>
                  <a:lnTo>
                    <a:pt x="88" y="443"/>
                  </a:lnTo>
                  <a:lnTo>
                    <a:pt x="115" y="448"/>
                  </a:lnTo>
                  <a:lnTo>
                    <a:pt x="139" y="451"/>
                  </a:lnTo>
                  <a:lnTo>
                    <a:pt x="160" y="452"/>
                  </a:lnTo>
                  <a:lnTo>
                    <a:pt x="181" y="454"/>
                  </a:lnTo>
                  <a:lnTo>
                    <a:pt x="203" y="456"/>
                  </a:lnTo>
                  <a:lnTo>
                    <a:pt x="215" y="458"/>
                  </a:lnTo>
                  <a:lnTo>
                    <a:pt x="227" y="460"/>
                  </a:lnTo>
                  <a:lnTo>
                    <a:pt x="239" y="464"/>
                  </a:lnTo>
                  <a:lnTo>
                    <a:pt x="253" y="470"/>
                  </a:lnTo>
                  <a:lnTo>
                    <a:pt x="261" y="475"/>
                  </a:lnTo>
                  <a:lnTo>
                    <a:pt x="268" y="482"/>
                  </a:lnTo>
                  <a:lnTo>
                    <a:pt x="275" y="488"/>
                  </a:lnTo>
                  <a:lnTo>
                    <a:pt x="280" y="495"/>
                  </a:lnTo>
                  <a:lnTo>
                    <a:pt x="287" y="502"/>
                  </a:lnTo>
                  <a:lnTo>
                    <a:pt x="292" y="507"/>
                  </a:lnTo>
                  <a:lnTo>
                    <a:pt x="299" y="511"/>
                  </a:lnTo>
                  <a:lnTo>
                    <a:pt x="308" y="512"/>
                  </a:lnTo>
                  <a:lnTo>
                    <a:pt x="320" y="511"/>
                  </a:lnTo>
                  <a:lnTo>
                    <a:pt x="332" y="510"/>
                  </a:lnTo>
                  <a:lnTo>
                    <a:pt x="343" y="507"/>
                  </a:lnTo>
                  <a:lnTo>
                    <a:pt x="353" y="503"/>
                  </a:lnTo>
                  <a:lnTo>
                    <a:pt x="374" y="492"/>
                  </a:lnTo>
                  <a:lnTo>
                    <a:pt x="394" y="482"/>
                  </a:lnTo>
                  <a:lnTo>
                    <a:pt x="413" y="471"/>
                  </a:lnTo>
                  <a:lnTo>
                    <a:pt x="430" y="462"/>
                  </a:lnTo>
                  <a:lnTo>
                    <a:pt x="440" y="458"/>
                  </a:lnTo>
                  <a:lnTo>
                    <a:pt x="448" y="455"/>
                  </a:lnTo>
                  <a:lnTo>
                    <a:pt x="456" y="452"/>
                  </a:lnTo>
                  <a:lnTo>
                    <a:pt x="464" y="452"/>
                  </a:lnTo>
                  <a:lnTo>
                    <a:pt x="476" y="452"/>
                  </a:lnTo>
                  <a:lnTo>
                    <a:pt x="486" y="456"/>
                  </a:lnTo>
                  <a:lnTo>
                    <a:pt x="496" y="460"/>
                  </a:lnTo>
                  <a:lnTo>
                    <a:pt x="502" y="466"/>
                  </a:lnTo>
                  <a:lnTo>
                    <a:pt x="508" y="472"/>
                  </a:lnTo>
                  <a:lnTo>
                    <a:pt x="513" y="480"/>
                  </a:lnTo>
                  <a:lnTo>
                    <a:pt x="517" y="488"/>
                  </a:lnTo>
                  <a:lnTo>
                    <a:pt x="520" y="496"/>
                  </a:lnTo>
                  <a:lnTo>
                    <a:pt x="525" y="514"/>
                  </a:lnTo>
                  <a:lnTo>
                    <a:pt x="530" y="528"/>
                  </a:lnTo>
                  <a:lnTo>
                    <a:pt x="533" y="534"/>
                  </a:lnTo>
                  <a:lnTo>
                    <a:pt x="537" y="538"/>
                  </a:lnTo>
                  <a:lnTo>
                    <a:pt x="542" y="542"/>
                  </a:lnTo>
                  <a:lnTo>
                    <a:pt x="548" y="542"/>
                  </a:lnTo>
                  <a:lnTo>
                    <a:pt x="553" y="542"/>
                  </a:lnTo>
                  <a:lnTo>
                    <a:pt x="558" y="539"/>
                  </a:lnTo>
                  <a:lnTo>
                    <a:pt x="564" y="536"/>
                  </a:lnTo>
                  <a:lnTo>
                    <a:pt x="569" y="534"/>
                  </a:lnTo>
                  <a:lnTo>
                    <a:pt x="580" y="527"/>
                  </a:lnTo>
                  <a:lnTo>
                    <a:pt x="590" y="524"/>
                  </a:lnTo>
                  <a:lnTo>
                    <a:pt x="593" y="532"/>
                  </a:lnTo>
                  <a:lnTo>
                    <a:pt x="596" y="540"/>
                  </a:lnTo>
                  <a:lnTo>
                    <a:pt x="600" y="548"/>
                  </a:lnTo>
                  <a:lnTo>
                    <a:pt x="604" y="553"/>
                  </a:lnTo>
                  <a:lnTo>
                    <a:pt x="609" y="559"/>
                  </a:lnTo>
                  <a:lnTo>
                    <a:pt x="614" y="563"/>
                  </a:lnTo>
                  <a:lnTo>
                    <a:pt x="620" y="565"/>
                  </a:lnTo>
                  <a:lnTo>
                    <a:pt x="626" y="565"/>
                  </a:lnTo>
                  <a:lnTo>
                    <a:pt x="641" y="557"/>
                  </a:lnTo>
                  <a:lnTo>
                    <a:pt x="657" y="548"/>
                  </a:lnTo>
                  <a:lnTo>
                    <a:pt x="662" y="548"/>
                  </a:lnTo>
                  <a:lnTo>
                    <a:pt x="668" y="549"/>
                  </a:lnTo>
                  <a:lnTo>
                    <a:pt x="673" y="552"/>
                  </a:lnTo>
                  <a:lnTo>
                    <a:pt x="678" y="556"/>
                  </a:lnTo>
                  <a:lnTo>
                    <a:pt x="689" y="563"/>
                  </a:lnTo>
                  <a:lnTo>
                    <a:pt x="701" y="572"/>
                  </a:lnTo>
                  <a:lnTo>
                    <a:pt x="713" y="581"/>
                  </a:lnTo>
                  <a:lnTo>
                    <a:pt x="726" y="588"/>
                  </a:lnTo>
                  <a:lnTo>
                    <a:pt x="734" y="592"/>
                  </a:lnTo>
                  <a:lnTo>
                    <a:pt x="742" y="593"/>
                  </a:lnTo>
                  <a:lnTo>
                    <a:pt x="750" y="596"/>
                  </a:lnTo>
                  <a:lnTo>
                    <a:pt x="758" y="596"/>
                  </a:lnTo>
                  <a:lnTo>
                    <a:pt x="765" y="60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49" name="Freeform 45"/>
            <p:cNvSpPr>
              <a:spLocks/>
            </p:cNvSpPr>
            <p:nvPr/>
          </p:nvSpPr>
          <p:spPr bwMode="auto">
            <a:xfrm>
              <a:off x="5770884" y="4687888"/>
              <a:ext cx="827088" cy="1270000"/>
            </a:xfrm>
            <a:custGeom>
              <a:avLst/>
              <a:gdLst/>
              <a:ahLst/>
              <a:cxnLst>
                <a:cxn ang="0">
                  <a:pos x="995" y="218"/>
                </a:cxn>
                <a:cxn ang="0">
                  <a:pos x="1097" y="280"/>
                </a:cxn>
                <a:cxn ang="0">
                  <a:pos x="1132" y="363"/>
                </a:cxn>
                <a:cxn ang="0">
                  <a:pos x="1216" y="395"/>
                </a:cxn>
                <a:cxn ang="0">
                  <a:pos x="1200" y="453"/>
                </a:cxn>
                <a:cxn ang="0">
                  <a:pos x="1253" y="485"/>
                </a:cxn>
                <a:cxn ang="0">
                  <a:pos x="1345" y="426"/>
                </a:cxn>
                <a:cxn ang="0">
                  <a:pos x="1410" y="501"/>
                </a:cxn>
                <a:cxn ang="0">
                  <a:pos x="1453" y="479"/>
                </a:cxn>
                <a:cxn ang="0">
                  <a:pos x="1516" y="548"/>
                </a:cxn>
                <a:cxn ang="0">
                  <a:pos x="1533" y="641"/>
                </a:cxn>
                <a:cxn ang="0">
                  <a:pos x="1610" y="716"/>
                </a:cxn>
                <a:cxn ang="0">
                  <a:pos x="1566" y="748"/>
                </a:cxn>
                <a:cxn ang="0">
                  <a:pos x="1608" y="816"/>
                </a:cxn>
                <a:cxn ang="0">
                  <a:pos x="1696" y="915"/>
                </a:cxn>
                <a:cxn ang="0">
                  <a:pos x="1564" y="1070"/>
                </a:cxn>
                <a:cxn ang="0">
                  <a:pos x="1521" y="1245"/>
                </a:cxn>
                <a:cxn ang="0">
                  <a:pos x="1645" y="1237"/>
                </a:cxn>
                <a:cxn ang="0">
                  <a:pos x="1680" y="1321"/>
                </a:cxn>
                <a:cxn ang="0">
                  <a:pos x="1633" y="1645"/>
                </a:cxn>
                <a:cxn ang="0">
                  <a:pos x="1688" y="1833"/>
                </a:cxn>
                <a:cxn ang="0">
                  <a:pos x="1668" y="1906"/>
                </a:cxn>
                <a:cxn ang="0">
                  <a:pos x="1542" y="2079"/>
                </a:cxn>
                <a:cxn ang="0">
                  <a:pos x="1410" y="2090"/>
                </a:cxn>
                <a:cxn ang="0">
                  <a:pos x="1244" y="2059"/>
                </a:cxn>
                <a:cxn ang="0">
                  <a:pos x="1129" y="2122"/>
                </a:cxn>
                <a:cxn ang="0">
                  <a:pos x="941" y="2095"/>
                </a:cxn>
                <a:cxn ang="0">
                  <a:pos x="863" y="2214"/>
                </a:cxn>
                <a:cxn ang="0">
                  <a:pos x="632" y="2472"/>
                </a:cxn>
                <a:cxn ang="0">
                  <a:pos x="344" y="2608"/>
                </a:cxn>
                <a:cxn ang="0">
                  <a:pos x="127" y="2607"/>
                </a:cxn>
                <a:cxn ang="0">
                  <a:pos x="2" y="2504"/>
                </a:cxn>
                <a:cxn ang="0">
                  <a:pos x="92" y="2371"/>
                </a:cxn>
                <a:cxn ang="0">
                  <a:pos x="19" y="2308"/>
                </a:cxn>
                <a:cxn ang="0">
                  <a:pos x="50" y="2183"/>
                </a:cxn>
                <a:cxn ang="0">
                  <a:pos x="42" y="2113"/>
                </a:cxn>
                <a:cxn ang="0">
                  <a:pos x="164" y="2089"/>
                </a:cxn>
                <a:cxn ang="0">
                  <a:pos x="275" y="2025"/>
                </a:cxn>
                <a:cxn ang="0">
                  <a:pos x="359" y="1983"/>
                </a:cxn>
                <a:cxn ang="0">
                  <a:pos x="448" y="1855"/>
                </a:cxn>
                <a:cxn ang="0">
                  <a:pos x="524" y="1753"/>
                </a:cxn>
                <a:cxn ang="0">
                  <a:pos x="667" y="1637"/>
                </a:cxn>
                <a:cxn ang="0">
                  <a:pos x="728" y="1542"/>
                </a:cxn>
                <a:cxn ang="0">
                  <a:pos x="655" y="1433"/>
                </a:cxn>
                <a:cxn ang="0">
                  <a:pos x="639" y="1340"/>
                </a:cxn>
                <a:cxn ang="0">
                  <a:pos x="736" y="1198"/>
                </a:cxn>
                <a:cxn ang="0">
                  <a:pos x="865" y="1032"/>
                </a:cxn>
                <a:cxn ang="0">
                  <a:pos x="921" y="937"/>
                </a:cxn>
                <a:cxn ang="0">
                  <a:pos x="841" y="856"/>
                </a:cxn>
                <a:cxn ang="0">
                  <a:pos x="723" y="817"/>
                </a:cxn>
                <a:cxn ang="0">
                  <a:pos x="601" y="588"/>
                </a:cxn>
                <a:cxn ang="0">
                  <a:pos x="590" y="492"/>
                </a:cxn>
                <a:cxn ang="0">
                  <a:pos x="663" y="511"/>
                </a:cxn>
                <a:cxn ang="0">
                  <a:pos x="760" y="452"/>
                </a:cxn>
                <a:cxn ang="0">
                  <a:pos x="784" y="348"/>
                </a:cxn>
                <a:cxn ang="0">
                  <a:pos x="712" y="291"/>
                </a:cxn>
                <a:cxn ang="0">
                  <a:pos x="681" y="119"/>
                </a:cxn>
                <a:cxn ang="0">
                  <a:pos x="739" y="60"/>
                </a:cxn>
                <a:cxn ang="0">
                  <a:pos x="856" y="0"/>
                </a:cxn>
              </a:cxnLst>
              <a:rect l="0" t="0" r="r" b="b"/>
              <a:pathLst>
                <a:path w="1705" h="2620">
                  <a:moveTo>
                    <a:pt x="856" y="0"/>
                  </a:moveTo>
                  <a:lnTo>
                    <a:pt x="872" y="18"/>
                  </a:lnTo>
                  <a:lnTo>
                    <a:pt x="885" y="35"/>
                  </a:lnTo>
                  <a:lnTo>
                    <a:pt x="899" y="55"/>
                  </a:lnTo>
                  <a:lnTo>
                    <a:pt x="911" y="76"/>
                  </a:lnTo>
                  <a:lnTo>
                    <a:pt x="932" y="119"/>
                  </a:lnTo>
                  <a:lnTo>
                    <a:pt x="955" y="160"/>
                  </a:lnTo>
                  <a:lnTo>
                    <a:pt x="967" y="182"/>
                  </a:lnTo>
                  <a:lnTo>
                    <a:pt x="980" y="200"/>
                  </a:lnTo>
                  <a:lnTo>
                    <a:pt x="995" y="218"/>
                  </a:lnTo>
                  <a:lnTo>
                    <a:pt x="1011" y="234"/>
                  </a:lnTo>
                  <a:lnTo>
                    <a:pt x="1020" y="240"/>
                  </a:lnTo>
                  <a:lnTo>
                    <a:pt x="1029" y="247"/>
                  </a:lnTo>
                  <a:lnTo>
                    <a:pt x="1040" y="252"/>
                  </a:lnTo>
                  <a:lnTo>
                    <a:pt x="1051" y="258"/>
                  </a:lnTo>
                  <a:lnTo>
                    <a:pt x="1063" y="263"/>
                  </a:lnTo>
                  <a:lnTo>
                    <a:pt x="1075" y="267"/>
                  </a:lnTo>
                  <a:lnTo>
                    <a:pt x="1088" y="270"/>
                  </a:lnTo>
                  <a:lnTo>
                    <a:pt x="1103" y="271"/>
                  </a:lnTo>
                  <a:lnTo>
                    <a:pt x="1097" y="280"/>
                  </a:lnTo>
                  <a:lnTo>
                    <a:pt x="1091" y="303"/>
                  </a:lnTo>
                  <a:lnTo>
                    <a:pt x="1089" y="310"/>
                  </a:lnTo>
                  <a:lnTo>
                    <a:pt x="1089" y="316"/>
                  </a:lnTo>
                  <a:lnTo>
                    <a:pt x="1091" y="323"/>
                  </a:lnTo>
                  <a:lnTo>
                    <a:pt x="1092" y="330"/>
                  </a:lnTo>
                  <a:lnTo>
                    <a:pt x="1096" y="336"/>
                  </a:lnTo>
                  <a:lnTo>
                    <a:pt x="1100" y="343"/>
                  </a:lnTo>
                  <a:lnTo>
                    <a:pt x="1107" y="350"/>
                  </a:lnTo>
                  <a:lnTo>
                    <a:pt x="1115" y="356"/>
                  </a:lnTo>
                  <a:lnTo>
                    <a:pt x="1132" y="363"/>
                  </a:lnTo>
                  <a:lnTo>
                    <a:pt x="1143" y="367"/>
                  </a:lnTo>
                  <a:lnTo>
                    <a:pt x="1149" y="368"/>
                  </a:lnTo>
                  <a:lnTo>
                    <a:pt x="1155" y="368"/>
                  </a:lnTo>
                  <a:lnTo>
                    <a:pt x="1159" y="368"/>
                  </a:lnTo>
                  <a:lnTo>
                    <a:pt x="1163" y="370"/>
                  </a:lnTo>
                  <a:lnTo>
                    <a:pt x="1169" y="374"/>
                  </a:lnTo>
                  <a:lnTo>
                    <a:pt x="1181" y="380"/>
                  </a:lnTo>
                  <a:lnTo>
                    <a:pt x="1193" y="387"/>
                  </a:lnTo>
                  <a:lnTo>
                    <a:pt x="1205" y="392"/>
                  </a:lnTo>
                  <a:lnTo>
                    <a:pt x="1216" y="395"/>
                  </a:lnTo>
                  <a:lnTo>
                    <a:pt x="1223" y="398"/>
                  </a:lnTo>
                  <a:lnTo>
                    <a:pt x="1225" y="399"/>
                  </a:lnTo>
                  <a:lnTo>
                    <a:pt x="1227" y="400"/>
                  </a:lnTo>
                  <a:lnTo>
                    <a:pt x="1227" y="403"/>
                  </a:lnTo>
                  <a:lnTo>
                    <a:pt x="1227" y="406"/>
                  </a:lnTo>
                  <a:lnTo>
                    <a:pt x="1221" y="415"/>
                  </a:lnTo>
                  <a:lnTo>
                    <a:pt x="1211" y="428"/>
                  </a:lnTo>
                  <a:lnTo>
                    <a:pt x="1205" y="438"/>
                  </a:lnTo>
                  <a:lnTo>
                    <a:pt x="1201" y="445"/>
                  </a:lnTo>
                  <a:lnTo>
                    <a:pt x="1200" y="453"/>
                  </a:lnTo>
                  <a:lnTo>
                    <a:pt x="1200" y="461"/>
                  </a:lnTo>
                  <a:lnTo>
                    <a:pt x="1201" y="468"/>
                  </a:lnTo>
                  <a:lnTo>
                    <a:pt x="1204" y="475"/>
                  </a:lnTo>
                  <a:lnTo>
                    <a:pt x="1208" y="480"/>
                  </a:lnTo>
                  <a:lnTo>
                    <a:pt x="1213" y="484"/>
                  </a:lnTo>
                  <a:lnTo>
                    <a:pt x="1220" y="488"/>
                  </a:lnTo>
                  <a:lnTo>
                    <a:pt x="1227" y="489"/>
                  </a:lnTo>
                  <a:lnTo>
                    <a:pt x="1235" y="489"/>
                  </a:lnTo>
                  <a:lnTo>
                    <a:pt x="1244" y="488"/>
                  </a:lnTo>
                  <a:lnTo>
                    <a:pt x="1253" y="485"/>
                  </a:lnTo>
                  <a:lnTo>
                    <a:pt x="1263" y="480"/>
                  </a:lnTo>
                  <a:lnTo>
                    <a:pt x="1273" y="473"/>
                  </a:lnTo>
                  <a:lnTo>
                    <a:pt x="1283" y="464"/>
                  </a:lnTo>
                  <a:lnTo>
                    <a:pt x="1300" y="447"/>
                  </a:lnTo>
                  <a:lnTo>
                    <a:pt x="1315" y="435"/>
                  </a:lnTo>
                  <a:lnTo>
                    <a:pt x="1321" y="431"/>
                  </a:lnTo>
                  <a:lnTo>
                    <a:pt x="1328" y="427"/>
                  </a:lnTo>
                  <a:lnTo>
                    <a:pt x="1335" y="426"/>
                  </a:lnTo>
                  <a:lnTo>
                    <a:pt x="1340" y="426"/>
                  </a:lnTo>
                  <a:lnTo>
                    <a:pt x="1345" y="426"/>
                  </a:lnTo>
                  <a:lnTo>
                    <a:pt x="1349" y="427"/>
                  </a:lnTo>
                  <a:lnTo>
                    <a:pt x="1355" y="430"/>
                  </a:lnTo>
                  <a:lnTo>
                    <a:pt x="1359" y="434"/>
                  </a:lnTo>
                  <a:lnTo>
                    <a:pt x="1366" y="444"/>
                  </a:lnTo>
                  <a:lnTo>
                    <a:pt x="1373" y="457"/>
                  </a:lnTo>
                  <a:lnTo>
                    <a:pt x="1382" y="472"/>
                  </a:lnTo>
                  <a:lnTo>
                    <a:pt x="1390" y="485"/>
                  </a:lnTo>
                  <a:lnTo>
                    <a:pt x="1398" y="493"/>
                  </a:lnTo>
                  <a:lnTo>
                    <a:pt x="1406" y="500"/>
                  </a:lnTo>
                  <a:lnTo>
                    <a:pt x="1410" y="501"/>
                  </a:lnTo>
                  <a:lnTo>
                    <a:pt x="1414" y="503"/>
                  </a:lnTo>
                  <a:lnTo>
                    <a:pt x="1418" y="503"/>
                  </a:lnTo>
                  <a:lnTo>
                    <a:pt x="1422" y="503"/>
                  </a:lnTo>
                  <a:lnTo>
                    <a:pt x="1426" y="500"/>
                  </a:lnTo>
                  <a:lnTo>
                    <a:pt x="1430" y="497"/>
                  </a:lnTo>
                  <a:lnTo>
                    <a:pt x="1436" y="493"/>
                  </a:lnTo>
                  <a:lnTo>
                    <a:pt x="1440" y="488"/>
                  </a:lnTo>
                  <a:lnTo>
                    <a:pt x="1444" y="484"/>
                  </a:lnTo>
                  <a:lnTo>
                    <a:pt x="1448" y="481"/>
                  </a:lnTo>
                  <a:lnTo>
                    <a:pt x="1453" y="479"/>
                  </a:lnTo>
                  <a:lnTo>
                    <a:pt x="1457" y="477"/>
                  </a:lnTo>
                  <a:lnTo>
                    <a:pt x="1461" y="476"/>
                  </a:lnTo>
                  <a:lnTo>
                    <a:pt x="1465" y="476"/>
                  </a:lnTo>
                  <a:lnTo>
                    <a:pt x="1469" y="477"/>
                  </a:lnTo>
                  <a:lnTo>
                    <a:pt x="1473" y="480"/>
                  </a:lnTo>
                  <a:lnTo>
                    <a:pt x="1481" y="487"/>
                  </a:lnTo>
                  <a:lnTo>
                    <a:pt x="1489" y="497"/>
                  </a:lnTo>
                  <a:lnTo>
                    <a:pt x="1497" y="512"/>
                  </a:lnTo>
                  <a:lnTo>
                    <a:pt x="1506" y="531"/>
                  </a:lnTo>
                  <a:lnTo>
                    <a:pt x="1516" y="548"/>
                  </a:lnTo>
                  <a:lnTo>
                    <a:pt x="1525" y="563"/>
                  </a:lnTo>
                  <a:lnTo>
                    <a:pt x="1532" y="577"/>
                  </a:lnTo>
                  <a:lnTo>
                    <a:pt x="1537" y="591"/>
                  </a:lnTo>
                  <a:lnTo>
                    <a:pt x="1540" y="603"/>
                  </a:lnTo>
                  <a:lnTo>
                    <a:pt x="1541" y="613"/>
                  </a:lnTo>
                  <a:lnTo>
                    <a:pt x="1540" y="624"/>
                  </a:lnTo>
                  <a:lnTo>
                    <a:pt x="1536" y="633"/>
                  </a:lnTo>
                  <a:lnTo>
                    <a:pt x="1534" y="636"/>
                  </a:lnTo>
                  <a:lnTo>
                    <a:pt x="1533" y="639"/>
                  </a:lnTo>
                  <a:lnTo>
                    <a:pt x="1533" y="641"/>
                  </a:lnTo>
                  <a:lnTo>
                    <a:pt x="1533" y="644"/>
                  </a:lnTo>
                  <a:lnTo>
                    <a:pt x="1536" y="649"/>
                  </a:lnTo>
                  <a:lnTo>
                    <a:pt x="1541" y="655"/>
                  </a:lnTo>
                  <a:lnTo>
                    <a:pt x="1557" y="665"/>
                  </a:lnTo>
                  <a:lnTo>
                    <a:pt x="1578" y="681"/>
                  </a:lnTo>
                  <a:lnTo>
                    <a:pt x="1589" y="689"/>
                  </a:lnTo>
                  <a:lnTo>
                    <a:pt x="1598" y="697"/>
                  </a:lnTo>
                  <a:lnTo>
                    <a:pt x="1605" y="705"/>
                  </a:lnTo>
                  <a:lnTo>
                    <a:pt x="1609" y="712"/>
                  </a:lnTo>
                  <a:lnTo>
                    <a:pt x="1610" y="716"/>
                  </a:lnTo>
                  <a:lnTo>
                    <a:pt x="1610" y="719"/>
                  </a:lnTo>
                  <a:lnTo>
                    <a:pt x="1609" y="723"/>
                  </a:lnTo>
                  <a:lnTo>
                    <a:pt x="1608" y="725"/>
                  </a:lnTo>
                  <a:lnTo>
                    <a:pt x="1605" y="728"/>
                  </a:lnTo>
                  <a:lnTo>
                    <a:pt x="1601" y="731"/>
                  </a:lnTo>
                  <a:lnTo>
                    <a:pt x="1596" y="733"/>
                  </a:lnTo>
                  <a:lnTo>
                    <a:pt x="1590" y="735"/>
                  </a:lnTo>
                  <a:lnTo>
                    <a:pt x="1578" y="740"/>
                  </a:lnTo>
                  <a:lnTo>
                    <a:pt x="1570" y="745"/>
                  </a:lnTo>
                  <a:lnTo>
                    <a:pt x="1566" y="748"/>
                  </a:lnTo>
                  <a:lnTo>
                    <a:pt x="1565" y="752"/>
                  </a:lnTo>
                  <a:lnTo>
                    <a:pt x="1564" y="755"/>
                  </a:lnTo>
                  <a:lnTo>
                    <a:pt x="1564" y="759"/>
                  </a:lnTo>
                  <a:lnTo>
                    <a:pt x="1564" y="763"/>
                  </a:lnTo>
                  <a:lnTo>
                    <a:pt x="1565" y="767"/>
                  </a:lnTo>
                  <a:lnTo>
                    <a:pt x="1566" y="771"/>
                  </a:lnTo>
                  <a:lnTo>
                    <a:pt x="1570" y="775"/>
                  </a:lnTo>
                  <a:lnTo>
                    <a:pt x="1578" y="784"/>
                  </a:lnTo>
                  <a:lnTo>
                    <a:pt x="1590" y="795"/>
                  </a:lnTo>
                  <a:lnTo>
                    <a:pt x="1608" y="816"/>
                  </a:lnTo>
                  <a:lnTo>
                    <a:pt x="1620" y="833"/>
                  </a:lnTo>
                  <a:lnTo>
                    <a:pt x="1626" y="840"/>
                  </a:lnTo>
                  <a:lnTo>
                    <a:pt x="1633" y="848"/>
                  </a:lnTo>
                  <a:lnTo>
                    <a:pt x="1641" y="855"/>
                  </a:lnTo>
                  <a:lnTo>
                    <a:pt x="1650" y="861"/>
                  </a:lnTo>
                  <a:lnTo>
                    <a:pt x="1661" y="869"/>
                  </a:lnTo>
                  <a:lnTo>
                    <a:pt x="1670" y="879"/>
                  </a:lnTo>
                  <a:lnTo>
                    <a:pt x="1678" y="888"/>
                  </a:lnTo>
                  <a:lnTo>
                    <a:pt x="1686" y="899"/>
                  </a:lnTo>
                  <a:lnTo>
                    <a:pt x="1696" y="915"/>
                  </a:lnTo>
                  <a:lnTo>
                    <a:pt x="1698" y="921"/>
                  </a:lnTo>
                  <a:lnTo>
                    <a:pt x="1682" y="935"/>
                  </a:lnTo>
                  <a:lnTo>
                    <a:pt x="1665" y="948"/>
                  </a:lnTo>
                  <a:lnTo>
                    <a:pt x="1649" y="964"/>
                  </a:lnTo>
                  <a:lnTo>
                    <a:pt x="1633" y="979"/>
                  </a:lnTo>
                  <a:lnTo>
                    <a:pt x="1617" y="996"/>
                  </a:lnTo>
                  <a:lnTo>
                    <a:pt x="1602" y="1013"/>
                  </a:lnTo>
                  <a:lnTo>
                    <a:pt x="1589" y="1032"/>
                  </a:lnTo>
                  <a:lnTo>
                    <a:pt x="1576" y="1050"/>
                  </a:lnTo>
                  <a:lnTo>
                    <a:pt x="1564" y="1070"/>
                  </a:lnTo>
                  <a:lnTo>
                    <a:pt x="1553" y="1090"/>
                  </a:lnTo>
                  <a:lnTo>
                    <a:pt x="1542" y="1112"/>
                  </a:lnTo>
                  <a:lnTo>
                    <a:pt x="1533" y="1134"/>
                  </a:lnTo>
                  <a:lnTo>
                    <a:pt x="1526" y="1157"/>
                  </a:lnTo>
                  <a:lnTo>
                    <a:pt x="1520" y="1180"/>
                  </a:lnTo>
                  <a:lnTo>
                    <a:pt x="1514" y="1204"/>
                  </a:lnTo>
                  <a:lnTo>
                    <a:pt x="1512" y="1229"/>
                  </a:lnTo>
                  <a:lnTo>
                    <a:pt x="1514" y="1236"/>
                  </a:lnTo>
                  <a:lnTo>
                    <a:pt x="1517" y="1241"/>
                  </a:lnTo>
                  <a:lnTo>
                    <a:pt x="1521" y="1245"/>
                  </a:lnTo>
                  <a:lnTo>
                    <a:pt x="1526" y="1249"/>
                  </a:lnTo>
                  <a:lnTo>
                    <a:pt x="1532" y="1250"/>
                  </a:lnTo>
                  <a:lnTo>
                    <a:pt x="1538" y="1252"/>
                  </a:lnTo>
                  <a:lnTo>
                    <a:pt x="1546" y="1252"/>
                  </a:lnTo>
                  <a:lnTo>
                    <a:pt x="1553" y="1250"/>
                  </a:lnTo>
                  <a:lnTo>
                    <a:pt x="1586" y="1244"/>
                  </a:lnTo>
                  <a:lnTo>
                    <a:pt x="1622" y="1237"/>
                  </a:lnTo>
                  <a:lnTo>
                    <a:pt x="1630" y="1237"/>
                  </a:lnTo>
                  <a:lnTo>
                    <a:pt x="1638" y="1236"/>
                  </a:lnTo>
                  <a:lnTo>
                    <a:pt x="1645" y="1237"/>
                  </a:lnTo>
                  <a:lnTo>
                    <a:pt x="1653" y="1238"/>
                  </a:lnTo>
                  <a:lnTo>
                    <a:pt x="1660" y="1242"/>
                  </a:lnTo>
                  <a:lnTo>
                    <a:pt x="1665" y="1246"/>
                  </a:lnTo>
                  <a:lnTo>
                    <a:pt x="1670" y="1252"/>
                  </a:lnTo>
                  <a:lnTo>
                    <a:pt x="1674" y="1258"/>
                  </a:lnTo>
                  <a:lnTo>
                    <a:pt x="1678" y="1268"/>
                  </a:lnTo>
                  <a:lnTo>
                    <a:pt x="1680" y="1277"/>
                  </a:lnTo>
                  <a:lnTo>
                    <a:pt x="1681" y="1290"/>
                  </a:lnTo>
                  <a:lnTo>
                    <a:pt x="1681" y="1304"/>
                  </a:lnTo>
                  <a:lnTo>
                    <a:pt x="1680" y="1321"/>
                  </a:lnTo>
                  <a:lnTo>
                    <a:pt x="1678" y="1340"/>
                  </a:lnTo>
                  <a:lnTo>
                    <a:pt x="1674" y="1361"/>
                  </a:lnTo>
                  <a:lnTo>
                    <a:pt x="1669" y="1385"/>
                  </a:lnTo>
                  <a:lnTo>
                    <a:pt x="1657" y="1434"/>
                  </a:lnTo>
                  <a:lnTo>
                    <a:pt x="1648" y="1474"/>
                  </a:lnTo>
                  <a:lnTo>
                    <a:pt x="1641" y="1509"/>
                  </a:lnTo>
                  <a:lnTo>
                    <a:pt x="1637" y="1541"/>
                  </a:lnTo>
                  <a:lnTo>
                    <a:pt x="1634" y="1573"/>
                  </a:lnTo>
                  <a:lnTo>
                    <a:pt x="1633" y="1606"/>
                  </a:lnTo>
                  <a:lnTo>
                    <a:pt x="1633" y="1645"/>
                  </a:lnTo>
                  <a:lnTo>
                    <a:pt x="1632" y="1693"/>
                  </a:lnTo>
                  <a:lnTo>
                    <a:pt x="1633" y="1714"/>
                  </a:lnTo>
                  <a:lnTo>
                    <a:pt x="1637" y="1734"/>
                  </a:lnTo>
                  <a:lnTo>
                    <a:pt x="1642" y="1753"/>
                  </a:lnTo>
                  <a:lnTo>
                    <a:pt x="1649" y="1769"/>
                  </a:lnTo>
                  <a:lnTo>
                    <a:pt x="1656" y="1785"/>
                  </a:lnTo>
                  <a:lnTo>
                    <a:pt x="1664" y="1798"/>
                  </a:lnTo>
                  <a:lnTo>
                    <a:pt x="1673" y="1811"/>
                  </a:lnTo>
                  <a:lnTo>
                    <a:pt x="1681" y="1822"/>
                  </a:lnTo>
                  <a:lnTo>
                    <a:pt x="1688" y="1833"/>
                  </a:lnTo>
                  <a:lnTo>
                    <a:pt x="1694" y="1842"/>
                  </a:lnTo>
                  <a:lnTo>
                    <a:pt x="1700" y="1851"/>
                  </a:lnTo>
                  <a:lnTo>
                    <a:pt x="1704" y="1859"/>
                  </a:lnTo>
                  <a:lnTo>
                    <a:pt x="1705" y="1866"/>
                  </a:lnTo>
                  <a:lnTo>
                    <a:pt x="1704" y="1873"/>
                  </a:lnTo>
                  <a:lnTo>
                    <a:pt x="1700" y="1879"/>
                  </a:lnTo>
                  <a:lnTo>
                    <a:pt x="1693" y="1885"/>
                  </a:lnTo>
                  <a:lnTo>
                    <a:pt x="1684" y="1891"/>
                  </a:lnTo>
                  <a:lnTo>
                    <a:pt x="1676" y="1899"/>
                  </a:lnTo>
                  <a:lnTo>
                    <a:pt x="1668" y="1906"/>
                  </a:lnTo>
                  <a:lnTo>
                    <a:pt x="1661" y="1914"/>
                  </a:lnTo>
                  <a:lnTo>
                    <a:pt x="1648" y="1931"/>
                  </a:lnTo>
                  <a:lnTo>
                    <a:pt x="1636" y="1950"/>
                  </a:lnTo>
                  <a:lnTo>
                    <a:pt x="1613" y="1989"/>
                  </a:lnTo>
                  <a:lnTo>
                    <a:pt x="1590" y="2026"/>
                  </a:lnTo>
                  <a:lnTo>
                    <a:pt x="1578" y="2045"/>
                  </a:lnTo>
                  <a:lnTo>
                    <a:pt x="1565" y="2059"/>
                  </a:lnTo>
                  <a:lnTo>
                    <a:pt x="1558" y="2067"/>
                  </a:lnTo>
                  <a:lnTo>
                    <a:pt x="1550" y="2074"/>
                  </a:lnTo>
                  <a:lnTo>
                    <a:pt x="1542" y="2079"/>
                  </a:lnTo>
                  <a:lnTo>
                    <a:pt x="1534" y="2085"/>
                  </a:lnTo>
                  <a:lnTo>
                    <a:pt x="1525" y="2090"/>
                  </a:lnTo>
                  <a:lnTo>
                    <a:pt x="1516" y="2093"/>
                  </a:lnTo>
                  <a:lnTo>
                    <a:pt x="1505" y="2097"/>
                  </a:lnTo>
                  <a:lnTo>
                    <a:pt x="1493" y="2098"/>
                  </a:lnTo>
                  <a:lnTo>
                    <a:pt x="1481" y="2099"/>
                  </a:lnTo>
                  <a:lnTo>
                    <a:pt x="1468" y="2099"/>
                  </a:lnTo>
                  <a:lnTo>
                    <a:pt x="1454" y="2098"/>
                  </a:lnTo>
                  <a:lnTo>
                    <a:pt x="1440" y="2095"/>
                  </a:lnTo>
                  <a:lnTo>
                    <a:pt x="1410" y="2090"/>
                  </a:lnTo>
                  <a:lnTo>
                    <a:pt x="1386" y="2085"/>
                  </a:lnTo>
                  <a:lnTo>
                    <a:pt x="1365" y="2077"/>
                  </a:lnTo>
                  <a:lnTo>
                    <a:pt x="1345" y="2070"/>
                  </a:lnTo>
                  <a:lnTo>
                    <a:pt x="1327" y="2063"/>
                  </a:lnTo>
                  <a:lnTo>
                    <a:pt x="1308" y="2058"/>
                  </a:lnTo>
                  <a:lnTo>
                    <a:pt x="1288" y="2055"/>
                  </a:lnTo>
                  <a:lnTo>
                    <a:pt x="1265" y="2054"/>
                  </a:lnTo>
                  <a:lnTo>
                    <a:pt x="1259" y="2054"/>
                  </a:lnTo>
                  <a:lnTo>
                    <a:pt x="1251" y="2057"/>
                  </a:lnTo>
                  <a:lnTo>
                    <a:pt x="1244" y="2059"/>
                  </a:lnTo>
                  <a:lnTo>
                    <a:pt x="1237" y="2063"/>
                  </a:lnTo>
                  <a:lnTo>
                    <a:pt x="1223" y="2073"/>
                  </a:lnTo>
                  <a:lnTo>
                    <a:pt x="1207" y="2085"/>
                  </a:lnTo>
                  <a:lnTo>
                    <a:pt x="1192" y="2097"/>
                  </a:lnTo>
                  <a:lnTo>
                    <a:pt x="1176" y="2107"/>
                  </a:lnTo>
                  <a:lnTo>
                    <a:pt x="1168" y="2111"/>
                  </a:lnTo>
                  <a:lnTo>
                    <a:pt x="1160" y="2115"/>
                  </a:lnTo>
                  <a:lnTo>
                    <a:pt x="1152" y="2118"/>
                  </a:lnTo>
                  <a:lnTo>
                    <a:pt x="1145" y="2119"/>
                  </a:lnTo>
                  <a:lnTo>
                    <a:pt x="1129" y="2122"/>
                  </a:lnTo>
                  <a:lnTo>
                    <a:pt x="1113" y="2122"/>
                  </a:lnTo>
                  <a:lnTo>
                    <a:pt x="1096" y="2121"/>
                  </a:lnTo>
                  <a:lnTo>
                    <a:pt x="1079" y="2118"/>
                  </a:lnTo>
                  <a:lnTo>
                    <a:pt x="1044" y="2110"/>
                  </a:lnTo>
                  <a:lnTo>
                    <a:pt x="1009" y="2102"/>
                  </a:lnTo>
                  <a:lnTo>
                    <a:pt x="992" y="2098"/>
                  </a:lnTo>
                  <a:lnTo>
                    <a:pt x="976" y="2095"/>
                  </a:lnTo>
                  <a:lnTo>
                    <a:pt x="961" y="2094"/>
                  </a:lnTo>
                  <a:lnTo>
                    <a:pt x="948" y="2094"/>
                  </a:lnTo>
                  <a:lnTo>
                    <a:pt x="941" y="2095"/>
                  </a:lnTo>
                  <a:lnTo>
                    <a:pt x="936" y="2097"/>
                  </a:lnTo>
                  <a:lnTo>
                    <a:pt x="931" y="2099"/>
                  </a:lnTo>
                  <a:lnTo>
                    <a:pt x="925" y="2102"/>
                  </a:lnTo>
                  <a:lnTo>
                    <a:pt x="920" y="2105"/>
                  </a:lnTo>
                  <a:lnTo>
                    <a:pt x="916" y="2109"/>
                  </a:lnTo>
                  <a:lnTo>
                    <a:pt x="913" y="2114"/>
                  </a:lnTo>
                  <a:lnTo>
                    <a:pt x="909" y="2119"/>
                  </a:lnTo>
                  <a:lnTo>
                    <a:pt x="899" y="2147"/>
                  </a:lnTo>
                  <a:lnTo>
                    <a:pt x="883" y="2179"/>
                  </a:lnTo>
                  <a:lnTo>
                    <a:pt x="863" y="2214"/>
                  </a:lnTo>
                  <a:lnTo>
                    <a:pt x="839" y="2252"/>
                  </a:lnTo>
                  <a:lnTo>
                    <a:pt x="809" y="2292"/>
                  </a:lnTo>
                  <a:lnTo>
                    <a:pt x="777" y="2332"/>
                  </a:lnTo>
                  <a:lnTo>
                    <a:pt x="759" y="2354"/>
                  </a:lnTo>
                  <a:lnTo>
                    <a:pt x="740" y="2374"/>
                  </a:lnTo>
                  <a:lnTo>
                    <a:pt x="720" y="2395"/>
                  </a:lnTo>
                  <a:lnTo>
                    <a:pt x="700" y="2415"/>
                  </a:lnTo>
                  <a:lnTo>
                    <a:pt x="677" y="2435"/>
                  </a:lnTo>
                  <a:lnTo>
                    <a:pt x="655" y="2454"/>
                  </a:lnTo>
                  <a:lnTo>
                    <a:pt x="632" y="2472"/>
                  </a:lnTo>
                  <a:lnTo>
                    <a:pt x="607" y="2491"/>
                  </a:lnTo>
                  <a:lnTo>
                    <a:pt x="582" y="2508"/>
                  </a:lnTo>
                  <a:lnTo>
                    <a:pt x="555" y="2526"/>
                  </a:lnTo>
                  <a:lnTo>
                    <a:pt x="527" y="2540"/>
                  </a:lnTo>
                  <a:lnTo>
                    <a:pt x="499" y="2555"/>
                  </a:lnTo>
                  <a:lnTo>
                    <a:pt x="470" y="2568"/>
                  </a:lnTo>
                  <a:lnTo>
                    <a:pt x="440" y="2580"/>
                  </a:lnTo>
                  <a:lnTo>
                    <a:pt x="408" y="2591"/>
                  </a:lnTo>
                  <a:lnTo>
                    <a:pt x="378" y="2600"/>
                  </a:lnTo>
                  <a:lnTo>
                    <a:pt x="344" y="2608"/>
                  </a:lnTo>
                  <a:lnTo>
                    <a:pt x="311" y="2614"/>
                  </a:lnTo>
                  <a:lnTo>
                    <a:pt x="276" y="2618"/>
                  </a:lnTo>
                  <a:lnTo>
                    <a:pt x="242" y="2619"/>
                  </a:lnTo>
                  <a:lnTo>
                    <a:pt x="222" y="2620"/>
                  </a:lnTo>
                  <a:lnTo>
                    <a:pt x="204" y="2619"/>
                  </a:lnTo>
                  <a:lnTo>
                    <a:pt x="187" y="2618"/>
                  </a:lnTo>
                  <a:lnTo>
                    <a:pt x="171" y="2616"/>
                  </a:lnTo>
                  <a:lnTo>
                    <a:pt x="155" y="2614"/>
                  </a:lnTo>
                  <a:lnTo>
                    <a:pt x="140" y="2611"/>
                  </a:lnTo>
                  <a:lnTo>
                    <a:pt x="127" y="2607"/>
                  </a:lnTo>
                  <a:lnTo>
                    <a:pt x="115" y="2603"/>
                  </a:lnTo>
                  <a:lnTo>
                    <a:pt x="92" y="2595"/>
                  </a:lnTo>
                  <a:lnTo>
                    <a:pt x="72" y="2584"/>
                  </a:lnTo>
                  <a:lnTo>
                    <a:pt x="56" y="2574"/>
                  </a:lnTo>
                  <a:lnTo>
                    <a:pt x="42" y="2562"/>
                  </a:lnTo>
                  <a:lnTo>
                    <a:pt x="31" y="2550"/>
                  </a:lnTo>
                  <a:lnTo>
                    <a:pt x="22" y="2539"/>
                  </a:lnTo>
                  <a:lnTo>
                    <a:pt x="14" y="2528"/>
                  </a:lnTo>
                  <a:lnTo>
                    <a:pt x="8" y="2519"/>
                  </a:lnTo>
                  <a:lnTo>
                    <a:pt x="2" y="2504"/>
                  </a:lnTo>
                  <a:lnTo>
                    <a:pt x="0" y="2499"/>
                  </a:lnTo>
                  <a:lnTo>
                    <a:pt x="3" y="2487"/>
                  </a:lnTo>
                  <a:lnTo>
                    <a:pt x="8" y="2476"/>
                  </a:lnTo>
                  <a:lnTo>
                    <a:pt x="14" y="2466"/>
                  </a:lnTo>
                  <a:lnTo>
                    <a:pt x="20" y="2455"/>
                  </a:lnTo>
                  <a:lnTo>
                    <a:pt x="36" y="2436"/>
                  </a:lnTo>
                  <a:lnTo>
                    <a:pt x="54" y="2418"/>
                  </a:lnTo>
                  <a:lnTo>
                    <a:pt x="71" y="2399"/>
                  </a:lnTo>
                  <a:lnTo>
                    <a:pt x="86" y="2380"/>
                  </a:lnTo>
                  <a:lnTo>
                    <a:pt x="92" y="2371"/>
                  </a:lnTo>
                  <a:lnTo>
                    <a:pt x="98" y="2360"/>
                  </a:lnTo>
                  <a:lnTo>
                    <a:pt x="100" y="2348"/>
                  </a:lnTo>
                  <a:lnTo>
                    <a:pt x="103" y="2336"/>
                  </a:lnTo>
                  <a:lnTo>
                    <a:pt x="82" y="2332"/>
                  </a:lnTo>
                  <a:lnTo>
                    <a:pt x="51" y="2326"/>
                  </a:lnTo>
                  <a:lnTo>
                    <a:pt x="43" y="2323"/>
                  </a:lnTo>
                  <a:lnTo>
                    <a:pt x="36" y="2320"/>
                  </a:lnTo>
                  <a:lnTo>
                    <a:pt x="30" y="2316"/>
                  </a:lnTo>
                  <a:lnTo>
                    <a:pt x="24" y="2312"/>
                  </a:lnTo>
                  <a:lnTo>
                    <a:pt x="19" y="2308"/>
                  </a:lnTo>
                  <a:lnTo>
                    <a:pt x="15" y="2302"/>
                  </a:lnTo>
                  <a:lnTo>
                    <a:pt x="14" y="2296"/>
                  </a:lnTo>
                  <a:lnTo>
                    <a:pt x="12" y="2288"/>
                  </a:lnTo>
                  <a:lnTo>
                    <a:pt x="14" y="2274"/>
                  </a:lnTo>
                  <a:lnTo>
                    <a:pt x="18" y="2260"/>
                  </a:lnTo>
                  <a:lnTo>
                    <a:pt x="23" y="2247"/>
                  </a:lnTo>
                  <a:lnTo>
                    <a:pt x="30" y="2235"/>
                  </a:lnTo>
                  <a:lnTo>
                    <a:pt x="46" y="2214"/>
                  </a:lnTo>
                  <a:lnTo>
                    <a:pt x="60" y="2192"/>
                  </a:lnTo>
                  <a:lnTo>
                    <a:pt x="50" y="2183"/>
                  </a:lnTo>
                  <a:lnTo>
                    <a:pt x="38" y="2171"/>
                  </a:lnTo>
                  <a:lnTo>
                    <a:pt x="32" y="2165"/>
                  </a:lnTo>
                  <a:lnTo>
                    <a:pt x="28" y="2158"/>
                  </a:lnTo>
                  <a:lnTo>
                    <a:pt x="26" y="2149"/>
                  </a:lnTo>
                  <a:lnTo>
                    <a:pt x="24" y="2138"/>
                  </a:lnTo>
                  <a:lnTo>
                    <a:pt x="26" y="2131"/>
                  </a:lnTo>
                  <a:lnTo>
                    <a:pt x="27" y="2126"/>
                  </a:lnTo>
                  <a:lnTo>
                    <a:pt x="31" y="2121"/>
                  </a:lnTo>
                  <a:lnTo>
                    <a:pt x="35" y="2117"/>
                  </a:lnTo>
                  <a:lnTo>
                    <a:pt x="42" y="2113"/>
                  </a:lnTo>
                  <a:lnTo>
                    <a:pt x="48" y="2109"/>
                  </a:lnTo>
                  <a:lnTo>
                    <a:pt x="55" y="2106"/>
                  </a:lnTo>
                  <a:lnTo>
                    <a:pt x="64" y="2103"/>
                  </a:lnTo>
                  <a:lnTo>
                    <a:pt x="82" y="2099"/>
                  </a:lnTo>
                  <a:lnTo>
                    <a:pt x="100" y="2098"/>
                  </a:lnTo>
                  <a:lnTo>
                    <a:pt x="120" y="2097"/>
                  </a:lnTo>
                  <a:lnTo>
                    <a:pt x="139" y="2095"/>
                  </a:lnTo>
                  <a:lnTo>
                    <a:pt x="148" y="2095"/>
                  </a:lnTo>
                  <a:lnTo>
                    <a:pt x="156" y="2093"/>
                  </a:lnTo>
                  <a:lnTo>
                    <a:pt x="164" y="2089"/>
                  </a:lnTo>
                  <a:lnTo>
                    <a:pt x="171" y="2085"/>
                  </a:lnTo>
                  <a:lnTo>
                    <a:pt x="182" y="2073"/>
                  </a:lnTo>
                  <a:lnTo>
                    <a:pt x="191" y="2059"/>
                  </a:lnTo>
                  <a:lnTo>
                    <a:pt x="200" y="2046"/>
                  </a:lnTo>
                  <a:lnTo>
                    <a:pt x="212" y="2035"/>
                  </a:lnTo>
                  <a:lnTo>
                    <a:pt x="220" y="2030"/>
                  </a:lnTo>
                  <a:lnTo>
                    <a:pt x="228" y="2027"/>
                  </a:lnTo>
                  <a:lnTo>
                    <a:pt x="236" y="2025"/>
                  </a:lnTo>
                  <a:lnTo>
                    <a:pt x="247" y="2023"/>
                  </a:lnTo>
                  <a:lnTo>
                    <a:pt x="275" y="2025"/>
                  </a:lnTo>
                  <a:lnTo>
                    <a:pt x="303" y="2023"/>
                  </a:lnTo>
                  <a:lnTo>
                    <a:pt x="316" y="2022"/>
                  </a:lnTo>
                  <a:lnTo>
                    <a:pt x="328" y="2018"/>
                  </a:lnTo>
                  <a:lnTo>
                    <a:pt x="335" y="2017"/>
                  </a:lnTo>
                  <a:lnTo>
                    <a:pt x="340" y="2013"/>
                  </a:lnTo>
                  <a:lnTo>
                    <a:pt x="346" y="2010"/>
                  </a:lnTo>
                  <a:lnTo>
                    <a:pt x="350" y="2006"/>
                  </a:lnTo>
                  <a:lnTo>
                    <a:pt x="355" y="1998"/>
                  </a:lnTo>
                  <a:lnTo>
                    <a:pt x="358" y="1991"/>
                  </a:lnTo>
                  <a:lnTo>
                    <a:pt x="359" y="1983"/>
                  </a:lnTo>
                  <a:lnTo>
                    <a:pt x="359" y="1974"/>
                  </a:lnTo>
                  <a:lnTo>
                    <a:pt x="359" y="1966"/>
                  </a:lnTo>
                  <a:lnTo>
                    <a:pt x="360" y="1957"/>
                  </a:lnTo>
                  <a:lnTo>
                    <a:pt x="363" y="1949"/>
                  </a:lnTo>
                  <a:lnTo>
                    <a:pt x="368" y="1939"/>
                  </a:lnTo>
                  <a:lnTo>
                    <a:pt x="390" y="1918"/>
                  </a:lnTo>
                  <a:lnTo>
                    <a:pt x="408" y="1901"/>
                  </a:lnTo>
                  <a:lnTo>
                    <a:pt x="426" y="1882"/>
                  </a:lnTo>
                  <a:lnTo>
                    <a:pt x="442" y="1865"/>
                  </a:lnTo>
                  <a:lnTo>
                    <a:pt x="448" y="1855"/>
                  </a:lnTo>
                  <a:lnTo>
                    <a:pt x="455" y="1845"/>
                  </a:lnTo>
                  <a:lnTo>
                    <a:pt x="462" y="1834"/>
                  </a:lnTo>
                  <a:lnTo>
                    <a:pt x="468" y="1822"/>
                  </a:lnTo>
                  <a:lnTo>
                    <a:pt x="474" y="1809"/>
                  </a:lnTo>
                  <a:lnTo>
                    <a:pt x="479" y="1793"/>
                  </a:lnTo>
                  <a:lnTo>
                    <a:pt x="484" y="1777"/>
                  </a:lnTo>
                  <a:lnTo>
                    <a:pt x="488" y="1758"/>
                  </a:lnTo>
                  <a:lnTo>
                    <a:pt x="500" y="1758"/>
                  </a:lnTo>
                  <a:lnTo>
                    <a:pt x="512" y="1755"/>
                  </a:lnTo>
                  <a:lnTo>
                    <a:pt x="524" y="1753"/>
                  </a:lnTo>
                  <a:lnTo>
                    <a:pt x="536" y="1747"/>
                  </a:lnTo>
                  <a:lnTo>
                    <a:pt x="548" y="1742"/>
                  </a:lnTo>
                  <a:lnTo>
                    <a:pt x="559" y="1735"/>
                  </a:lnTo>
                  <a:lnTo>
                    <a:pt x="571" y="1729"/>
                  </a:lnTo>
                  <a:lnTo>
                    <a:pt x="582" y="1721"/>
                  </a:lnTo>
                  <a:lnTo>
                    <a:pt x="601" y="1703"/>
                  </a:lnTo>
                  <a:lnTo>
                    <a:pt x="620" y="1685"/>
                  </a:lnTo>
                  <a:lnTo>
                    <a:pt x="636" y="1667"/>
                  </a:lnTo>
                  <a:lnTo>
                    <a:pt x="651" y="1650"/>
                  </a:lnTo>
                  <a:lnTo>
                    <a:pt x="667" y="1637"/>
                  </a:lnTo>
                  <a:lnTo>
                    <a:pt x="681" y="1626"/>
                  </a:lnTo>
                  <a:lnTo>
                    <a:pt x="695" y="1614"/>
                  </a:lnTo>
                  <a:lnTo>
                    <a:pt x="705" y="1601"/>
                  </a:lnTo>
                  <a:lnTo>
                    <a:pt x="711" y="1594"/>
                  </a:lnTo>
                  <a:lnTo>
                    <a:pt x="716" y="1588"/>
                  </a:lnTo>
                  <a:lnTo>
                    <a:pt x="720" y="1580"/>
                  </a:lnTo>
                  <a:lnTo>
                    <a:pt x="723" y="1572"/>
                  </a:lnTo>
                  <a:lnTo>
                    <a:pt x="725" y="1562"/>
                  </a:lnTo>
                  <a:lnTo>
                    <a:pt x="728" y="1553"/>
                  </a:lnTo>
                  <a:lnTo>
                    <a:pt x="728" y="1542"/>
                  </a:lnTo>
                  <a:lnTo>
                    <a:pt x="729" y="1530"/>
                  </a:lnTo>
                  <a:lnTo>
                    <a:pt x="728" y="1516"/>
                  </a:lnTo>
                  <a:lnTo>
                    <a:pt x="724" y="1502"/>
                  </a:lnTo>
                  <a:lnTo>
                    <a:pt x="719" y="1490"/>
                  </a:lnTo>
                  <a:lnTo>
                    <a:pt x="712" y="1480"/>
                  </a:lnTo>
                  <a:lnTo>
                    <a:pt x="704" y="1470"/>
                  </a:lnTo>
                  <a:lnTo>
                    <a:pt x="695" y="1462"/>
                  </a:lnTo>
                  <a:lnTo>
                    <a:pt x="685" y="1454"/>
                  </a:lnTo>
                  <a:lnTo>
                    <a:pt x="675" y="1448"/>
                  </a:lnTo>
                  <a:lnTo>
                    <a:pt x="655" y="1433"/>
                  </a:lnTo>
                  <a:lnTo>
                    <a:pt x="637" y="1417"/>
                  </a:lnTo>
                  <a:lnTo>
                    <a:pt x="631" y="1408"/>
                  </a:lnTo>
                  <a:lnTo>
                    <a:pt x="625" y="1397"/>
                  </a:lnTo>
                  <a:lnTo>
                    <a:pt x="621" y="1386"/>
                  </a:lnTo>
                  <a:lnTo>
                    <a:pt x="620" y="1373"/>
                  </a:lnTo>
                  <a:lnTo>
                    <a:pt x="621" y="1366"/>
                  </a:lnTo>
                  <a:lnTo>
                    <a:pt x="623" y="1360"/>
                  </a:lnTo>
                  <a:lnTo>
                    <a:pt x="625" y="1353"/>
                  </a:lnTo>
                  <a:lnTo>
                    <a:pt x="629" y="1349"/>
                  </a:lnTo>
                  <a:lnTo>
                    <a:pt x="639" y="1340"/>
                  </a:lnTo>
                  <a:lnTo>
                    <a:pt x="649" y="1333"/>
                  </a:lnTo>
                  <a:lnTo>
                    <a:pt x="663" y="1326"/>
                  </a:lnTo>
                  <a:lnTo>
                    <a:pt x="673" y="1320"/>
                  </a:lnTo>
                  <a:lnTo>
                    <a:pt x="680" y="1316"/>
                  </a:lnTo>
                  <a:lnTo>
                    <a:pt x="684" y="1312"/>
                  </a:lnTo>
                  <a:lnTo>
                    <a:pt x="689" y="1306"/>
                  </a:lnTo>
                  <a:lnTo>
                    <a:pt x="693" y="1301"/>
                  </a:lnTo>
                  <a:lnTo>
                    <a:pt x="707" y="1269"/>
                  </a:lnTo>
                  <a:lnTo>
                    <a:pt x="720" y="1234"/>
                  </a:lnTo>
                  <a:lnTo>
                    <a:pt x="736" y="1198"/>
                  </a:lnTo>
                  <a:lnTo>
                    <a:pt x="752" y="1161"/>
                  </a:lnTo>
                  <a:lnTo>
                    <a:pt x="760" y="1144"/>
                  </a:lnTo>
                  <a:lnTo>
                    <a:pt x="769" y="1126"/>
                  </a:lnTo>
                  <a:lnTo>
                    <a:pt x="779" y="1109"/>
                  </a:lnTo>
                  <a:lnTo>
                    <a:pt x="789" y="1094"/>
                  </a:lnTo>
                  <a:lnTo>
                    <a:pt x="800" y="1080"/>
                  </a:lnTo>
                  <a:lnTo>
                    <a:pt x="812" y="1068"/>
                  </a:lnTo>
                  <a:lnTo>
                    <a:pt x="824" y="1057"/>
                  </a:lnTo>
                  <a:lnTo>
                    <a:pt x="837" y="1048"/>
                  </a:lnTo>
                  <a:lnTo>
                    <a:pt x="865" y="1032"/>
                  </a:lnTo>
                  <a:lnTo>
                    <a:pt x="893" y="1015"/>
                  </a:lnTo>
                  <a:lnTo>
                    <a:pt x="899" y="1009"/>
                  </a:lnTo>
                  <a:lnTo>
                    <a:pt x="904" y="1004"/>
                  </a:lnTo>
                  <a:lnTo>
                    <a:pt x="909" y="997"/>
                  </a:lnTo>
                  <a:lnTo>
                    <a:pt x="913" y="989"/>
                  </a:lnTo>
                  <a:lnTo>
                    <a:pt x="917" y="980"/>
                  </a:lnTo>
                  <a:lnTo>
                    <a:pt x="920" y="971"/>
                  </a:lnTo>
                  <a:lnTo>
                    <a:pt x="921" y="959"/>
                  </a:lnTo>
                  <a:lnTo>
                    <a:pt x="921" y="945"/>
                  </a:lnTo>
                  <a:lnTo>
                    <a:pt x="921" y="937"/>
                  </a:lnTo>
                  <a:lnTo>
                    <a:pt x="920" y="929"/>
                  </a:lnTo>
                  <a:lnTo>
                    <a:pt x="919" y="923"/>
                  </a:lnTo>
                  <a:lnTo>
                    <a:pt x="916" y="916"/>
                  </a:lnTo>
                  <a:lnTo>
                    <a:pt x="912" y="909"/>
                  </a:lnTo>
                  <a:lnTo>
                    <a:pt x="908" y="904"/>
                  </a:lnTo>
                  <a:lnTo>
                    <a:pt x="904" y="900"/>
                  </a:lnTo>
                  <a:lnTo>
                    <a:pt x="899" y="895"/>
                  </a:lnTo>
                  <a:lnTo>
                    <a:pt x="876" y="879"/>
                  </a:lnTo>
                  <a:lnTo>
                    <a:pt x="849" y="861"/>
                  </a:lnTo>
                  <a:lnTo>
                    <a:pt x="841" y="856"/>
                  </a:lnTo>
                  <a:lnTo>
                    <a:pt x="835" y="851"/>
                  </a:lnTo>
                  <a:lnTo>
                    <a:pt x="828" y="847"/>
                  </a:lnTo>
                  <a:lnTo>
                    <a:pt x="820" y="844"/>
                  </a:lnTo>
                  <a:lnTo>
                    <a:pt x="807" y="841"/>
                  </a:lnTo>
                  <a:lnTo>
                    <a:pt x="793" y="840"/>
                  </a:lnTo>
                  <a:lnTo>
                    <a:pt x="780" y="840"/>
                  </a:lnTo>
                  <a:lnTo>
                    <a:pt x="765" y="839"/>
                  </a:lnTo>
                  <a:lnTo>
                    <a:pt x="748" y="836"/>
                  </a:lnTo>
                  <a:lnTo>
                    <a:pt x="729" y="832"/>
                  </a:lnTo>
                  <a:lnTo>
                    <a:pt x="723" y="817"/>
                  </a:lnTo>
                  <a:lnTo>
                    <a:pt x="707" y="784"/>
                  </a:lnTo>
                  <a:lnTo>
                    <a:pt x="691" y="748"/>
                  </a:lnTo>
                  <a:lnTo>
                    <a:pt x="681" y="723"/>
                  </a:lnTo>
                  <a:lnTo>
                    <a:pt x="673" y="705"/>
                  </a:lnTo>
                  <a:lnTo>
                    <a:pt x="667" y="689"/>
                  </a:lnTo>
                  <a:lnTo>
                    <a:pt x="657" y="675"/>
                  </a:lnTo>
                  <a:lnTo>
                    <a:pt x="649" y="660"/>
                  </a:lnTo>
                  <a:lnTo>
                    <a:pt x="629" y="629"/>
                  </a:lnTo>
                  <a:lnTo>
                    <a:pt x="608" y="596"/>
                  </a:lnTo>
                  <a:lnTo>
                    <a:pt x="601" y="588"/>
                  </a:lnTo>
                  <a:lnTo>
                    <a:pt x="591" y="579"/>
                  </a:lnTo>
                  <a:lnTo>
                    <a:pt x="587" y="573"/>
                  </a:lnTo>
                  <a:lnTo>
                    <a:pt x="583" y="567"/>
                  </a:lnTo>
                  <a:lnTo>
                    <a:pt x="580" y="559"/>
                  </a:lnTo>
                  <a:lnTo>
                    <a:pt x="579" y="548"/>
                  </a:lnTo>
                  <a:lnTo>
                    <a:pt x="578" y="529"/>
                  </a:lnTo>
                  <a:lnTo>
                    <a:pt x="579" y="509"/>
                  </a:lnTo>
                  <a:lnTo>
                    <a:pt x="582" y="501"/>
                  </a:lnTo>
                  <a:lnTo>
                    <a:pt x="587" y="495"/>
                  </a:lnTo>
                  <a:lnTo>
                    <a:pt x="590" y="492"/>
                  </a:lnTo>
                  <a:lnTo>
                    <a:pt x="594" y="489"/>
                  </a:lnTo>
                  <a:lnTo>
                    <a:pt x="598" y="488"/>
                  </a:lnTo>
                  <a:lnTo>
                    <a:pt x="603" y="488"/>
                  </a:lnTo>
                  <a:lnTo>
                    <a:pt x="613" y="489"/>
                  </a:lnTo>
                  <a:lnTo>
                    <a:pt x="621" y="492"/>
                  </a:lnTo>
                  <a:lnTo>
                    <a:pt x="629" y="496"/>
                  </a:lnTo>
                  <a:lnTo>
                    <a:pt x="636" y="500"/>
                  </a:lnTo>
                  <a:lnTo>
                    <a:pt x="644" y="504"/>
                  </a:lnTo>
                  <a:lnTo>
                    <a:pt x="652" y="508"/>
                  </a:lnTo>
                  <a:lnTo>
                    <a:pt x="663" y="511"/>
                  </a:lnTo>
                  <a:lnTo>
                    <a:pt x="675" y="512"/>
                  </a:lnTo>
                  <a:lnTo>
                    <a:pt x="687" y="511"/>
                  </a:lnTo>
                  <a:lnTo>
                    <a:pt x="697" y="508"/>
                  </a:lnTo>
                  <a:lnTo>
                    <a:pt x="708" y="504"/>
                  </a:lnTo>
                  <a:lnTo>
                    <a:pt x="716" y="499"/>
                  </a:lnTo>
                  <a:lnTo>
                    <a:pt x="725" y="492"/>
                  </a:lnTo>
                  <a:lnTo>
                    <a:pt x="733" y="485"/>
                  </a:lnTo>
                  <a:lnTo>
                    <a:pt x="740" y="477"/>
                  </a:lnTo>
                  <a:lnTo>
                    <a:pt x="747" y="468"/>
                  </a:lnTo>
                  <a:lnTo>
                    <a:pt x="760" y="452"/>
                  </a:lnTo>
                  <a:lnTo>
                    <a:pt x="773" y="436"/>
                  </a:lnTo>
                  <a:lnTo>
                    <a:pt x="780" y="430"/>
                  </a:lnTo>
                  <a:lnTo>
                    <a:pt x="787" y="424"/>
                  </a:lnTo>
                  <a:lnTo>
                    <a:pt x="793" y="419"/>
                  </a:lnTo>
                  <a:lnTo>
                    <a:pt x="801" y="416"/>
                  </a:lnTo>
                  <a:lnTo>
                    <a:pt x="796" y="400"/>
                  </a:lnTo>
                  <a:lnTo>
                    <a:pt x="791" y="384"/>
                  </a:lnTo>
                  <a:lnTo>
                    <a:pt x="785" y="368"/>
                  </a:lnTo>
                  <a:lnTo>
                    <a:pt x="783" y="356"/>
                  </a:lnTo>
                  <a:lnTo>
                    <a:pt x="784" y="348"/>
                  </a:lnTo>
                  <a:lnTo>
                    <a:pt x="785" y="342"/>
                  </a:lnTo>
                  <a:lnTo>
                    <a:pt x="788" y="336"/>
                  </a:lnTo>
                  <a:lnTo>
                    <a:pt x="791" y="332"/>
                  </a:lnTo>
                  <a:lnTo>
                    <a:pt x="796" y="324"/>
                  </a:lnTo>
                  <a:lnTo>
                    <a:pt x="801" y="314"/>
                  </a:lnTo>
                  <a:lnTo>
                    <a:pt x="780" y="310"/>
                  </a:lnTo>
                  <a:lnTo>
                    <a:pt x="760" y="306"/>
                  </a:lnTo>
                  <a:lnTo>
                    <a:pt x="740" y="300"/>
                  </a:lnTo>
                  <a:lnTo>
                    <a:pt x="721" y="294"/>
                  </a:lnTo>
                  <a:lnTo>
                    <a:pt x="712" y="291"/>
                  </a:lnTo>
                  <a:lnTo>
                    <a:pt x="704" y="287"/>
                  </a:lnTo>
                  <a:lnTo>
                    <a:pt x="697" y="282"/>
                  </a:lnTo>
                  <a:lnTo>
                    <a:pt x="692" y="276"/>
                  </a:lnTo>
                  <a:lnTo>
                    <a:pt x="687" y="271"/>
                  </a:lnTo>
                  <a:lnTo>
                    <a:pt x="684" y="263"/>
                  </a:lnTo>
                  <a:lnTo>
                    <a:pt x="681" y="256"/>
                  </a:lnTo>
                  <a:lnTo>
                    <a:pt x="681" y="247"/>
                  </a:lnTo>
                  <a:lnTo>
                    <a:pt x="681" y="207"/>
                  </a:lnTo>
                  <a:lnTo>
                    <a:pt x="681" y="162"/>
                  </a:lnTo>
                  <a:lnTo>
                    <a:pt x="681" y="119"/>
                  </a:lnTo>
                  <a:lnTo>
                    <a:pt x="681" y="84"/>
                  </a:lnTo>
                  <a:lnTo>
                    <a:pt x="681" y="80"/>
                  </a:lnTo>
                  <a:lnTo>
                    <a:pt x="683" y="76"/>
                  </a:lnTo>
                  <a:lnTo>
                    <a:pt x="684" y="74"/>
                  </a:lnTo>
                  <a:lnTo>
                    <a:pt x="687" y="71"/>
                  </a:lnTo>
                  <a:lnTo>
                    <a:pt x="692" y="67"/>
                  </a:lnTo>
                  <a:lnTo>
                    <a:pt x="700" y="64"/>
                  </a:lnTo>
                  <a:lnTo>
                    <a:pt x="713" y="62"/>
                  </a:lnTo>
                  <a:lnTo>
                    <a:pt x="723" y="60"/>
                  </a:lnTo>
                  <a:lnTo>
                    <a:pt x="739" y="60"/>
                  </a:lnTo>
                  <a:lnTo>
                    <a:pt x="757" y="60"/>
                  </a:lnTo>
                  <a:lnTo>
                    <a:pt x="776" y="60"/>
                  </a:lnTo>
                  <a:lnTo>
                    <a:pt x="795" y="60"/>
                  </a:lnTo>
                  <a:lnTo>
                    <a:pt x="809" y="59"/>
                  </a:lnTo>
                  <a:lnTo>
                    <a:pt x="823" y="56"/>
                  </a:lnTo>
                  <a:lnTo>
                    <a:pt x="832" y="52"/>
                  </a:lnTo>
                  <a:lnTo>
                    <a:pt x="841" y="46"/>
                  </a:lnTo>
                  <a:lnTo>
                    <a:pt x="860" y="30"/>
                  </a:lnTo>
                  <a:lnTo>
                    <a:pt x="880" y="12"/>
                  </a:lnTo>
                  <a:lnTo>
                    <a:pt x="856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0" name="Freeform 46"/>
            <p:cNvSpPr>
              <a:spLocks/>
            </p:cNvSpPr>
            <p:nvPr/>
          </p:nvSpPr>
          <p:spPr bwMode="auto">
            <a:xfrm>
              <a:off x="3170559" y="4879975"/>
              <a:ext cx="406400" cy="628650"/>
            </a:xfrm>
            <a:custGeom>
              <a:avLst/>
              <a:gdLst/>
              <a:ahLst/>
              <a:cxnLst>
                <a:cxn ang="0">
                  <a:pos x="790" y="101"/>
                </a:cxn>
                <a:cxn ang="0">
                  <a:pos x="790" y="157"/>
                </a:cxn>
                <a:cxn ang="0">
                  <a:pos x="756" y="197"/>
                </a:cxn>
                <a:cxn ang="0">
                  <a:pos x="764" y="258"/>
                </a:cxn>
                <a:cxn ang="0">
                  <a:pos x="825" y="459"/>
                </a:cxn>
                <a:cxn ang="0">
                  <a:pos x="834" y="529"/>
                </a:cxn>
                <a:cxn ang="0">
                  <a:pos x="790" y="617"/>
                </a:cxn>
                <a:cxn ang="0">
                  <a:pos x="800" y="686"/>
                </a:cxn>
                <a:cxn ang="0">
                  <a:pos x="776" y="724"/>
                </a:cxn>
                <a:cxn ang="0">
                  <a:pos x="706" y="728"/>
                </a:cxn>
                <a:cxn ang="0">
                  <a:pos x="670" y="759"/>
                </a:cxn>
                <a:cxn ang="0">
                  <a:pos x="657" y="828"/>
                </a:cxn>
                <a:cxn ang="0">
                  <a:pos x="617" y="907"/>
                </a:cxn>
                <a:cxn ang="0">
                  <a:pos x="621" y="982"/>
                </a:cxn>
                <a:cxn ang="0">
                  <a:pos x="660" y="1068"/>
                </a:cxn>
                <a:cxn ang="0">
                  <a:pos x="652" y="1110"/>
                </a:cxn>
                <a:cxn ang="0">
                  <a:pos x="611" y="1182"/>
                </a:cxn>
                <a:cxn ang="0">
                  <a:pos x="571" y="1223"/>
                </a:cxn>
                <a:cxn ang="0">
                  <a:pos x="465" y="1261"/>
                </a:cxn>
                <a:cxn ang="0">
                  <a:pos x="405" y="1293"/>
                </a:cxn>
                <a:cxn ang="0">
                  <a:pos x="360" y="1279"/>
                </a:cxn>
                <a:cxn ang="0">
                  <a:pos x="312" y="1264"/>
                </a:cxn>
                <a:cxn ang="0">
                  <a:pos x="275" y="1253"/>
                </a:cxn>
                <a:cxn ang="0">
                  <a:pos x="280" y="1215"/>
                </a:cxn>
                <a:cxn ang="0">
                  <a:pos x="328" y="1187"/>
                </a:cxn>
                <a:cxn ang="0">
                  <a:pos x="324" y="1164"/>
                </a:cxn>
                <a:cxn ang="0">
                  <a:pos x="251" y="1135"/>
                </a:cxn>
                <a:cxn ang="0">
                  <a:pos x="204" y="1131"/>
                </a:cxn>
                <a:cxn ang="0">
                  <a:pos x="173" y="1118"/>
                </a:cxn>
                <a:cxn ang="0">
                  <a:pos x="141" y="1046"/>
                </a:cxn>
                <a:cxn ang="0">
                  <a:pos x="96" y="1054"/>
                </a:cxn>
                <a:cxn ang="0">
                  <a:pos x="52" y="1063"/>
                </a:cxn>
                <a:cxn ang="0">
                  <a:pos x="0" y="1047"/>
                </a:cxn>
                <a:cxn ang="0">
                  <a:pos x="45" y="959"/>
                </a:cxn>
                <a:cxn ang="0">
                  <a:pos x="19" y="799"/>
                </a:cxn>
                <a:cxn ang="0">
                  <a:pos x="20" y="710"/>
                </a:cxn>
                <a:cxn ang="0">
                  <a:pos x="29" y="618"/>
                </a:cxn>
                <a:cxn ang="0">
                  <a:pos x="45" y="593"/>
                </a:cxn>
                <a:cxn ang="0">
                  <a:pos x="91" y="570"/>
                </a:cxn>
                <a:cxn ang="0">
                  <a:pos x="99" y="497"/>
                </a:cxn>
                <a:cxn ang="0">
                  <a:pos x="171" y="449"/>
                </a:cxn>
                <a:cxn ang="0">
                  <a:pos x="241" y="418"/>
                </a:cxn>
                <a:cxn ang="0">
                  <a:pos x="243" y="391"/>
                </a:cxn>
                <a:cxn ang="0">
                  <a:pos x="203" y="293"/>
                </a:cxn>
                <a:cxn ang="0">
                  <a:pos x="167" y="278"/>
                </a:cxn>
                <a:cxn ang="0">
                  <a:pos x="148" y="299"/>
                </a:cxn>
                <a:cxn ang="0">
                  <a:pos x="117" y="278"/>
                </a:cxn>
                <a:cxn ang="0">
                  <a:pos x="120" y="239"/>
                </a:cxn>
                <a:cxn ang="0">
                  <a:pos x="153" y="193"/>
                </a:cxn>
                <a:cxn ang="0">
                  <a:pos x="152" y="121"/>
                </a:cxn>
                <a:cxn ang="0">
                  <a:pos x="219" y="24"/>
                </a:cxn>
                <a:cxn ang="0">
                  <a:pos x="271" y="1"/>
                </a:cxn>
                <a:cxn ang="0">
                  <a:pos x="288" y="36"/>
                </a:cxn>
                <a:cxn ang="0">
                  <a:pos x="272" y="71"/>
                </a:cxn>
                <a:cxn ang="0">
                  <a:pos x="280" y="102"/>
                </a:cxn>
                <a:cxn ang="0">
                  <a:pos x="437" y="169"/>
                </a:cxn>
                <a:cxn ang="0">
                  <a:pos x="495" y="169"/>
                </a:cxn>
                <a:cxn ang="0">
                  <a:pos x="545" y="157"/>
                </a:cxn>
                <a:cxn ang="0">
                  <a:pos x="619" y="182"/>
                </a:cxn>
                <a:cxn ang="0">
                  <a:pos x="686" y="181"/>
                </a:cxn>
                <a:cxn ang="0">
                  <a:pos x="745" y="138"/>
                </a:cxn>
              </a:cxnLst>
              <a:rect l="0" t="0" r="r" b="b"/>
              <a:pathLst>
                <a:path w="837" h="1295">
                  <a:moveTo>
                    <a:pt x="776" y="90"/>
                  </a:moveTo>
                  <a:lnTo>
                    <a:pt x="780" y="90"/>
                  </a:lnTo>
                  <a:lnTo>
                    <a:pt x="782" y="91"/>
                  </a:lnTo>
                  <a:lnTo>
                    <a:pt x="785" y="93"/>
                  </a:lnTo>
                  <a:lnTo>
                    <a:pt x="786" y="95"/>
                  </a:lnTo>
                  <a:lnTo>
                    <a:pt x="790" y="101"/>
                  </a:lnTo>
                  <a:lnTo>
                    <a:pt x="792" y="109"/>
                  </a:lnTo>
                  <a:lnTo>
                    <a:pt x="794" y="126"/>
                  </a:lnTo>
                  <a:lnTo>
                    <a:pt x="794" y="145"/>
                  </a:lnTo>
                  <a:lnTo>
                    <a:pt x="794" y="149"/>
                  </a:lnTo>
                  <a:lnTo>
                    <a:pt x="793" y="153"/>
                  </a:lnTo>
                  <a:lnTo>
                    <a:pt x="790" y="157"/>
                  </a:lnTo>
                  <a:lnTo>
                    <a:pt x="788" y="159"/>
                  </a:lnTo>
                  <a:lnTo>
                    <a:pt x="781" y="167"/>
                  </a:lnTo>
                  <a:lnTo>
                    <a:pt x="773" y="174"/>
                  </a:lnTo>
                  <a:lnTo>
                    <a:pt x="765" y="182"/>
                  </a:lnTo>
                  <a:lnTo>
                    <a:pt x="758" y="191"/>
                  </a:lnTo>
                  <a:lnTo>
                    <a:pt x="756" y="197"/>
                  </a:lnTo>
                  <a:lnTo>
                    <a:pt x="754" y="202"/>
                  </a:lnTo>
                  <a:lnTo>
                    <a:pt x="753" y="209"/>
                  </a:lnTo>
                  <a:lnTo>
                    <a:pt x="752" y="217"/>
                  </a:lnTo>
                  <a:lnTo>
                    <a:pt x="753" y="230"/>
                  </a:lnTo>
                  <a:lnTo>
                    <a:pt x="758" y="245"/>
                  </a:lnTo>
                  <a:lnTo>
                    <a:pt x="764" y="258"/>
                  </a:lnTo>
                  <a:lnTo>
                    <a:pt x="772" y="273"/>
                  </a:lnTo>
                  <a:lnTo>
                    <a:pt x="788" y="298"/>
                  </a:lnTo>
                  <a:lnTo>
                    <a:pt x="800" y="319"/>
                  </a:lnTo>
                  <a:lnTo>
                    <a:pt x="800" y="422"/>
                  </a:lnTo>
                  <a:lnTo>
                    <a:pt x="813" y="439"/>
                  </a:lnTo>
                  <a:lnTo>
                    <a:pt x="825" y="459"/>
                  </a:lnTo>
                  <a:lnTo>
                    <a:pt x="830" y="470"/>
                  </a:lnTo>
                  <a:lnTo>
                    <a:pt x="833" y="481"/>
                  </a:lnTo>
                  <a:lnTo>
                    <a:pt x="836" y="493"/>
                  </a:lnTo>
                  <a:lnTo>
                    <a:pt x="837" y="506"/>
                  </a:lnTo>
                  <a:lnTo>
                    <a:pt x="836" y="518"/>
                  </a:lnTo>
                  <a:lnTo>
                    <a:pt x="834" y="529"/>
                  </a:lnTo>
                  <a:lnTo>
                    <a:pt x="832" y="539"/>
                  </a:lnTo>
                  <a:lnTo>
                    <a:pt x="828" y="550"/>
                  </a:lnTo>
                  <a:lnTo>
                    <a:pt x="820" y="567"/>
                  </a:lnTo>
                  <a:lnTo>
                    <a:pt x="809" y="585"/>
                  </a:lnTo>
                  <a:lnTo>
                    <a:pt x="800" y="601"/>
                  </a:lnTo>
                  <a:lnTo>
                    <a:pt x="790" y="617"/>
                  </a:lnTo>
                  <a:lnTo>
                    <a:pt x="788" y="625"/>
                  </a:lnTo>
                  <a:lnTo>
                    <a:pt x="785" y="632"/>
                  </a:lnTo>
                  <a:lnTo>
                    <a:pt x="782" y="642"/>
                  </a:lnTo>
                  <a:lnTo>
                    <a:pt x="782" y="650"/>
                  </a:lnTo>
                  <a:lnTo>
                    <a:pt x="792" y="666"/>
                  </a:lnTo>
                  <a:lnTo>
                    <a:pt x="800" y="686"/>
                  </a:lnTo>
                  <a:lnTo>
                    <a:pt x="800" y="698"/>
                  </a:lnTo>
                  <a:lnTo>
                    <a:pt x="797" y="706"/>
                  </a:lnTo>
                  <a:lnTo>
                    <a:pt x="793" y="714"/>
                  </a:lnTo>
                  <a:lnTo>
                    <a:pt x="789" y="718"/>
                  </a:lnTo>
                  <a:lnTo>
                    <a:pt x="782" y="722"/>
                  </a:lnTo>
                  <a:lnTo>
                    <a:pt x="776" y="724"/>
                  </a:lnTo>
                  <a:lnTo>
                    <a:pt x="768" y="726"/>
                  </a:lnTo>
                  <a:lnTo>
                    <a:pt x="760" y="726"/>
                  </a:lnTo>
                  <a:lnTo>
                    <a:pt x="742" y="726"/>
                  </a:lnTo>
                  <a:lnTo>
                    <a:pt x="724" y="726"/>
                  </a:lnTo>
                  <a:lnTo>
                    <a:pt x="716" y="727"/>
                  </a:lnTo>
                  <a:lnTo>
                    <a:pt x="706" y="728"/>
                  </a:lnTo>
                  <a:lnTo>
                    <a:pt x="698" y="731"/>
                  </a:lnTo>
                  <a:lnTo>
                    <a:pt x="692" y="735"/>
                  </a:lnTo>
                  <a:lnTo>
                    <a:pt x="685" y="740"/>
                  </a:lnTo>
                  <a:lnTo>
                    <a:pt x="678" y="746"/>
                  </a:lnTo>
                  <a:lnTo>
                    <a:pt x="674" y="752"/>
                  </a:lnTo>
                  <a:lnTo>
                    <a:pt x="670" y="759"/>
                  </a:lnTo>
                  <a:lnTo>
                    <a:pt x="666" y="772"/>
                  </a:lnTo>
                  <a:lnTo>
                    <a:pt x="664" y="786"/>
                  </a:lnTo>
                  <a:lnTo>
                    <a:pt x="662" y="800"/>
                  </a:lnTo>
                  <a:lnTo>
                    <a:pt x="661" y="815"/>
                  </a:lnTo>
                  <a:lnTo>
                    <a:pt x="658" y="822"/>
                  </a:lnTo>
                  <a:lnTo>
                    <a:pt x="657" y="828"/>
                  </a:lnTo>
                  <a:lnTo>
                    <a:pt x="653" y="836"/>
                  </a:lnTo>
                  <a:lnTo>
                    <a:pt x="649" y="843"/>
                  </a:lnTo>
                  <a:lnTo>
                    <a:pt x="636" y="862"/>
                  </a:lnTo>
                  <a:lnTo>
                    <a:pt x="625" y="883"/>
                  </a:lnTo>
                  <a:lnTo>
                    <a:pt x="620" y="895"/>
                  </a:lnTo>
                  <a:lnTo>
                    <a:pt x="617" y="907"/>
                  </a:lnTo>
                  <a:lnTo>
                    <a:pt x="615" y="920"/>
                  </a:lnTo>
                  <a:lnTo>
                    <a:pt x="613" y="934"/>
                  </a:lnTo>
                  <a:lnTo>
                    <a:pt x="615" y="947"/>
                  </a:lnTo>
                  <a:lnTo>
                    <a:pt x="616" y="960"/>
                  </a:lnTo>
                  <a:lnTo>
                    <a:pt x="619" y="971"/>
                  </a:lnTo>
                  <a:lnTo>
                    <a:pt x="621" y="982"/>
                  </a:lnTo>
                  <a:lnTo>
                    <a:pt x="629" y="1002"/>
                  </a:lnTo>
                  <a:lnTo>
                    <a:pt x="637" y="1018"/>
                  </a:lnTo>
                  <a:lnTo>
                    <a:pt x="646" y="1035"/>
                  </a:lnTo>
                  <a:lnTo>
                    <a:pt x="654" y="1051"/>
                  </a:lnTo>
                  <a:lnTo>
                    <a:pt x="657" y="1060"/>
                  </a:lnTo>
                  <a:lnTo>
                    <a:pt x="660" y="1068"/>
                  </a:lnTo>
                  <a:lnTo>
                    <a:pt x="661" y="1079"/>
                  </a:lnTo>
                  <a:lnTo>
                    <a:pt x="661" y="1090"/>
                  </a:lnTo>
                  <a:lnTo>
                    <a:pt x="661" y="1098"/>
                  </a:lnTo>
                  <a:lnTo>
                    <a:pt x="658" y="1103"/>
                  </a:lnTo>
                  <a:lnTo>
                    <a:pt x="656" y="1107"/>
                  </a:lnTo>
                  <a:lnTo>
                    <a:pt x="652" y="1110"/>
                  </a:lnTo>
                  <a:lnTo>
                    <a:pt x="648" y="1111"/>
                  </a:lnTo>
                  <a:lnTo>
                    <a:pt x="644" y="1114"/>
                  </a:lnTo>
                  <a:lnTo>
                    <a:pt x="640" y="1116"/>
                  </a:lnTo>
                  <a:lnTo>
                    <a:pt x="637" y="1120"/>
                  </a:lnTo>
                  <a:lnTo>
                    <a:pt x="624" y="1155"/>
                  </a:lnTo>
                  <a:lnTo>
                    <a:pt x="611" y="1182"/>
                  </a:lnTo>
                  <a:lnTo>
                    <a:pt x="605" y="1191"/>
                  </a:lnTo>
                  <a:lnTo>
                    <a:pt x="599" y="1200"/>
                  </a:lnTo>
                  <a:lnTo>
                    <a:pt x="593" y="1207"/>
                  </a:lnTo>
                  <a:lnTo>
                    <a:pt x="585" y="1213"/>
                  </a:lnTo>
                  <a:lnTo>
                    <a:pt x="579" y="1219"/>
                  </a:lnTo>
                  <a:lnTo>
                    <a:pt x="571" y="1223"/>
                  </a:lnTo>
                  <a:lnTo>
                    <a:pt x="561" y="1227"/>
                  </a:lnTo>
                  <a:lnTo>
                    <a:pt x="551" y="1232"/>
                  </a:lnTo>
                  <a:lnTo>
                    <a:pt x="525" y="1240"/>
                  </a:lnTo>
                  <a:lnTo>
                    <a:pt x="493" y="1252"/>
                  </a:lnTo>
                  <a:lnTo>
                    <a:pt x="479" y="1256"/>
                  </a:lnTo>
                  <a:lnTo>
                    <a:pt x="465" y="1261"/>
                  </a:lnTo>
                  <a:lnTo>
                    <a:pt x="453" y="1268"/>
                  </a:lnTo>
                  <a:lnTo>
                    <a:pt x="443" y="1276"/>
                  </a:lnTo>
                  <a:lnTo>
                    <a:pt x="431" y="1283"/>
                  </a:lnTo>
                  <a:lnTo>
                    <a:pt x="419" y="1288"/>
                  </a:lnTo>
                  <a:lnTo>
                    <a:pt x="412" y="1291"/>
                  </a:lnTo>
                  <a:lnTo>
                    <a:pt x="405" y="1293"/>
                  </a:lnTo>
                  <a:lnTo>
                    <a:pt x="399" y="1293"/>
                  </a:lnTo>
                  <a:lnTo>
                    <a:pt x="391" y="1295"/>
                  </a:lnTo>
                  <a:lnTo>
                    <a:pt x="383" y="1293"/>
                  </a:lnTo>
                  <a:lnTo>
                    <a:pt x="375" y="1289"/>
                  </a:lnTo>
                  <a:lnTo>
                    <a:pt x="367" y="1285"/>
                  </a:lnTo>
                  <a:lnTo>
                    <a:pt x="360" y="1279"/>
                  </a:lnTo>
                  <a:lnTo>
                    <a:pt x="352" y="1273"/>
                  </a:lnTo>
                  <a:lnTo>
                    <a:pt x="344" y="1269"/>
                  </a:lnTo>
                  <a:lnTo>
                    <a:pt x="335" y="1265"/>
                  </a:lnTo>
                  <a:lnTo>
                    <a:pt x="324" y="1264"/>
                  </a:lnTo>
                  <a:lnTo>
                    <a:pt x="315" y="1264"/>
                  </a:lnTo>
                  <a:lnTo>
                    <a:pt x="312" y="1264"/>
                  </a:lnTo>
                  <a:lnTo>
                    <a:pt x="311" y="1264"/>
                  </a:lnTo>
                  <a:lnTo>
                    <a:pt x="300" y="1264"/>
                  </a:lnTo>
                  <a:lnTo>
                    <a:pt x="293" y="1264"/>
                  </a:lnTo>
                  <a:lnTo>
                    <a:pt x="283" y="1261"/>
                  </a:lnTo>
                  <a:lnTo>
                    <a:pt x="279" y="1259"/>
                  </a:lnTo>
                  <a:lnTo>
                    <a:pt x="275" y="1253"/>
                  </a:lnTo>
                  <a:lnTo>
                    <a:pt x="272" y="1248"/>
                  </a:lnTo>
                  <a:lnTo>
                    <a:pt x="271" y="1240"/>
                  </a:lnTo>
                  <a:lnTo>
                    <a:pt x="271" y="1232"/>
                  </a:lnTo>
                  <a:lnTo>
                    <a:pt x="273" y="1225"/>
                  </a:lnTo>
                  <a:lnTo>
                    <a:pt x="276" y="1220"/>
                  </a:lnTo>
                  <a:lnTo>
                    <a:pt x="280" y="1215"/>
                  </a:lnTo>
                  <a:lnTo>
                    <a:pt x="289" y="1210"/>
                  </a:lnTo>
                  <a:lnTo>
                    <a:pt x="300" y="1204"/>
                  </a:lnTo>
                  <a:lnTo>
                    <a:pt x="312" y="1200"/>
                  </a:lnTo>
                  <a:lnTo>
                    <a:pt x="321" y="1195"/>
                  </a:lnTo>
                  <a:lnTo>
                    <a:pt x="325" y="1192"/>
                  </a:lnTo>
                  <a:lnTo>
                    <a:pt x="328" y="1187"/>
                  </a:lnTo>
                  <a:lnTo>
                    <a:pt x="329" y="1182"/>
                  </a:lnTo>
                  <a:lnTo>
                    <a:pt x="331" y="1174"/>
                  </a:lnTo>
                  <a:lnTo>
                    <a:pt x="331" y="1171"/>
                  </a:lnTo>
                  <a:lnTo>
                    <a:pt x="329" y="1168"/>
                  </a:lnTo>
                  <a:lnTo>
                    <a:pt x="327" y="1166"/>
                  </a:lnTo>
                  <a:lnTo>
                    <a:pt x="324" y="1164"/>
                  </a:lnTo>
                  <a:lnTo>
                    <a:pt x="317" y="1163"/>
                  </a:lnTo>
                  <a:lnTo>
                    <a:pt x="308" y="1162"/>
                  </a:lnTo>
                  <a:lnTo>
                    <a:pt x="289" y="1162"/>
                  </a:lnTo>
                  <a:lnTo>
                    <a:pt x="276" y="1162"/>
                  </a:lnTo>
                  <a:lnTo>
                    <a:pt x="267" y="1154"/>
                  </a:lnTo>
                  <a:lnTo>
                    <a:pt x="251" y="1135"/>
                  </a:lnTo>
                  <a:lnTo>
                    <a:pt x="235" y="1116"/>
                  </a:lnTo>
                  <a:lnTo>
                    <a:pt x="228" y="1108"/>
                  </a:lnTo>
                  <a:lnTo>
                    <a:pt x="220" y="1119"/>
                  </a:lnTo>
                  <a:lnTo>
                    <a:pt x="212" y="1127"/>
                  </a:lnTo>
                  <a:lnTo>
                    <a:pt x="208" y="1130"/>
                  </a:lnTo>
                  <a:lnTo>
                    <a:pt x="204" y="1131"/>
                  </a:lnTo>
                  <a:lnTo>
                    <a:pt x="199" y="1131"/>
                  </a:lnTo>
                  <a:lnTo>
                    <a:pt x="192" y="1132"/>
                  </a:lnTo>
                  <a:lnTo>
                    <a:pt x="185" y="1131"/>
                  </a:lnTo>
                  <a:lnTo>
                    <a:pt x="181" y="1128"/>
                  </a:lnTo>
                  <a:lnTo>
                    <a:pt x="177" y="1123"/>
                  </a:lnTo>
                  <a:lnTo>
                    <a:pt x="173" y="1118"/>
                  </a:lnTo>
                  <a:lnTo>
                    <a:pt x="168" y="1103"/>
                  </a:lnTo>
                  <a:lnTo>
                    <a:pt x="164" y="1087"/>
                  </a:lnTo>
                  <a:lnTo>
                    <a:pt x="159" y="1070"/>
                  </a:lnTo>
                  <a:lnTo>
                    <a:pt x="152" y="1056"/>
                  </a:lnTo>
                  <a:lnTo>
                    <a:pt x="147" y="1050"/>
                  </a:lnTo>
                  <a:lnTo>
                    <a:pt x="141" y="1046"/>
                  </a:lnTo>
                  <a:lnTo>
                    <a:pt x="135" y="1043"/>
                  </a:lnTo>
                  <a:lnTo>
                    <a:pt x="125" y="1042"/>
                  </a:lnTo>
                  <a:lnTo>
                    <a:pt x="117" y="1043"/>
                  </a:lnTo>
                  <a:lnTo>
                    <a:pt x="109" y="1046"/>
                  </a:lnTo>
                  <a:lnTo>
                    <a:pt x="103" y="1050"/>
                  </a:lnTo>
                  <a:lnTo>
                    <a:pt x="96" y="1054"/>
                  </a:lnTo>
                  <a:lnTo>
                    <a:pt x="89" y="1058"/>
                  </a:lnTo>
                  <a:lnTo>
                    <a:pt x="81" y="1062"/>
                  </a:lnTo>
                  <a:lnTo>
                    <a:pt x="75" y="1064"/>
                  </a:lnTo>
                  <a:lnTo>
                    <a:pt x="65" y="1066"/>
                  </a:lnTo>
                  <a:lnTo>
                    <a:pt x="59" y="1064"/>
                  </a:lnTo>
                  <a:lnTo>
                    <a:pt x="52" y="1063"/>
                  </a:lnTo>
                  <a:lnTo>
                    <a:pt x="44" y="1060"/>
                  </a:lnTo>
                  <a:lnTo>
                    <a:pt x="37" y="1056"/>
                  </a:lnTo>
                  <a:lnTo>
                    <a:pt x="29" y="1054"/>
                  </a:lnTo>
                  <a:lnTo>
                    <a:pt x="20" y="1051"/>
                  </a:lnTo>
                  <a:lnTo>
                    <a:pt x="11" y="1048"/>
                  </a:lnTo>
                  <a:lnTo>
                    <a:pt x="0" y="1047"/>
                  </a:lnTo>
                  <a:lnTo>
                    <a:pt x="0" y="1011"/>
                  </a:lnTo>
                  <a:lnTo>
                    <a:pt x="12" y="1003"/>
                  </a:lnTo>
                  <a:lnTo>
                    <a:pt x="23" y="992"/>
                  </a:lnTo>
                  <a:lnTo>
                    <a:pt x="32" y="983"/>
                  </a:lnTo>
                  <a:lnTo>
                    <a:pt x="40" y="971"/>
                  </a:lnTo>
                  <a:lnTo>
                    <a:pt x="45" y="959"/>
                  </a:lnTo>
                  <a:lnTo>
                    <a:pt x="51" y="944"/>
                  </a:lnTo>
                  <a:lnTo>
                    <a:pt x="53" y="928"/>
                  </a:lnTo>
                  <a:lnTo>
                    <a:pt x="53" y="910"/>
                  </a:lnTo>
                  <a:lnTo>
                    <a:pt x="45" y="879"/>
                  </a:lnTo>
                  <a:lnTo>
                    <a:pt x="29" y="826"/>
                  </a:lnTo>
                  <a:lnTo>
                    <a:pt x="19" y="799"/>
                  </a:lnTo>
                  <a:lnTo>
                    <a:pt x="11" y="775"/>
                  </a:lnTo>
                  <a:lnTo>
                    <a:pt x="4" y="759"/>
                  </a:lnTo>
                  <a:lnTo>
                    <a:pt x="0" y="752"/>
                  </a:lnTo>
                  <a:lnTo>
                    <a:pt x="8" y="740"/>
                  </a:lnTo>
                  <a:lnTo>
                    <a:pt x="15" y="726"/>
                  </a:lnTo>
                  <a:lnTo>
                    <a:pt x="20" y="710"/>
                  </a:lnTo>
                  <a:lnTo>
                    <a:pt x="24" y="694"/>
                  </a:lnTo>
                  <a:lnTo>
                    <a:pt x="27" y="676"/>
                  </a:lnTo>
                  <a:lnTo>
                    <a:pt x="28" y="659"/>
                  </a:lnTo>
                  <a:lnTo>
                    <a:pt x="29" y="642"/>
                  </a:lnTo>
                  <a:lnTo>
                    <a:pt x="29" y="626"/>
                  </a:lnTo>
                  <a:lnTo>
                    <a:pt x="29" y="618"/>
                  </a:lnTo>
                  <a:lnTo>
                    <a:pt x="31" y="611"/>
                  </a:lnTo>
                  <a:lnTo>
                    <a:pt x="33" y="606"/>
                  </a:lnTo>
                  <a:lnTo>
                    <a:pt x="36" y="601"/>
                  </a:lnTo>
                  <a:lnTo>
                    <a:pt x="39" y="598"/>
                  </a:lnTo>
                  <a:lnTo>
                    <a:pt x="41" y="595"/>
                  </a:lnTo>
                  <a:lnTo>
                    <a:pt x="45" y="593"/>
                  </a:lnTo>
                  <a:lnTo>
                    <a:pt x="49" y="591"/>
                  </a:lnTo>
                  <a:lnTo>
                    <a:pt x="68" y="589"/>
                  </a:lnTo>
                  <a:lnTo>
                    <a:pt x="84" y="585"/>
                  </a:lnTo>
                  <a:lnTo>
                    <a:pt x="87" y="581"/>
                  </a:lnTo>
                  <a:lnTo>
                    <a:pt x="89" y="575"/>
                  </a:lnTo>
                  <a:lnTo>
                    <a:pt x="91" y="570"/>
                  </a:lnTo>
                  <a:lnTo>
                    <a:pt x="92" y="563"/>
                  </a:lnTo>
                  <a:lnTo>
                    <a:pt x="95" y="550"/>
                  </a:lnTo>
                  <a:lnTo>
                    <a:pt x="95" y="535"/>
                  </a:lnTo>
                  <a:lnTo>
                    <a:pt x="96" y="522"/>
                  </a:lnTo>
                  <a:lnTo>
                    <a:pt x="96" y="507"/>
                  </a:lnTo>
                  <a:lnTo>
                    <a:pt x="99" y="497"/>
                  </a:lnTo>
                  <a:lnTo>
                    <a:pt x="101" y="487"/>
                  </a:lnTo>
                  <a:lnTo>
                    <a:pt x="109" y="478"/>
                  </a:lnTo>
                  <a:lnTo>
                    <a:pt x="120" y="470"/>
                  </a:lnTo>
                  <a:lnTo>
                    <a:pt x="131" y="463"/>
                  </a:lnTo>
                  <a:lnTo>
                    <a:pt x="144" y="458"/>
                  </a:lnTo>
                  <a:lnTo>
                    <a:pt x="171" y="449"/>
                  </a:lnTo>
                  <a:lnTo>
                    <a:pt x="199" y="441"/>
                  </a:lnTo>
                  <a:lnTo>
                    <a:pt x="211" y="437"/>
                  </a:lnTo>
                  <a:lnTo>
                    <a:pt x="221" y="433"/>
                  </a:lnTo>
                  <a:lnTo>
                    <a:pt x="232" y="427"/>
                  </a:lnTo>
                  <a:lnTo>
                    <a:pt x="239" y="422"/>
                  </a:lnTo>
                  <a:lnTo>
                    <a:pt x="241" y="418"/>
                  </a:lnTo>
                  <a:lnTo>
                    <a:pt x="244" y="415"/>
                  </a:lnTo>
                  <a:lnTo>
                    <a:pt x="245" y="411"/>
                  </a:lnTo>
                  <a:lnTo>
                    <a:pt x="247" y="406"/>
                  </a:lnTo>
                  <a:lnTo>
                    <a:pt x="247" y="402"/>
                  </a:lnTo>
                  <a:lnTo>
                    <a:pt x="245" y="397"/>
                  </a:lnTo>
                  <a:lnTo>
                    <a:pt x="243" y="391"/>
                  </a:lnTo>
                  <a:lnTo>
                    <a:pt x="240" y="385"/>
                  </a:lnTo>
                  <a:lnTo>
                    <a:pt x="225" y="349"/>
                  </a:lnTo>
                  <a:lnTo>
                    <a:pt x="213" y="313"/>
                  </a:lnTo>
                  <a:lnTo>
                    <a:pt x="211" y="306"/>
                  </a:lnTo>
                  <a:lnTo>
                    <a:pt x="207" y="298"/>
                  </a:lnTo>
                  <a:lnTo>
                    <a:pt x="203" y="293"/>
                  </a:lnTo>
                  <a:lnTo>
                    <a:pt x="199" y="287"/>
                  </a:lnTo>
                  <a:lnTo>
                    <a:pt x="193" y="283"/>
                  </a:lnTo>
                  <a:lnTo>
                    <a:pt x="188" y="279"/>
                  </a:lnTo>
                  <a:lnTo>
                    <a:pt x="181" y="278"/>
                  </a:lnTo>
                  <a:lnTo>
                    <a:pt x="175" y="277"/>
                  </a:lnTo>
                  <a:lnTo>
                    <a:pt x="167" y="278"/>
                  </a:lnTo>
                  <a:lnTo>
                    <a:pt x="161" y="281"/>
                  </a:lnTo>
                  <a:lnTo>
                    <a:pt x="157" y="285"/>
                  </a:lnTo>
                  <a:lnTo>
                    <a:pt x="155" y="289"/>
                  </a:lnTo>
                  <a:lnTo>
                    <a:pt x="152" y="293"/>
                  </a:lnTo>
                  <a:lnTo>
                    <a:pt x="151" y="297"/>
                  </a:lnTo>
                  <a:lnTo>
                    <a:pt x="148" y="299"/>
                  </a:lnTo>
                  <a:lnTo>
                    <a:pt x="144" y="301"/>
                  </a:lnTo>
                  <a:lnTo>
                    <a:pt x="136" y="299"/>
                  </a:lnTo>
                  <a:lnTo>
                    <a:pt x="129" y="297"/>
                  </a:lnTo>
                  <a:lnTo>
                    <a:pt x="124" y="291"/>
                  </a:lnTo>
                  <a:lnTo>
                    <a:pt x="120" y="285"/>
                  </a:lnTo>
                  <a:lnTo>
                    <a:pt x="117" y="278"/>
                  </a:lnTo>
                  <a:lnTo>
                    <a:pt x="115" y="270"/>
                  </a:lnTo>
                  <a:lnTo>
                    <a:pt x="115" y="265"/>
                  </a:lnTo>
                  <a:lnTo>
                    <a:pt x="113" y="259"/>
                  </a:lnTo>
                  <a:lnTo>
                    <a:pt x="115" y="251"/>
                  </a:lnTo>
                  <a:lnTo>
                    <a:pt x="116" y="245"/>
                  </a:lnTo>
                  <a:lnTo>
                    <a:pt x="120" y="239"/>
                  </a:lnTo>
                  <a:lnTo>
                    <a:pt x="124" y="233"/>
                  </a:lnTo>
                  <a:lnTo>
                    <a:pt x="133" y="223"/>
                  </a:lnTo>
                  <a:lnTo>
                    <a:pt x="143" y="213"/>
                  </a:lnTo>
                  <a:lnTo>
                    <a:pt x="147" y="206"/>
                  </a:lnTo>
                  <a:lnTo>
                    <a:pt x="151" y="199"/>
                  </a:lnTo>
                  <a:lnTo>
                    <a:pt x="153" y="193"/>
                  </a:lnTo>
                  <a:lnTo>
                    <a:pt x="155" y="185"/>
                  </a:lnTo>
                  <a:lnTo>
                    <a:pt x="155" y="175"/>
                  </a:lnTo>
                  <a:lnTo>
                    <a:pt x="153" y="165"/>
                  </a:lnTo>
                  <a:lnTo>
                    <a:pt x="149" y="153"/>
                  </a:lnTo>
                  <a:lnTo>
                    <a:pt x="144" y="138"/>
                  </a:lnTo>
                  <a:lnTo>
                    <a:pt x="152" y="121"/>
                  </a:lnTo>
                  <a:lnTo>
                    <a:pt x="164" y="99"/>
                  </a:lnTo>
                  <a:lnTo>
                    <a:pt x="177" y="75"/>
                  </a:lnTo>
                  <a:lnTo>
                    <a:pt x="193" y="53"/>
                  </a:lnTo>
                  <a:lnTo>
                    <a:pt x="201" y="42"/>
                  </a:lnTo>
                  <a:lnTo>
                    <a:pt x="209" y="33"/>
                  </a:lnTo>
                  <a:lnTo>
                    <a:pt x="219" y="24"/>
                  </a:lnTo>
                  <a:lnTo>
                    <a:pt x="228" y="16"/>
                  </a:lnTo>
                  <a:lnTo>
                    <a:pt x="237" y="9"/>
                  </a:lnTo>
                  <a:lnTo>
                    <a:pt x="247" y="4"/>
                  </a:lnTo>
                  <a:lnTo>
                    <a:pt x="255" y="1"/>
                  </a:lnTo>
                  <a:lnTo>
                    <a:pt x="264" y="0"/>
                  </a:lnTo>
                  <a:lnTo>
                    <a:pt x="271" y="1"/>
                  </a:lnTo>
                  <a:lnTo>
                    <a:pt x="276" y="4"/>
                  </a:lnTo>
                  <a:lnTo>
                    <a:pt x="280" y="9"/>
                  </a:lnTo>
                  <a:lnTo>
                    <a:pt x="283" y="14"/>
                  </a:lnTo>
                  <a:lnTo>
                    <a:pt x="285" y="21"/>
                  </a:lnTo>
                  <a:lnTo>
                    <a:pt x="287" y="28"/>
                  </a:lnTo>
                  <a:lnTo>
                    <a:pt x="288" y="36"/>
                  </a:lnTo>
                  <a:lnTo>
                    <a:pt x="288" y="42"/>
                  </a:lnTo>
                  <a:lnTo>
                    <a:pt x="288" y="50"/>
                  </a:lnTo>
                  <a:lnTo>
                    <a:pt x="285" y="57"/>
                  </a:lnTo>
                  <a:lnTo>
                    <a:pt x="281" y="63"/>
                  </a:lnTo>
                  <a:lnTo>
                    <a:pt x="276" y="67"/>
                  </a:lnTo>
                  <a:lnTo>
                    <a:pt x="272" y="71"/>
                  </a:lnTo>
                  <a:lnTo>
                    <a:pt x="268" y="75"/>
                  </a:lnTo>
                  <a:lnTo>
                    <a:pt x="265" y="79"/>
                  </a:lnTo>
                  <a:lnTo>
                    <a:pt x="264" y="85"/>
                  </a:lnTo>
                  <a:lnTo>
                    <a:pt x="267" y="89"/>
                  </a:lnTo>
                  <a:lnTo>
                    <a:pt x="272" y="95"/>
                  </a:lnTo>
                  <a:lnTo>
                    <a:pt x="280" y="102"/>
                  </a:lnTo>
                  <a:lnTo>
                    <a:pt x="291" y="109"/>
                  </a:lnTo>
                  <a:lnTo>
                    <a:pt x="320" y="123"/>
                  </a:lnTo>
                  <a:lnTo>
                    <a:pt x="353" y="138"/>
                  </a:lnTo>
                  <a:lnTo>
                    <a:pt x="388" y="153"/>
                  </a:lnTo>
                  <a:lnTo>
                    <a:pt x="421" y="163"/>
                  </a:lnTo>
                  <a:lnTo>
                    <a:pt x="437" y="169"/>
                  </a:lnTo>
                  <a:lnTo>
                    <a:pt x="451" y="171"/>
                  </a:lnTo>
                  <a:lnTo>
                    <a:pt x="461" y="174"/>
                  </a:lnTo>
                  <a:lnTo>
                    <a:pt x="469" y="174"/>
                  </a:lnTo>
                  <a:lnTo>
                    <a:pt x="477" y="174"/>
                  </a:lnTo>
                  <a:lnTo>
                    <a:pt x="487" y="171"/>
                  </a:lnTo>
                  <a:lnTo>
                    <a:pt x="495" y="169"/>
                  </a:lnTo>
                  <a:lnTo>
                    <a:pt x="503" y="166"/>
                  </a:lnTo>
                  <a:lnTo>
                    <a:pt x="511" y="162"/>
                  </a:lnTo>
                  <a:lnTo>
                    <a:pt x="519" y="159"/>
                  </a:lnTo>
                  <a:lnTo>
                    <a:pt x="527" y="157"/>
                  </a:lnTo>
                  <a:lnTo>
                    <a:pt x="536" y="157"/>
                  </a:lnTo>
                  <a:lnTo>
                    <a:pt x="545" y="157"/>
                  </a:lnTo>
                  <a:lnTo>
                    <a:pt x="555" y="158"/>
                  </a:lnTo>
                  <a:lnTo>
                    <a:pt x="564" y="161"/>
                  </a:lnTo>
                  <a:lnTo>
                    <a:pt x="572" y="163"/>
                  </a:lnTo>
                  <a:lnTo>
                    <a:pt x="588" y="169"/>
                  </a:lnTo>
                  <a:lnTo>
                    <a:pt x="604" y="175"/>
                  </a:lnTo>
                  <a:lnTo>
                    <a:pt x="619" y="182"/>
                  </a:lnTo>
                  <a:lnTo>
                    <a:pt x="634" y="187"/>
                  </a:lnTo>
                  <a:lnTo>
                    <a:pt x="642" y="189"/>
                  </a:lnTo>
                  <a:lnTo>
                    <a:pt x="650" y="189"/>
                  </a:lnTo>
                  <a:lnTo>
                    <a:pt x="658" y="189"/>
                  </a:lnTo>
                  <a:lnTo>
                    <a:pt x="668" y="186"/>
                  </a:lnTo>
                  <a:lnTo>
                    <a:pt x="686" y="181"/>
                  </a:lnTo>
                  <a:lnTo>
                    <a:pt x="701" y="174"/>
                  </a:lnTo>
                  <a:lnTo>
                    <a:pt x="713" y="169"/>
                  </a:lnTo>
                  <a:lnTo>
                    <a:pt x="724" y="163"/>
                  </a:lnTo>
                  <a:lnTo>
                    <a:pt x="732" y="157"/>
                  </a:lnTo>
                  <a:lnTo>
                    <a:pt x="738" y="149"/>
                  </a:lnTo>
                  <a:lnTo>
                    <a:pt x="745" y="138"/>
                  </a:lnTo>
                  <a:lnTo>
                    <a:pt x="752" y="126"/>
                  </a:lnTo>
                  <a:lnTo>
                    <a:pt x="776" y="9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1" name="Freeform 47"/>
            <p:cNvSpPr>
              <a:spLocks/>
            </p:cNvSpPr>
            <p:nvPr/>
          </p:nvSpPr>
          <p:spPr bwMode="auto">
            <a:xfrm>
              <a:off x="2608584" y="4924425"/>
              <a:ext cx="439738" cy="315912"/>
            </a:xfrm>
            <a:custGeom>
              <a:avLst/>
              <a:gdLst/>
              <a:ahLst/>
              <a:cxnLst>
                <a:cxn ang="0">
                  <a:pos x="858" y="601"/>
                </a:cxn>
                <a:cxn ang="0">
                  <a:pos x="822" y="605"/>
                </a:cxn>
                <a:cxn ang="0">
                  <a:pos x="805" y="628"/>
                </a:cxn>
                <a:cxn ang="0">
                  <a:pos x="773" y="632"/>
                </a:cxn>
                <a:cxn ang="0">
                  <a:pos x="633" y="632"/>
                </a:cxn>
                <a:cxn ang="0">
                  <a:pos x="545" y="633"/>
                </a:cxn>
                <a:cxn ang="0">
                  <a:pos x="517" y="645"/>
                </a:cxn>
                <a:cxn ang="0">
                  <a:pos x="482" y="614"/>
                </a:cxn>
                <a:cxn ang="0">
                  <a:pos x="457" y="602"/>
                </a:cxn>
                <a:cxn ang="0">
                  <a:pos x="434" y="605"/>
                </a:cxn>
                <a:cxn ang="0">
                  <a:pos x="402" y="626"/>
                </a:cxn>
                <a:cxn ang="0">
                  <a:pos x="378" y="638"/>
                </a:cxn>
                <a:cxn ang="0">
                  <a:pos x="361" y="630"/>
                </a:cxn>
                <a:cxn ang="0">
                  <a:pos x="286" y="632"/>
                </a:cxn>
                <a:cxn ang="0">
                  <a:pos x="237" y="625"/>
                </a:cxn>
                <a:cxn ang="0">
                  <a:pos x="165" y="600"/>
                </a:cxn>
                <a:cxn ang="0">
                  <a:pos x="113" y="590"/>
                </a:cxn>
                <a:cxn ang="0">
                  <a:pos x="128" y="504"/>
                </a:cxn>
                <a:cxn ang="0">
                  <a:pos x="132" y="459"/>
                </a:cxn>
                <a:cxn ang="0">
                  <a:pos x="88" y="445"/>
                </a:cxn>
                <a:cxn ang="0">
                  <a:pos x="63" y="435"/>
                </a:cxn>
                <a:cxn ang="0">
                  <a:pos x="53" y="412"/>
                </a:cxn>
                <a:cxn ang="0">
                  <a:pos x="16" y="407"/>
                </a:cxn>
                <a:cxn ang="0">
                  <a:pos x="20" y="355"/>
                </a:cxn>
                <a:cxn ang="0">
                  <a:pos x="91" y="275"/>
                </a:cxn>
                <a:cxn ang="0">
                  <a:pos x="132" y="217"/>
                </a:cxn>
                <a:cxn ang="0">
                  <a:pos x="144" y="173"/>
                </a:cxn>
                <a:cxn ang="0">
                  <a:pos x="136" y="67"/>
                </a:cxn>
                <a:cxn ang="0">
                  <a:pos x="152" y="41"/>
                </a:cxn>
                <a:cxn ang="0">
                  <a:pos x="183" y="29"/>
                </a:cxn>
                <a:cxn ang="0">
                  <a:pos x="211" y="4"/>
                </a:cxn>
                <a:cxn ang="0">
                  <a:pos x="241" y="1"/>
                </a:cxn>
                <a:cxn ang="0">
                  <a:pos x="310" y="31"/>
                </a:cxn>
                <a:cxn ang="0">
                  <a:pos x="404" y="88"/>
                </a:cxn>
                <a:cxn ang="0">
                  <a:pos x="438" y="96"/>
                </a:cxn>
                <a:cxn ang="0">
                  <a:pos x="461" y="83"/>
                </a:cxn>
                <a:cxn ang="0">
                  <a:pos x="490" y="59"/>
                </a:cxn>
                <a:cxn ang="0">
                  <a:pos x="517" y="56"/>
                </a:cxn>
                <a:cxn ang="0">
                  <a:pos x="553" y="91"/>
                </a:cxn>
                <a:cxn ang="0">
                  <a:pos x="554" y="160"/>
                </a:cxn>
                <a:cxn ang="0">
                  <a:pos x="576" y="193"/>
                </a:cxn>
                <a:cxn ang="0">
                  <a:pos x="605" y="239"/>
                </a:cxn>
                <a:cxn ang="0">
                  <a:pos x="602" y="276"/>
                </a:cxn>
                <a:cxn ang="0">
                  <a:pos x="609" y="293"/>
                </a:cxn>
                <a:cxn ang="0">
                  <a:pos x="636" y="307"/>
                </a:cxn>
                <a:cxn ang="0">
                  <a:pos x="686" y="312"/>
                </a:cxn>
                <a:cxn ang="0">
                  <a:pos x="741" y="323"/>
                </a:cxn>
                <a:cxn ang="0">
                  <a:pos x="770" y="352"/>
                </a:cxn>
                <a:cxn ang="0">
                  <a:pos x="820" y="436"/>
                </a:cxn>
                <a:cxn ang="0">
                  <a:pos x="857" y="455"/>
                </a:cxn>
                <a:cxn ang="0">
                  <a:pos x="882" y="483"/>
                </a:cxn>
                <a:cxn ang="0">
                  <a:pos x="889" y="540"/>
                </a:cxn>
                <a:cxn ang="0">
                  <a:pos x="904" y="568"/>
                </a:cxn>
              </a:cxnLst>
              <a:rect l="0" t="0" r="r" b="b"/>
              <a:pathLst>
                <a:path w="909" h="650">
                  <a:moveTo>
                    <a:pt x="909" y="584"/>
                  </a:moveTo>
                  <a:lnTo>
                    <a:pt x="888" y="593"/>
                  </a:lnTo>
                  <a:lnTo>
                    <a:pt x="869" y="600"/>
                  </a:lnTo>
                  <a:lnTo>
                    <a:pt x="858" y="601"/>
                  </a:lnTo>
                  <a:lnTo>
                    <a:pt x="849" y="601"/>
                  </a:lnTo>
                  <a:lnTo>
                    <a:pt x="837" y="600"/>
                  </a:lnTo>
                  <a:lnTo>
                    <a:pt x="824" y="596"/>
                  </a:lnTo>
                  <a:lnTo>
                    <a:pt x="822" y="605"/>
                  </a:lnTo>
                  <a:lnTo>
                    <a:pt x="818" y="612"/>
                  </a:lnTo>
                  <a:lnTo>
                    <a:pt x="814" y="618"/>
                  </a:lnTo>
                  <a:lnTo>
                    <a:pt x="810" y="624"/>
                  </a:lnTo>
                  <a:lnTo>
                    <a:pt x="805" y="628"/>
                  </a:lnTo>
                  <a:lnTo>
                    <a:pt x="798" y="630"/>
                  </a:lnTo>
                  <a:lnTo>
                    <a:pt x="790" y="632"/>
                  </a:lnTo>
                  <a:lnTo>
                    <a:pt x="782" y="632"/>
                  </a:lnTo>
                  <a:lnTo>
                    <a:pt x="773" y="632"/>
                  </a:lnTo>
                  <a:lnTo>
                    <a:pt x="749" y="632"/>
                  </a:lnTo>
                  <a:lnTo>
                    <a:pt x="714" y="632"/>
                  </a:lnTo>
                  <a:lnTo>
                    <a:pt x="674" y="632"/>
                  </a:lnTo>
                  <a:lnTo>
                    <a:pt x="633" y="632"/>
                  </a:lnTo>
                  <a:lnTo>
                    <a:pt x="597" y="632"/>
                  </a:lnTo>
                  <a:lnTo>
                    <a:pt x="568" y="632"/>
                  </a:lnTo>
                  <a:lnTo>
                    <a:pt x="553" y="632"/>
                  </a:lnTo>
                  <a:lnTo>
                    <a:pt x="545" y="633"/>
                  </a:lnTo>
                  <a:lnTo>
                    <a:pt x="537" y="634"/>
                  </a:lnTo>
                  <a:lnTo>
                    <a:pt x="530" y="637"/>
                  </a:lnTo>
                  <a:lnTo>
                    <a:pt x="525" y="640"/>
                  </a:lnTo>
                  <a:lnTo>
                    <a:pt x="517" y="645"/>
                  </a:lnTo>
                  <a:lnTo>
                    <a:pt x="512" y="650"/>
                  </a:lnTo>
                  <a:lnTo>
                    <a:pt x="501" y="638"/>
                  </a:lnTo>
                  <a:lnTo>
                    <a:pt x="490" y="622"/>
                  </a:lnTo>
                  <a:lnTo>
                    <a:pt x="482" y="614"/>
                  </a:lnTo>
                  <a:lnTo>
                    <a:pt x="474" y="608"/>
                  </a:lnTo>
                  <a:lnTo>
                    <a:pt x="469" y="605"/>
                  </a:lnTo>
                  <a:lnTo>
                    <a:pt x="464" y="604"/>
                  </a:lnTo>
                  <a:lnTo>
                    <a:pt x="457" y="602"/>
                  </a:lnTo>
                  <a:lnTo>
                    <a:pt x="450" y="602"/>
                  </a:lnTo>
                  <a:lnTo>
                    <a:pt x="445" y="602"/>
                  </a:lnTo>
                  <a:lnTo>
                    <a:pt x="440" y="604"/>
                  </a:lnTo>
                  <a:lnTo>
                    <a:pt x="434" y="605"/>
                  </a:lnTo>
                  <a:lnTo>
                    <a:pt x="430" y="608"/>
                  </a:lnTo>
                  <a:lnTo>
                    <a:pt x="421" y="613"/>
                  </a:lnTo>
                  <a:lnTo>
                    <a:pt x="412" y="620"/>
                  </a:lnTo>
                  <a:lnTo>
                    <a:pt x="402" y="626"/>
                  </a:lnTo>
                  <a:lnTo>
                    <a:pt x="393" y="633"/>
                  </a:lnTo>
                  <a:lnTo>
                    <a:pt x="389" y="634"/>
                  </a:lnTo>
                  <a:lnTo>
                    <a:pt x="384" y="637"/>
                  </a:lnTo>
                  <a:lnTo>
                    <a:pt x="378" y="638"/>
                  </a:lnTo>
                  <a:lnTo>
                    <a:pt x="373" y="638"/>
                  </a:lnTo>
                  <a:lnTo>
                    <a:pt x="368" y="637"/>
                  </a:lnTo>
                  <a:lnTo>
                    <a:pt x="364" y="634"/>
                  </a:lnTo>
                  <a:lnTo>
                    <a:pt x="361" y="630"/>
                  </a:lnTo>
                  <a:lnTo>
                    <a:pt x="361" y="626"/>
                  </a:lnTo>
                  <a:lnTo>
                    <a:pt x="312" y="626"/>
                  </a:lnTo>
                  <a:lnTo>
                    <a:pt x="298" y="630"/>
                  </a:lnTo>
                  <a:lnTo>
                    <a:pt x="286" y="632"/>
                  </a:lnTo>
                  <a:lnTo>
                    <a:pt x="273" y="632"/>
                  </a:lnTo>
                  <a:lnTo>
                    <a:pt x="261" y="630"/>
                  </a:lnTo>
                  <a:lnTo>
                    <a:pt x="249" y="629"/>
                  </a:lnTo>
                  <a:lnTo>
                    <a:pt x="237" y="625"/>
                  </a:lnTo>
                  <a:lnTo>
                    <a:pt x="225" y="621"/>
                  </a:lnTo>
                  <a:lnTo>
                    <a:pt x="213" y="617"/>
                  </a:lnTo>
                  <a:lnTo>
                    <a:pt x="189" y="608"/>
                  </a:lnTo>
                  <a:lnTo>
                    <a:pt x="165" y="600"/>
                  </a:lnTo>
                  <a:lnTo>
                    <a:pt x="153" y="596"/>
                  </a:lnTo>
                  <a:lnTo>
                    <a:pt x="140" y="593"/>
                  </a:lnTo>
                  <a:lnTo>
                    <a:pt x="127" y="590"/>
                  </a:lnTo>
                  <a:lnTo>
                    <a:pt x="113" y="590"/>
                  </a:lnTo>
                  <a:lnTo>
                    <a:pt x="108" y="548"/>
                  </a:lnTo>
                  <a:lnTo>
                    <a:pt x="116" y="528"/>
                  </a:lnTo>
                  <a:lnTo>
                    <a:pt x="124" y="512"/>
                  </a:lnTo>
                  <a:lnTo>
                    <a:pt x="128" y="504"/>
                  </a:lnTo>
                  <a:lnTo>
                    <a:pt x="129" y="496"/>
                  </a:lnTo>
                  <a:lnTo>
                    <a:pt x="132" y="487"/>
                  </a:lnTo>
                  <a:lnTo>
                    <a:pt x="132" y="476"/>
                  </a:lnTo>
                  <a:lnTo>
                    <a:pt x="132" y="459"/>
                  </a:lnTo>
                  <a:lnTo>
                    <a:pt x="132" y="445"/>
                  </a:lnTo>
                  <a:lnTo>
                    <a:pt x="116" y="447"/>
                  </a:lnTo>
                  <a:lnTo>
                    <a:pt x="101" y="447"/>
                  </a:lnTo>
                  <a:lnTo>
                    <a:pt x="88" y="445"/>
                  </a:lnTo>
                  <a:lnTo>
                    <a:pt x="77" y="443"/>
                  </a:lnTo>
                  <a:lnTo>
                    <a:pt x="72" y="441"/>
                  </a:lnTo>
                  <a:lnTo>
                    <a:pt x="67" y="439"/>
                  </a:lnTo>
                  <a:lnTo>
                    <a:pt x="63" y="435"/>
                  </a:lnTo>
                  <a:lnTo>
                    <a:pt x="60" y="431"/>
                  </a:lnTo>
                  <a:lnTo>
                    <a:pt x="57" y="425"/>
                  </a:lnTo>
                  <a:lnTo>
                    <a:pt x="55" y="420"/>
                  </a:lnTo>
                  <a:lnTo>
                    <a:pt x="53" y="412"/>
                  </a:lnTo>
                  <a:lnTo>
                    <a:pt x="53" y="404"/>
                  </a:lnTo>
                  <a:lnTo>
                    <a:pt x="41" y="407"/>
                  </a:lnTo>
                  <a:lnTo>
                    <a:pt x="29" y="408"/>
                  </a:lnTo>
                  <a:lnTo>
                    <a:pt x="16" y="407"/>
                  </a:lnTo>
                  <a:lnTo>
                    <a:pt x="0" y="404"/>
                  </a:lnTo>
                  <a:lnTo>
                    <a:pt x="4" y="387"/>
                  </a:lnTo>
                  <a:lnTo>
                    <a:pt x="11" y="371"/>
                  </a:lnTo>
                  <a:lnTo>
                    <a:pt x="20" y="355"/>
                  </a:lnTo>
                  <a:lnTo>
                    <a:pt x="29" y="340"/>
                  </a:lnTo>
                  <a:lnTo>
                    <a:pt x="53" y="313"/>
                  </a:lnTo>
                  <a:lnTo>
                    <a:pt x="79" y="288"/>
                  </a:lnTo>
                  <a:lnTo>
                    <a:pt x="91" y="275"/>
                  </a:lnTo>
                  <a:lnTo>
                    <a:pt x="103" y="261"/>
                  </a:lnTo>
                  <a:lnTo>
                    <a:pt x="115" y="247"/>
                  </a:lnTo>
                  <a:lnTo>
                    <a:pt x="124" y="232"/>
                  </a:lnTo>
                  <a:lnTo>
                    <a:pt x="132" y="217"/>
                  </a:lnTo>
                  <a:lnTo>
                    <a:pt x="139" y="200"/>
                  </a:lnTo>
                  <a:lnTo>
                    <a:pt x="141" y="192"/>
                  </a:lnTo>
                  <a:lnTo>
                    <a:pt x="143" y="183"/>
                  </a:lnTo>
                  <a:lnTo>
                    <a:pt x="144" y="173"/>
                  </a:lnTo>
                  <a:lnTo>
                    <a:pt x="144" y="163"/>
                  </a:lnTo>
                  <a:lnTo>
                    <a:pt x="143" y="133"/>
                  </a:lnTo>
                  <a:lnTo>
                    <a:pt x="140" y="100"/>
                  </a:lnTo>
                  <a:lnTo>
                    <a:pt x="136" y="67"/>
                  </a:lnTo>
                  <a:lnTo>
                    <a:pt x="132" y="36"/>
                  </a:lnTo>
                  <a:lnTo>
                    <a:pt x="137" y="39"/>
                  </a:lnTo>
                  <a:lnTo>
                    <a:pt x="144" y="43"/>
                  </a:lnTo>
                  <a:lnTo>
                    <a:pt x="152" y="41"/>
                  </a:lnTo>
                  <a:lnTo>
                    <a:pt x="160" y="40"/>
                  </a:lnTo>
                  <a:lnTo>
                    <a:pt x="167" y="39"/>
                  </a:lnTo>
                  <a:lnTo>
                    <a:pt x="172" y="36"/>
                  </a:lnTo>
                  <a:lnTo>
                    <a:pt x="183" y="29"/>
                  </a:lnTo>
                  <a:lnTo>
                    <a:pt x="191" y="21"/>
                  </a:lnTo>
                  <a:lnTo>
                    <a:pt x="199" y="13"/>
                  </a:lnTo>
                  <a:lnTo>
                    <a:pt x="207" y="7"/>
                  </a:lnTo>
                  <a:lnTo>
                    <a:pt x="211" y="4"/>
                  </a:lnTo>
                  <a:lnTo>
                    <a:pt x="216" y="1"/>
                  </a:lnTo>
                  <a:lnTo>
                    <a:pt x="221" y="0"/>
                  </a:lnTo>
                  <a:lnTo>
                    <a:pt x="228" y="0"/>
                  </a:lnTo>
                  <a:lnTo>
                    <a:pt x="241" y="1"/>
                  </a:lnTo>
                  <a:lnTo>
                    <a:pt x="255" y="4"/>
                  </a:lnTo>
                  <a:lnTo>
                    <a:pt x="268" y="9"/>
                  </a:lnTo>
                  <a:lnTo>
                    <a:pt x="282" y="15"/>
                  </a:lnTo>
                  <a:lnTo>
                    <a:pt x="310" y="31"/>
                  </a:lnTo>
                  <a:lnTo>
                    <a:pt x="340" y="48"/>
                  </a:lnTo>
                  <a:lnTo>
                    <a:pt x="366" y="65"/>
                  </a:lnTo>
                  <a:lnTo>
                    <a:pt x="392" y="81"/>
                  </a:lnTo>
                  <a:lnTo>
                    <a:pt x="404" y="88"/>
                  </a:lnTo>
                  <a:lnTo>
                    <a:pt x="414" y="92"/>
                  </a:lnTo>
                  <a:lnTo>
                    <a:pt x="424" y="96"/>
                  </a:lnTo>
                  <a:lnTo>
                    <a:pt x="433" y="96"/>
                  </a:lnTo>
                  <a:lnTo>
                    <a:pt x="438" y="96"/>
                  </a:lnTo>
                  <a:lnTo>
                    <a:pt x="444" y="95"/>
                  </a:lnTo>
                  <a:lnTo>
                    <a:pt x="448" y="92"/>
                  </a:lnTo>
                  <a:lnTo>
                    <a:pt x="453" y="89"/>
                  </a:lnTo>
                  <a:lnTo>
                    <a:pt x="461" y="83"/>
                  </a:lnTo>
                  <a:lnTo>
                    <a:pt x="469" y="76"/>
                  </a:lnTo>
                  <a:lnTo>
                    <a:pt x="477" y="68"/>
                  </a:lnTo>
                  <a:lnTo>
                    <a:pt x="485" y="61"/>
                  </a:lnTo>
                  <a:lnTo>
                    <a:pt x="490" y="59"/>
                  </a:lnTo>
                  <a:lnTo>
                    <a:pt x="494" y="56"/>
                  </a:lnTo>
                  <a:lnTo>
                    <a:pt x="500" y="55"/>
                  </a:lnTo>
                  <a:lnTo>
                    <a:pt x="505" y="55"/>
                  </a:lnTo>
                  <a:lnTo>
                    <a:pt x="517" y="56"/>
                  </a:lnTo>
                  <a:lnTo>
                    <a:pt x="529" y="59"/>
                  </a:lnTo>
                  <a:lnTo>
                    <a:pt x="541" y="61"/>
                  </a:lnTo>
                  <a:lnTo>
                    <a:pt x="553" y="67"/>
                  </a:lnTo>
                  <a:lnTo>
                    <a:pt x="553" y="91"/>
                  </a:lnTo>
                  <a:lnTo>
                    <a:pt x="553" y="111"/>
                  </a:lnTo>
                  <a:lnTo>
                    <a:pt x="553" y="128"/>
                  </a:lnTo>
                  <a:lnTo>
                    <a:pt x="553" y="145"/>
                  </a:lnTo>
                  <a:lnTo>
                    <a:pt x="554" y="160"/>
                  </a:lnTo>
                  <a:lnTo>
                    <a:pt x="557" y="172"/>
                  </a:lnTo>
                  <a:lnTo>
                    <a:pt x="562" y="180"/>
                  </a:lnTo>
                  <a:lnTo>
                    <a:pt x="568" y="187"/>
                  </a:lnTo>
                  <a:lnTo>
                    <a:pt x="576" y="193"/>
                  </a:lnTo>
                  <a:lnTo>
                    <a:pt x="584" y="203"/>
                  </a:lnTo>
                  <a:lnTo>
                    <a:pt x="593" y="213"/>
                  </a:lnTo>
                  <a:lnTo>
                    <a:pt x="601" y="229"/>
                  </a:lnTo>
                  <a:lnTo>
                    <a:pt x="605" y="239"/>
                  </a:lnTo>
                  <a:lnTo>
                    <a:pt x="605" y="248"/>
                  </a:lnTo>
                  <a:lnTo>
                    <a:pt x="604" y="257"/>
                  </a:lnTo>
                  <a:lnTo>
                    <a:pt x="602" y="267"/>
                  </a:lnTo>
                  <a:lnTo>
                    <a:pt x="602" y="276"/>
                  </a:lnTo>
                  <a:lnTo>
                    <a:pt x="604" y="283"/>
                  </a:lnTo>
                  <a:lnTo>
                    <a:pt x="605" y="287"/>
                  </a:lnTo>
                  <a:lnTo>
                    <a:pt x="606" y="289"/>
                  </a:lnTo>
                  <a:lnTo>
                    <a:pt x="609" y="293"/>
                  </a:lnTo>
                  <a:lnTo>
                    <a:pt x="613" y="295"/>
                  </a:lnTo>
                  <a:lnTo>
                    <a:pt x="621" y="300"/>
                  </a:lnTo>
                  <a:lnTo>
                    <a:pt x="629" y="304"/>
                  </a:lnTo>
                  <a:lnTo>
                    <a:pt x="636" y="307"/>
                  </a:lnTo>
                  <a:lnTo>
                    <a:pt x="644" y="309"/>
                  </a:lnTo>
                  <a:lnTo>
                    <a:pt x="657" y="312"/>
                  </a:lnTo>
                  <a:lnTo>
                    <a:pt x="672" y="312"/>
                  </a:lnTo>
                  <a:lnTo>
                    <a:pt x="686" y="312"/>
                  </a:lnTo>
                  <a:lnTo>
                    <a:pt x="701" y="312"/>
                  </a:lnTo>
                  <a:lnTo>
                    <a:pt x="717" y="315"/>
                  </a:lnTo>
                  <a:lnTo>
                    <a:pt x="734" y="320"/>
                  </a:lnTo>
                  <a:lnTo>
                    <a:pt x="741" y="323"/>
                  </a:lnTo>
                  <a:lnTo>
                    <a:pt x="749" y="328"/>
                  </a:lnTo>
                  <a:lnTo>
                    <a:pt x="754" y="333"/>
                  </a:lnTo>
                  <a:lnTo>
                    <a:pt x="761" y="339"/>
                  </a:lnTo>
                  <a:lnTo>
                    <a:pt x="770" y="352"/>
                  </a:lnTo>
                  <a:lnTo>
                    <a:pt x="780" y="367"/>
                  </a:lnTo>
                  <a:lnTo>
                    <a:pt x="796" y="399"/>
                  </a:lnTo>
                  <a:lnTo>
                    <a:pt x="812" y="428"/>
                  </a:lnTo>
                  <a:lnTo>
                    <a:pt x="820" y="436"/>
                  </a:lnTo>
                  <a:lnTo>
                    <a:pt x="829" y="443"/>
                  </a:lnTo>
                  <a:lnTo>
                    <a:pt x="838" y="447"/>
                  </a:lnTo>
                  <a:lnTo>
                    <a:pt x="848" y="451"/>
                  </a:lnTo>
                  <a:lnTo>
                    <a:pt x="857" y="455"/>
                  </a:lnTo>
                  <a:lnTo>
                    <a:pt x="865" y="459"/>
                  </a:lnTo>
                  <a:lnTo>
                    <a:pt x="873" y="464"/>
                  </a:lnTo>
                  <a:lnTo>
                    <a:pt x="878" y="469"/>
                  </a:lnTo>
                  <a:lnTo>
                    <a:pt x="882" y="483"/>
                  </a:lnTo>
                  <a:lnTo>
                    <a:pt x="884" y="496"/>
                  </a:lnTo>
                  <a:lnTo>
                    <a:pt x="885" y="511"/>
                  </a:lnTo>
                  <a:lnTo>
                    <a:pt x="886" y="525"/>
                  </a:lnTo>
                  <a:lnTo>
                    <a:pt x="889" y="540"/>
                  </a:lnTo>
                  <a:lnTo>
                    <a:pt x="893" y="553"/>
                  </a:lnTo>
                  <a:lnTo>
                    <a:pt x="896" y="558"/>
                  </a:lnTo>
                  <a:lnTo>
                    <a:pt x="900" y="564"/>
                  </a:lnTo>
                  <a:lnTo>
                    <a:pt x="904" y="568"/>
                  </a:lnTo>
                  <a:lnTo>
                    <a:pt x="909" y="572"/>
                  </a:lnTo>
                  <a:lnTo>
                    <a:pt x="909" y="58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2" name="Freeform 48"/>
            <p:cNvSpPr>
              <a:spLocks/>
            </p:cNvSpPr>
            <p:nvPr/>
          </p:nvSpPr>
          <p:spPr bwMode="auto">
            <a:xfrm>
              <a:off x="1437009" y="3540125"/>
              <a:ext cx="693738" cy="582612"/>
            </a:xfrm>
            <a:custGeom>
              <a:avLst/>
              <a:gdLst/>
              <a:ahLst/>
              <a:cxnLst>
                <a:cxn ang="0">
                  <a:pos x="644" y="218"/>
                </a:cxn>
                <a:cxn ang="0">
                  <a:pos x="633" y="313"/>
                </a:cxn>
                <a:cxn ang="0">
                  <a:pos x="673" y="372"/>
                </a:cxn>
                <a:cxn ang="0">
                  <a:pos x="725" y="409"/>
                </a:cxn>
                <a:cxn ang="0">
                  <a:pos x="738" y="464"/>
                </a:cxn>
                <a:cxn ang="0">
                  <a:pos x="773" y="473"/>
                </a:cxn>
                <a:cxn ang="0">
                  <a:pos x="820" y="487"/>
                </a:cxn>
                <a:cxn ang="0">
                  <a:pos x="840" y="549"/>
                </a:cxn>
                <a:cxn ang="0">
                  <a:pos x="894" y="554"/>
                </a:cxn>
                <a:cxn ang="0">
                  <a:pos x="945" y="575"/>
                </a:cxn>
                <a:cxn ang="0">
                  <a:pos x="1018" y="625"/>
                </a:cxn>
                <a:cxn ang="0">
                  <a:pos x="1040" y="679"/>
                </a:cxn>
                <a:cxn ang="0">
                  <a:pos x="1190" y="726"/>
                </a:cxn>
                <a:cxn ang="0">
                  <a:pos x="1238" y="798"/>
                </a:cxn>
                <a:cxn ang="0">
                  <a:pos x="1275" y="795"/>
                </a:cxn>
                <a:cxn ang="0">
                  <a:pos x="1309" y="766"/>
                </a:cxn>
                <a:cxn ang="0">
                  <a:pos x="1350" y="778"/>
                </a:cxn>
                <a:cxn ang="0">
                  <a:pos x="1355" y="813"/>
                </a:cxn>
                <a:cxn ang="0">
                  <a:pos x="1353" y="858"/>
                </a:cxn>
                <a:cxn ang="0">
                  <a:pos x="1413" y="901"/>
                </a:cxn>
                <a:cxn ang="0">
                  <a:pos x="1399" y="953"/>
                </a:cxn>
                <a:cxn ang="0">
                  <a:pos x="1269" y="1112"/>
                </a:cxn>
                <a:cxn ang="0">
                  <a:pos x="1171" y="1186"/>
                </a:cxn>
                <a:cxn ang="0">
                  <a:pos x="1093" y="1194"/>
                </a:cxn>
                <a:cxn ang="0">
                  <a:pos x="1010" y="1159"/>
                </a:cxn>
                <a:cxn ang="0">
                  <a:pos x="957" y="1102"/>
                </a:cxn>
                <a:cxn ang="0">
                  <a:pos x="810" y="989"/>
                </a:cxn>
                <a:cxn ang="0">
                  <a:pos x="756" y="922"/>
                </a:cxn>
                <a:cxn ang="0">
                  <a:pos x="734" y="867"/>
                </a:cxn>
                <a:cxn ang="0">
                  <a:pos x="706" y="910"/>
                </a:cxn>
                <a:cxn ang="0">
                  <a:pos x="670" y="911"/>
                </a:cxn>
                <a:cxn ang="0">
                  <a:pos x="608" y="886"/>
                </a:cxn>
                <a:cxn ang="0">
                  <a:pos x="562" y="903"/>
                </a:cxn>
                <a:cxn ang="0">
                  <a:pos x="512" y="922"/>
                </a:cxn>
                <a:cxn ang="0">
                  <a:pos x="465" y="901"/>
                </a:cxn>
                <a:cxn ang="0">
                  <a:pos x="430" y="807"/>
                </a:cxn>
                <a:cxn ang="0">
                  <a:pos x="399" y="714"/>
                </a:cxn>
                <a:cxn ang="0">
                  <a:pos x="355" y="693"/>
                </a:cxn>
                <a:cxn ang="0">
                  <a:pos x="331" y="717"/>
                </a:cxn>
                <a:cxn ang="0">
                  <a:pos x="280" y="683"/>
                </a:cxn>
                <a:cxn ang="0">
                  <a:pos x="228" y="650"/>
                </a:cxn>
                <a:cxn ang="0">
                  <a:pos x="179" y="646"/>
                </a:cxn>
                <a:cxn ang="0">
                  <a:pos x="173" y="567"/>
                </a:cxn>
                <a:cxn ang="0">
                  <a:pos x="157" y="533"/>
                </a:cxn>
                <a:cxn ang="0">
                  <a:pos x="113" y="545"/>
                </a:cxn>
                <a:cxn ang="0">
                  <a:pos x="71" y="558"/>
                </a:cxn>
                <a:cxn ang="0">
                  <a:pos x="60" y="530"/>
                </a:cxn>
                <a:cxn ang="0">
                  <a:pos x="67" y="424"/>
                </a:cxn>
                <a:cxn ang="0">
                  <a:pos x="9" y="392"/>
                </a:cxn>
                <a:cxn ang="0">
                  <a:pos x="4" y="358"/>
                </a:cxn>
                <a:cxn ang="0">
                  <a:pos x="24" y="284"/>
                </a:cxn>
                <a:cxn ang="0">
                  <a:pos x="108" y="301"/>
                </a:cxn>
                <a:cxn ang="0">
                  <a:pos x="188" y="261"/>
                </a:cxn>
                <a:cxn ang="0">
                  <a:pos x="207" y="218"/>
                </a:cxn>
                <a:cxn ang="0">
                  <a:pos x="203" y="162"/>
                </a:cxn>
                <a:cxn ang="0">
                  <a:pos x="261" y="109"/>
                </a:cxn>
                <a:cxn ang="0">
                  <a:pos x="457" y="0"/>
                </a:cxn>
                <a:cxn ang="0">
                  <a:pos x="540" y="20"/>
                </a:cxn>
                <a:cxn ang="0">
                  <a:pos x="626" y="30"/>
                </a:cxn>
                <a:cxn ang="0">
                  <a:pos x="669" y="98"/>
                </a:cxn>
              </a:cxnLst>
              <a:rect l="0" t="0" r="r" b="b"/>
              <a:pathLst>
                <a:path w="1433" h="1196">
                  <a:moveTo>
                    <a:pt x="692" y="121"/>
                  </a:moveTo>
                  <a:lnTo>
                    <a:pt x="681" y="138"/>
                  </a:lnTo>
                  <a:lnTo>
                    <a:pt x="670" y="157"/>
                  </a:lnTo>
                  <a:lnTo>
                    <a:pt x="660" y="177"/>
                  </a:lnTo>
                  <a:lnTo>
                    <a:pt x="650" y="197"/>
                  </a:lnTo>
                  <a:lnTo>
                    <a:pt x="644" y="218"/>
                  </a:lnTo>
                  <a:lnTo>
                    <a:pt x="637" y="242"/>
                  </a:lnTo>
                  <a:lnTo>
                    <a:pt x="634" y="254"/>
                  </a:lnTo>
                  <a:lnTo>
                    <a:pt x="633" y="268"/>
                  </a:lnTo>
                  <a:lnTo>
                    <a:pt x="632" y="281"/>
                  </a:lnTo>
                  <a:lnTo>
                    <a:pt x="632" y="296"/>
                  </a:lnTo>
                  <a:lnTo>
                    <a:pt x="633" y="313"/>
                  </a:lnTo>
                  <a:lnTo>
                    <a:pt x="636" y="328"/>
                  </a:lnTo>
                  <a:lnTo>
                    <a:pt x="641" y="340"/>
                  </a:lnTo>
                  <a:lnTo>
                    <a:pt x="648" y="350"/>
                  </a:lnTo>
                  <a:lnTo>
                    <a:pt x="656" y="358"/>
                  </a:lnTo>
                  <a:lnTo>
                    <a:pt x="664" y="366"/>
                  </a:lnTo>
                  <a:lnTo>
                    <a:pt x="673" y="372"/>
                  </a:lnTo>
                  <a:lnTo>
                    <a:pt x="684" y="377"/>
                  </a:lnTo>
                  <a:lnTo>
                    <a:pt x="693" y="382"/>
                  </a:lnTo>
                  <a:lnTo>
                    <a:pt x="702" y="389"/>
                  </a:lnTo>
                  <a:lnTo>
                    <a:pt x="710" y="394"/>
                  </a:lnTo>
                  <a:lnTo>
                    <a:pt x="718" y="401"/>
                  </a:lnTo>
                  <a:lnTo>
                    <a:pt x="725" y="409"/>
                  </a:lnTo>
                  <a:lnTo>
                    <a:pt x="730" y="420"/>
                  </a:lnTo>
                  <a:lnTo>
                    <a:pt x="733" y="432"/>
                  </a:lnTo>
                  <a:lnTo>
                    <a:pt x="734" y="446"/>
                  </a:lnTo>
                  <a:lnTo>
                    <a:pt x="734" y="453"/>
                  </a:lnTo>
                  <a:lnTo>
                    <a:pt x="737" y="460"/>
                  </a:lnTo>
                  <a:lnTo>
                    <a:pt x="738" y="464"/>
                  </a:lnTo>
                  <a:lnTo>
                    <a:pt x="742" y="466"/>
                  </a:lnTo>
                  <a:lnTo>
                    <a:pt x="746" y="469"/>
                  </a:lnTo>
                  <a:lnTo>
                    <a:pt x="750" y="470"/>
                  </a:lnTo>
                  <a:lnTo>
                    <a:pt x="756" y="471"/>
                  </a:lnTo>
                  <a:lnTo>
                    <a:pt x="761" y="473"/>
                  </a:lnTo>
                  <a:lnTo>
                    <a:pt x="773" y="473"/>
                  </a:lnTo>
                  <a:lnTo>
                    <a:pt x="785" y="473"/>
                  </a:lnTo>
                  <a:lnTo>
                    <a:pt x="797" y="473"/>
                  </a:lnTo>
                  <a:lnTo>
                    <a:pt x="806" y="475"/>
                  </a:lnTo>
                  <a:lnTo>
                    <a:pt x="812" y="479"/>
                  </a:lnTo>
                  <a:lnTo>
                    <a:pt x="816" y="483"/>
                  </a:lnTo>
                  <a:lnTo>
                    <a:pt x="820" y="487"/>
                  </a:lnTo>
                  <a:lnTo>
                    <a:pt x="822" y="493"/>
                  </a:lnTo>
                  <a:lnTo>
                    <a:pt x="825" y="506"/>
                  </a:lnTo>
                  <a:lnTo>
                    <a:pt x="829" y="519"/>
                  </a:lnTo>
                  <a:lnTo>
                    <a:pt x="832" y="533"/>
                  </a:lnTo>
                  <a:lnTo>
                    <a:pt x="836" y="543"/>
                  </a:lnTo>
                  <a:lnTo>
                    <a:pt x="840" y="549"/>
                  </a:lnTo>
                  <a:lnTo>
                    <a:pt x="844" y="551"/>
                  </a:lnTo>
                  <a:lnTo>
                    <a:pt x="849" y="554"/>
                  </a:lnTo>
                  <a:lnTo>
                    <a:pt x="854" y="554"/>
                  </a:lnTo>
                  <a:lnTo>
                    <a:pt x="873" y="554"/>
                  </a:lnTo>
                  <a:lnTo>
                    <a:pt x="885" y="554"/>
                  </a:lnTo>
                  <a:lnTo>
                    <a:pt x="894" y="554"/>
                  </a:lnTo>
                  <a:lnTo>
                    <a:pt x="902" y="554"/>
                  </a:lnTo>
                  <a:lnTo>
                    <a:pt x="910" y="555"/>
                  </a:lnTo>
                  <a:lnTo>
                    <a:pt x="918" y="557"/>
                  </a:lnTo>
                  <a:lnTo>
                    <a:pt x="925" y="561"/>
                  </a:lnTo>
                  <a:lnTo>
                    <a:pt x="932" y="565"/>
                  </a:lnTo>
                  <a:lnTo>
                    <a:pt x="945" y="575"/>
                  </a:lnTo>
                  <a:lnTo>
                    <a:pt x="960" y="589"/>
                  </a:lnTo>
                  <a:lnTo>
                    <a:pt x="974" y="601"/>
                  </a:lnTo>
                  <a:lnTo>
                    <a:pt x="990" y="613"/>
                  </a:lnTo>
                  <a:lnTo>
                    <a:pt x="1000" y="618"/>
                  </a:lnTo>
                  <a:lnTo>
                    <a:pt x="1009" y="622"/>
                  </a:lnTo>
                  <a:lnTo>
                    <a:pt x="1018" y="625"/>
                  </a:lnTo>
                  <a:lnTo>
                    <a:pt x="1029" y="626"/>
                  </a:lnTo>
                  <a:lnTo>
                    <a:pt x="1030" y="639"/>
                  </a:lnTo>
                  <a:lnTo>
                    <a:pt x="1030" y="650"/>
                  </a:lnTo>
                  <a:lnTo>
                    <a:pt x="1032" y="658"/>
                  </a:lnTo>
                  <a:lnTo>
                    <a:pt x="1034" y="666"/>
                  </a:lnTo>
                  <a:lnTo>
                    <a:pt x="1040" y="679"/>
                  </a:lnTo>
                  <a:lnTo>
                    <a:pt x="1048" y="693"/>
                  </a:lnTo>
                  <a:lnTo>
                    <a:pt x="1150" y="693"/>
                  </a:lnTo>
                  <a:lnTo>
                    <a:pt x="1162" y="702"/>
                  </a:lnTo>
                  <a:lnTo>
                    <a:pt x="1173" y="710"/>
                  </a:lnTo>
                  <a:lnTo>
                    <a:pt x="1182" y="718"/>
                  </a:lnTo>
                  <a:lnTo>
                    <a:pt x="1190" y="726"/>
                  </a:lnTo>
                  <a:lnTo>
                    <a:pt x="1206" y="742"/>
                  </a:lnTo>
                  <a:lnTo>
                    <a:pt x="1222" y="759"/>
                  </a:lnTo>
                  <a:lnTo>
                    <a:pt x="1226" y="775"/>
                  </a:lnTo>
                  <a:lnTo>
                    <a:pt x="1230" y="789"/>
                  </a:lnTo>
                  <a:lnTo>
                    <a:pt x="1234" y="794"/>
                  </a:lnTo>
                  <a:lnTo>
                    <a:pt x="1238" y="798"/>
                  </a:lnTo>
                  <a:lnTo>
                    <a:pt x="1245" y="801"/>
                  </a:lnTo>
                  <a:lnTo>
                    <a:pt x="1253" y="801"/>
                  </a:lnTo>
                  <a:lnTo>
                    <a:pt x="1259" y="801"/>
                  </a:lnTo>
                  <a:lnTo>
                    <a:pt x="1266" y="799"/>
                  </a:lnTo>
                  <a:lnTo>
                    <a:pt x="1271" y="798"/>
                  </a:lnTo>
                  <a:lnTo>
                    <a:pt x="1275" y="795"/>
                  </a:lnTo>
                  <a:lnTo>
                    <a:pt x="1283" y="790"/>
                  </a:lnTo>
                  <a:lnTo>
                    <a:pt x="1290" y="783"/>
                  </a:lnTo>
                  <a:lnTo>
                    <a:pt x="1295" y="777"/>
                  </a:lnTo>
                  <a:lnTo>
                    <a:pt x="1301" y="771"/>
                  </a:lnTo>
                  <a:lnTo>
                    <a:pt x="1305" y="769"/>
                  </a:lnTo>
                  <a:lnTo>
                    <a:pt x="1309" y="766"/>
                  </a:lnTo>
                  <a:lnTo>
                    <a:pt x="1313" y="766"/>
                  </a:lnTo>
                  <a:lnTo>
                    <a:pt x="1318" y="765"/>
                  </a:lnTo>
                  <a:lnTo>
                    <a:pt x="1329" y="767"/>
                  </a:lnTo>
                  <a:lnTo>
                    <a:pt x="1341" y="771"/>
                  </a:lnTo>
                  <a:lnTo>
                    <a:pt x="1346" y="775"/>
                  </a:lnTo>
                  <a:lnTo>
                    <a:pt x="1350" y="778"/>
                  </a:lnTo>
                  <a:lnTo>
                    <a:pt x="1354" y="781"/>
                  </a:lnTo>
                  <a:lnTo>
                    <a:pt x="1354" y="783"/>
                  </a:lnTo>
                  <a:lnTo>
                    <a:pt x="1358" y="791"/>
                  </a:lnTo>
                  <a:lnTo>
                    <a:pt x="1358" y="799"/>
                  </a:lnTo>
                  <a:lnTo>
                    <a:pt x="1358" y="806"/>
                  </a:lnTo>
                  <a:lnTo>
                    <a:pt x="1355" y="813"/>
                  </a:lnTo>
                  <a:lnTo>
                    <a:pt x="1354" y="821"/>
                  </a:lnTo>
                  <a:lnTo>
                    <a:pt x="1351" y="827"/>
                  </a:lnTo>
                  <a:lnTo>
                    <a:pt x="1349" y="835"/>
                  </a:lnTo>
                  <a:lnTo>
                    <a:pt x="1349" y="843"/>
                  </a:lnTo>
                  <a:lnTo>
                    <a:pt x="1350" y="851"/>
                  </a:lnTo>
                  <a:lnTo>
                    <a:pt x="1353" y="858"/>
                  </a:lnTo>
                  <a:lnTo>
                    <a:pt x="1357" y="863"/>
                  </a:lnTo>
                  <a:lnTo>
                    <a:pt x="1362" y="869"/>
                  </a:lnTo>
                  <a:lnTo>
                    <a:pt x="1373" y="877"/>
                  </a:lnTo>
                  <a:lnTo>
                    <a:pt x="1386" y="885"/>
                  </a:lnTo>
                  <a:lnTo>
                    <a:pt x="1399" y="893"/>
                  </a:lnTo>
                  <a:lnTo>
                    <a:pt x="1413" y="901"/>
                  </a:lnTo>
                  <a:lnTo>
                    <a:pt x="1419" y="905"/>
                  </a:lnTo>
                  <a:lnTo>
                    <a:pt x="1425" y="910"/>
                  </a:lnTo>
                  <a:lnTo>
                    <a:pt x="1429" y="915"/>
                  </a:lnTo>
                  <a:lnTo>
                    <a:pt x="1433" y="922"/>
                  </a:lnTo>
                  <a:lnTo>
                    <a:pt x="1417" y="937"/>
                  </a:lnTo>
                  <a:lnTo>
                    <a:pt x="1399" y="953"/>
                  </a:lnTo>
                  <a:lnTo>
                    <a:pt x="1383" y="971"/>
                  </a:lnTo>
                  <a:lnTo>
                    <a:pt x="1367" y="990"/>
                  </a:lnTo>
                  <a:lnTo>
                    <a:pt x="1335" y="1031"/>
                  </a:lnTo>
                  <a:lnTo>
                    <a:pt x="1302" y="1072"/>
                  </a:lnTo>
                  <a:lnTo>
                    <a:pt x="1286" y="1094"/>
                  </a:lnTo>
                  <a:lnTo>
                    <a:pt x="1269" y="1112"/>
                  </a:lnTo>
                  <a:lnTo>
                    <a:pt x="1250" y="1131"/>
                  </a:lnTo>
                  <a:lnTo>
                    <a:pt x="1231" y="1147"/>
                  </a:lnTo>
                  <a:lnTo>
                    <a:pt x="1213" y="1163"/>
                  </a:lnTo>
                  <a:lnTo>
                    <a:pt x="1193" y="1175"/>
                  </a:lnTo>
                  <a:lnTo>
                    <a:pt x="1182" y="1180"/>
                  </a:lnTo>
                  <a:lnTo>
                    <a:pt x="1171" y="1186"/>
                  </a:lnTo>
                  <a:lnTo>
                    <a:pt x="1161" y="1190"/>
                  </a:lnTo>
                  <a:lnTo>
                    <a:pt x="1150" y="1192"/>
                  </a:lnTo>
                  <a:lnTo>
                    <a:pt x="1136" y="1195"/>
                  </a:lnTo>
                  <a:lnTo>
                    <a:pt x="1122" y="1196"/>
                  </a:lnTo>
                  <a:lnTo>
                    <a:pt x="1108" y="1195"/>
                  </a:lnTo>
                  <a:lnTo>
                    <a:pt x="1093" y="1194"/>
                  </a:lnTo>
                  <a:lnTo>
                    <a:pt x="1078" y="1191"/>
                  </a:lnTo>
                  <a:lnTo>
                    <a:pt x="1064" y="1186"/>
                  </a:lnTo>
                  <a:lnTo>
                    <a:pt x="1049" y="1180"/>
                  </a:lnTo>
                  <a:lnTo>
                    <a:pt x="1036" y="1175"/>
                  </a:lnTo>
                  <a:lnTo>
                    <a:pt x="1022" y="1167"/>
                  </a:lnTo>
                  <a:lnTo>
                    <a:pt x="1010" y="1159"/>
                  </a:lnTo>
                  <a:lnTo>
                    <a:pt x="998" y="1151"/>
                  </a:lnTo>
                  <a:lnTo>
                    <a:pt x="988" y="1142"/>
                  </a:lnTo>
                  <a:lnTo>
                    <a:pt x="978" y="1132"/>
                  </a:lnTo>
                  <a:lnTo>
                    <a:pt x="969" y="1122"/>
                  </a:lnTo>
                  <a:lnTo>
                    <a:pt x="962" y="1112"/>
                  </a:lnTo>
                  <a:lnTo>
                    <a:pt x="957" y="1102"/>
                  </a:lnTo>
                  <a:lnTo>
                    <a:pt x="933" y="1079"/>
                  </a:lnTo>
                  <a:lnTo>
                    <a:pt x="908" y="1060"/>
                  </a:lnTo>
                  <a:lnTo>
                    <a:pt x="882" y="1042"/>
                  </a:lnTo>
                  <a:lnTo>
                    <a:pt x="858" y="1026"/>
                  </a:lnTo>
                  <a:lnTo>
                    <a:pt x="834" y="1009"/>
                  </a:lnTo>
                  <a:lnTo>
                    <a:pt x="810" y="989"/>
                  </a:lnTo>
                  <a:lnTo>
                    <a:pt x="798" y="978"/>
                  </a:lnTo>
                  <a:lnTo>
                    <a:pt x="788" y="966"/>
                  </a:lnTo>
                  <a:lnTo>
                    <a:pt x="776" y="954"/>
                  </a:lnTo>
                  <a:lnTo>
                    <a:pt x="765" y="939"/>
                  </a:lnTo>
                  <a:lnTo>
                    <a:pt x="758" y="931"/>
                  </a:lnTo>
                  <a:lnTo>
                    <a:pt x="756" y="922"/>
                  </a:lnTo>
                  <a:lnTo>
                    <a:pt x="753" y="913"/>
                  </a:lnTo>
                  <a:lnTo>
                    <a:pt x="752" y="903"/>
                  </a:lnTo>
                  <a:lnTo>
                    <a:pt x="749" y="894"/>
                  </a:lnTo>
                  <a:lnTo>
                    <a:pt x="746" y="886"/>
                  </a:lnTo>
                  <a:lnTo>
                    <a:pt x="742" y="877"/>
                  </a:lnTo>
                  <a:lnTo>
                    <a:pt x="734" y="867"/>
                  </a:lnTo>
                  <a:lnTo>
                    <a:pt x="728" y="873"/>
                  </a:lnTo>
                  <a:lnTo>
                    <a:pt x="724" y="881"/>
                  </a:lnTo>
                  <a:lnTo>
                    <a:pt x="720" y="889"/>
                  </a:lnTo>
                  <a:lnTo>
                    <a:pt x="716" y="897"/>
                  </a:lnTo>
                  <a:lnTo>
                    <a:pt x="712" y="903"/>
                  </a:lnTo>
                  <a:lnTo>
                    <a:pt x="706" y="910"/>
                  </a:lnTo>
                  <a:lnTo>
                    <a:pt x="704" y="913"/>
                  </a:lnTo>
                  <a:lnTo>
                    <a:pt x="700" y="914"/>
                  </a:lnTo>
                  <a:lnTo>
                    <a:pt x="697" y="915"/>
                  </a:lnTo>
                  <a:lnTo>
                    <a:pt x="692" y="915"/>
                  </a:lnTo>
                  <a:lnTo>
                    <a:pt x="681" y="914"/>
                  </a:lnTo>
                  <a:lnTo>
                    <a:pt x="670" y="911"/>
                  </a:lnTo>
                  <a:lnTo>
                    <a:pt x="660" y="906"/>
                  </a:lnTo>
                  <a:lnTo>
                    <a:pt x="650" y="901"/>
                  </a:lnTo>
                  <a:lnTo>
                    <a:pt x="640" y="895"/>
                  </a:lnTo>
                  <a:lnTo>
                    <a:pt x="629" y="890"/>
                  </a:lnTo>
                  <a:lnTo>
                    <a:pt x="618" y="887"/>
                  </a:lnTo>
                  <a:lnTo>
                    <a:pt x="608" y="886"/>
                  </a:lnTo>
                  <a:lnTo>
                    <a:pt x="600" y="886"/>
                  </a:lnTo>
                  <a:lnTo>
                    <a:pt x="593" y="887"/>
                  </a:lnTo>
                  <a:lnTo>
                    <a:pt x="588" y="889"/>
                  </a:lnTo>
                  <a:lnTo>
                    <a:pt x="582" y="891"/>
                  </a:lnTo>
                  <a:lnTo>
                    <a:pt x="572" y="897"/>
                  </a:lnTo>
                  <a:lnTo>
                    <a:pt x="562" y="903"/>
                  </a:lnTo>
                  <a:lnTo>
                    <a:pt x="552" y="910"/>
                  </a:lnTo>
                  <a:lnTo>
                    <a:pt x="541" y="917"/>
                  </a:lnTo>
                  <a:lnTo>
                    <a:pt x="534" y="918"/>
                  </a:lnTo>
                  <a:lnTo>
                    <a:pt x="528" y="921"/>
                  </a:lnTo>
                  <a:lnTo>
                    <a:pt x="520" y="921"/>
                  </a:lnTo>
                  <a:lnTo>
                    <a:pt x="512" y="922"/>
                  </a:lnTo>
                  <a:lnTo>
                    <a:pt x="502" y="921"/>
                  </a:lnTo>
                  <a:lnTo>
                    <a:pt x="493" y="919"/>
                  </a:lnTo>
                  <a:lnTo>
                    <a:pt x="485" y="917"/>
                  </a:lnTo>
                  <a:lnTo>
                    <a:pt x="478" y="911"/>
                  </a:lnTo>
                  <a:lnTo>
                    <a:pt x="472" y="906"/>
                  </a:lnTo>
                  <a:lnTo>
                    <a:pt x="465" y="901"/>
                  </a:lnTo>
                  <a:lnTo>
                    <a:pt x="460" y="894"/>
                  </a:lnTo>
                  <a:lnTo>
                    <a:pt x="456" y="886"/>
                  </a:lnTo>
                  <a:lnTo>
                    <a:pt x="448" y="869"/>
                  </a:lnTo>
                  <a:lnTo>
                    <a:pt x="441" y="849"/>
                  </a:lnTo>
                  <a:lnTo>
                    <a:pt x="436" y="829"/>
                  </a:lnTo>
                  <a:lnTo>
                    <a:pt x="430" y="807"/>
                  </a:lnTo>
                  <a:lnTo>
                    <a:pt x="426" y="786"/>
                  </a:lnTo>
                  <a:lnTo>
                    <a:pt x="421" y="765"/>
                  </a:lnTo>
                  <a:lnTo>
                    <a:pt x="414" y="746"/>
                  </a:lnTo>
                  <a:lnTo>
                    <a:pt x="408" y="729"/>
                  </a:lnTo>
                  <a:lnTo>
                    <a:pt x="402" y="721"/>
                  </a:lnTo>
                  <a:lnTo>
                    <a:pt x="399" y="714"/>
                  </a:lnTo>
                  <a:lnTo>
                    <a:pt x="393" y="707"/>
                  </a:lnTo>
                  <a:lnTo>
                    <a:pt x="387" y="702"/>
                  </a:lnTo>
                  <a:lnTo>
                    <a:pt x="380" y="698"/>
                  </a:lnTo>
                  <a:lnTo>
                    <a:pt x="372" y="695"/>
                  </a:lnTo>
                  <a:lnTo>
                    <a:pt x="364" y="694"/>
                  </a:lnTo>
                  <a:lnTo>
                    <a:pt x="355" y="693"/>
                  </a:lnTo>
                  <a:lnTo>
                    <a:pt x="351" y="694"/>
                  </a:lnTo>
                  <a:lnTo>
                    <a:pt x="347" y="697"/>
                  </a:lnTo>
                  <a:lnTo>
                    <a:pt x="344" y="701"/>
                  </a:lnTo>
                  <a:lnTo>
                    <a:pt x="341" y="705"/>
                  </a:lnTo>
                  <a:lnTo>
                    <a:pt x="336" y="713"/>
                  </a:lnTo>
                  <a:lnTo>
                    <a:pt x="331" y="717"/>
                  </a:lnTo>
                  <a:lnTo>
                    <a:pt x="323" y="717"/>
                  </a:lnTo>
                  <a:lnTo>
                    <a:pt x="315" y="714"/>
                  </a:lnTo>
                  <a:lnTo>
                    <a:pt x="308" y="711"/>
                  </a:lnTo>
                  <a:lnTo>
                    <a:pt x="301" y="706"/>
                  </a:lnTo>
                  <a:lnTo>
                    <a:pt x="291" y="695"/>
                  </a:lnTo>
                  <a:lnTo>
                    <a:pt x="280" y="683"/>
                  </a:lnTo>
                  <a:lnTo>
                    <a:pt x="269" y="671"/>
                  </a:lnTo>
                  <a:lnTo>
                    <a:pt x="259" y="661"/>
                  </a:lnTo>
                  <a:lnTo>
                    <a:pt x="252" y="657"/>
                  </a:lnTo>
                  <a:lnTo>
                    <a:pt x="245" y="654"/>
                  </a:lnTo>
                  <a:lnTo>
                    <a:pt x="237" y="651"/>
                  </a:lnTo>
                  <a:lnTo>
                    <a:pt x="228" y="650"/>
                  </a:lnTo>
                  <a:lnTo>
                    <a:pt x="208" y="651"/>
                  </a:lnTo>
                  <a:lnTo>
                    <a:pt x="191" y="653"/>
                  </a:lnTo>
                  <a:lnTo>
                    <a:pt x="187" y="651"/>
                  </a:lnTo>
                  <a:lnTo>
                    <a:pt x="184" y="650"/>
                  </a:lnTo>
                  <a:lnTo>
                    <a:pt x="181" y="649"/>
                  </a:lnTo>
                  <a:lnTo>
                    <a:pt x="179" y="646"/>
                  </a:lnTo>
                  <a:lnTo>
                    <a:pt x="177" y="642"/>
                  </a:lnTo>
                  <a:lnTo>
                    <a:pt x="176" y="638"/>
                  </a:lnTo>
                  <a:lnTo>
                    <a:pt x="175" y="633"/>
                  </a:lnTo>
                  <a:lnTo>
                    <a:pt x="175" y="626"/>
                  </a:lnTo>
                  <a:lnTo>
                    <a:pt x="173" y="599"/>
                  </a:lnTo>
                  <a:lnTo>
                    <a:pt x="173" y="567"/>
                  </a:lnTo>
                  <a:lnTo>
                    <a:pt x="172" y="559"/>
                  </a:lnTo>
                  <a:lnTo>
                    <a:pt x="171" y="553"/>
                  </a:lnTo>
                  <a:lnTo>
                    <a:pt x="169" y="546"/>
                  </a:lnTo>
                  <a:lnTo>
                    <a:pt x="165" y="541"/>
                  </a:lnTo>
                  <a:lnTo>
                    <a:pt x="163" y="537"/>
                  </a:lnTo>
                  <a:lnTo>
                    <a:pt x="157" y="533"/>
                  </a:lnTo>
                  <a:lnTo>
                    <a:pt x="152" y="531"/>
                  </a:lnTo>
                  <a:lnTo>
                    <a:pt x="144" y="530"/>
                  </a:lnTo>
                  <a:lnTo>
                    <a:pt x="136" y="531"/>
                  </a:lnTo>
                  <a:lnTo>
                    <a:pt x="128" y="535"/>
                  </a:lnTo>
                  <a:lnTo>
                    <a:pt x="120" y="539"/>
                  </a:lnTo>
                  <a:lnTo>
                    <a:pt x="113" y="545"/>
                  </a:lnTo>
                  <a:lnTo>
                    <a:pt x="105" y="551"/>
                  </a:lnTo>
                  <a:lnTo>
                    <a:pt x="97" y="555"/>
                  </a:lnTo>
                  <a:lnTo>
                    <a:pt x="88" y="559"/>
                  </a:lnTo>
                  <a:lnTo>
                    <a:pt x="79" y="561"/>
                  </a:lnTo>
                  <a:lnTo>
                    <a:pt x="73" y="559"/>
                  </a:lnTo>
                  <a:lnTo>
                    <a:pt x="71" y="558"/>
                  </a:lnTo>
                  <a:lnTo>
                    <a:pt x="67" y="555"/>
                  </a:lnTo>
                  <a:lnTo>
                    <a:pt x="64" y="551"/>
                  </a:lnTo>
                  <a:lnTo>
                    <a:pt x="63" y="547"/>
                  </a:lnTo>
                  <a:lnTo>
                    <a:pt x="61" y="542"/>
                  </a:lnTo>
                  <a:lnTo>
                    <a:pt x="60" y="537"/>
                  </a:lnTo>
                  <a:lnTo>
                    <a:pt x="60" y="530"/>
                  </a:lnTo>
                  <a:lnTo>
                    <a:pt x="64" y="503"/>
                  </a:lnTo>
                  <a:lnTo>
                    <a:pt x="69" y="473"/>
                  </a:lnTo>
                  <a:lnTo>
                    <a:pt x="71" y="456"/>
                  </a:lnTo>
                  <a:lnTo>
                    <a:pt x="71" y="440"/>
                  </a:lnTo>
                  <a:lnTo>
                    <a:pt x="69" y="432"/>
                  </a:lnTo>
                  <a:lnTo>
                    <a:pt x="67" y="424"/>
                  </a:lnTo>
                  <a:lnTo>
                    <a:pt x="64" y="417"/>
                  </a:lnTo>
                  <a:lnTo>
                    <a:pt x="60" y="410"/>
                  </a:lnTo>
                  <a:lnTo>
                    <a:pt x="51" y="405"/>
                  </a:lnTo>
                  <a:lnTo>
                    <a:pt x="29" y="400"/>
                  </a:lnTo>
                  <a:lnTo>
                    <a:pt x="19" y="396"/>
                  </a:lnTo>
                  <a:lnTo>
                    <a:pt x="9" y="392"/>
                  </a:lnTo>
                  <a:lnTo>
                    <a:pt x="5" y="389"/>
                  </a:lnTo>
                  <a:lnTo>
                    <a:pt x="3" y="386"/>
                  </a:lnTo>
                  <a:lnTo>
                    <a:pt x="0" y="384"/>
                  </a:lnTo>
                  <a:lnTo>
                    <a:pt x="0" y="380"/>
                  </a:lnTo>
                  <a:lnTo>
                    <a:pt x="1" y="369"/>
                  </a:lnTo>
                  <a:lnTo>
                    <a:pt x="4" y="358"/>
                  </a:lnTo>
                  <a:lnTo>
                    <a:pt x="7" y="349"/>
                  </a:lnTo>
                  <a:lnTo>
                    <a:pt x="12" y="338"/>
                  </a:lnTo>
                  <a:lnTo>
                    <a:pt x="16" y="328"/>
                  </a:lnTo>
                  <a:lnTo>
                    <a:pt x="20" y="314"/>
                  </a:lnTo>
                  <a:lnTo>
                    <a:pt x="23" y="300"/>
                  </a:lnTo>
                  <a:lnTo>
                    <a:pt x="24" y="284"/>
                  </a:lnTo>
                  <a:lnTo>
                    <a:pt x="33" y="289"/>
                  </a:lnTo>
                  <a:lnTo>
                    <a:pt x="43" y="294"/>
                  </a:lnTo>
                  <a:lnTo>
                    <a:pt x="53" y="297"/>
                  </a:lnTo>
                  <a:lnTo>
                    <a:pt x="64" y="300"/>
                  </a:lnTo>
                  <a:lnTo>
                    <a:pt x="85" y="301"/>
                  </a:lnTo>
                  <a:lnTo>
                    <a:pt x="108" y="301"/>
                  </a:lnTo>
                  <a:lnTo>
                    <a:pt x="116" y="300"/>
                  </a:lnTo>
                  <a:lnTo>
                    <a:pt x="128" y="294"/>
                  </a:lnTo>
                  <a:lnTo>
                    <a:pt x="143" y="288"/>
                  </a:lnTo>
                  <a:lnTo>
                    <a:pt x="159" y="278"/>
                  </a:lnTo>
                  <a:lnTo>
                    <a:pt x="175" y="270"/>
                  </a:lnTo>
                  <a:lnTo>
                    <a:pt x="188" y="261"/>
                  </a:lnTo>
                  <a:lnTo>
                    <a:pt x="199" y="253"/>
                  </a:lnTo>
                  <a:lnTo>
                    <a:pt x="204" y="248"/>
                  </a:lnTo>
                  <a:lnTo>
                    <a:pt x="207" y="240"/>
                  </a:lnTo>
                  <a:lnTo>
                    <a:pt x="207" y="232"/>
                  </a:lnTo>
                  <a:lnTo>
                    <a:pt x="207" y="225"/>
                  </a:lnTo>
                  <a:lnTo>
                    <a:pt x="207" y="218"/>
                  </a:lnTo>
                  <a:lnTo>
                    <a:pt x="204" y="206"/>
                  </a:lnTo>
                  <a:lnTo>
                    <a:pt x="201" y="194"/>
                  </a:lnTo>
                  <a:lnTo>
                    <a:pt x="199" y="184"/>
                  </a:lnTo>
                  <a:lnTo>
                    <a:pt x="199" y="173"/>
                  </a:lnTo>
                  <a:lnTo>
                    <a:pt x="200" y="168"/>
                  </a:lnTo>
                  <a:lnTo>
                    <a:pt x="203" y="162"/>
                  </a:lnTo>
                  <a:lnTo>
                    <a:pt x="205" y="157"/>
                  </a:lnTo>
                  <a:lnTo>
                    <a:pt x="211" y="150"/>
                  </a:lnTo>
                  <a:lnTo>
                    <a:pt x="221" y="141"/>
                  </a:lnTo>
                  <a:lnTo>
                    <a:pt x="233" y="130"/>
                  </a:lnTo>
                  <a:lnTo>
                    <a:pt x="247" y="120"/>
                  </a:lnTo>
                  <a:lnTo>
                    <a:pt x="261" y="109"/>
                  </a:lnTo>
                  <a:lnTo>
                    <a:pt x="293" y="88"/>
                  </a:lnTo>
                  <a:lnTo>
                    <a:pt x="327" y="66"/>
                  </a:lnTo>
                  <a:lnTo>
                    <a:pt x="361" y="46"/>
                  </a:lnTo>
                  <a:lnTo>
                    <a:pt x="396" y="29"/>
                  </a:lnTo>
                  <a:lnTo>
                    <a:pt x="428" y="13"/>
                  </a:lnTo>
                  <a:lnTo>
                    <a:pt x="457" y="0"/>
                  </a:lnTo>
                  <a:lnTo>
                    <a:pt x="468" y="6"/>
                  </a:lnTo>
                  <a:lnTo>
                    <a:pt x="477" y="10"/>
                  </a:lnTo>
                  <a:lnTo>
                    <a:pt x="488" y="14"/>
                  </a:lnTo>
                  <a:lnTo>
                    <a:pt x="498" y="17"/>
                  </a:lnTo>
                  <a:lnTo>
                    <a:pt x="518" y="20"/>
                  </a:lnTo>
                  <a:lnTo>
                    <a:pt x="540" y="20"/>
                  </a:lnTo>
                  <a:lnTo>
                    <a:pt x="560" y="20"/>
                  </a:lnTo>
                  <a:lnTo>
                    <a:pt x="582" y="21"/>
                  </a:lnTo>
                  <a:lnTo>
                    <a:pt x="593" y="22"/>
                  </a:lnTo>
                  <a:lnTo>
                    <a:pt x="604" y="24"/>
                  </a:lnTo>
                  <a:lnTo>
                    <a:pt x="614" y="26"/>
                  </a:lnTo>
                  <a:lnTo>
                    <a:pt x="626" y="30"/>
                  </a:lnTo>
                  <a:lnTo>
                    <a:pt x="633" y="37"/>
                  </a:lnTo>
                  <a:lnTo>
                    <a:pt x="640" y="46"/>
                  </a:lnTo>
                  <a:lnTo>
                    <a:pt x="646" y="60"/>
                  </a:lnTo>
                  <a:lnTo>
                    <a:pt x="654" y="73"/>
                  </a:lnTo>
                  <a:lnTo>
                    <a:pt x="661" y="86"/>
                  </a:lnTo>
                  <a:lnTo>
                    <a:pt x="669" y="98"/>
                  </a:lnTo>
                  <a:lnTo>
                    <a:pt x="673" y="104"/>
                  </a:lnTo>
                  <a:lnTo>
                    <a:pt x="677" y="108"/>
                  </a:lnTo>
                  <a:lnTo>
                    <a:pt x="682" y="112"/>
                  </a:lnTo>
                  <a:lnTo>
                    <a:pt x="686" y="114"/>
                  </a:lnTo>
                  <a:lnTo>
                    <a:pt x="692" y="12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3" name="Freeform 49"/>
            <p:cNvSpPr>
              <a:spLocks/>
            </p:cNvSpPr>
            <p:nvPr/>
          </p:nvSpPr>
          <p:spPr bwMode="auto">
            <a:xfrm>
              <a:off x="3446784" y="5105400"/>
              <a:ext cx="669925" cy="514350"/>
            </a:xfrm>
            <a:custGeom>
              <a:avLst/>
              <a:gdLst/>
              <a:ahLst/>
              <a:cxnLst>
                <a:cxn ang="0">
                  <a:pos x="264" y="55"/>
                </a:cxn>
                <a:cxn ang="0">
                  <a:pos x="228" y="138"/>
                </a:cxn>
                <a:cxn ang="0">
                  <a:pos x="220" y="203"/>
                </a:cxn>
                <a:cxn ang="0">
                  <a:pos x="210" y="259"/>
                </a:cxn>
                <a:cxn ang="0">
                  <a:pos x="144" y="264"/>
                </a:cxn>
                <a:cxn ang="0">
                  <a:pos x="102" y="289"/>
                </a:cxn>
                <a:cxn ang="0">
                  <a:pos x="86" y="359"/>
                </a:cxn>
                <a:cxn ang="0">
                  <a:pos x="48" y="432"/>
                </a:cxn>
                <a:cxn ang="0">
                  <a:pos x="47" y="508"/>
                </a:cxn>
                <a:cxn ang="0">
                  <a:pos x="85" y="597"/>
                </a:cxn>
                <a:cxn ang="0">
                  <a:pos x="84" y="644"/>
                </a:cxn>
                <a:cxn ang="0">
                  <a:pos x="59" y="676"/>
                </a:cxn>
                <a:cxn ang="0">
                  <a:pos x="8" y="748"/>
                </a:cxn>
                <a:cxn ang="0">
                  <a:pos x="116" y="723"/>
                </a:cxn>
                <a:cxn ang="0">
                  <a:pos x="200" y="711"/>
                </a:cxn>
                <a:cxn ang="0">
                  <a:pos x="221" y="743"/>
                </a:cxn>
                <a:cxn ang="0">
                  <a:pos x="181" y="765"/>
                </a:cxn>
                <a:cxn ang="0">
                  <a:pos x="245" y="896"/>
                </a:cxn>
                <a:cxn ang="0">
                  <a:pos x="313" y="994"/>
                </a:cxn>
                <a:cxn ang="0">
                  <a:pos x="356" y="957"/>
                </a:cxn>
                <a:cxn ang="0">
                  <a:pos x="386" y="956"/>
                </a:cxn>
                <a:cxn ang="0">
                  <a:pos x="438" y="968"/>
                </a:cxn>
                <a:cxn ang="0">
                  <a:pos x="498" y="953"/>
                </a:cxn>
                <a:cxn ang="0">
                  <a:pos x="617" y="940"/>
                </a:cxn>
                <a:cxn ang="0">
                  <a:pos x="709" y="872"/>
                </a:cxn>
                <a:cxn ang="0">
                  <a:pos x="801" y="844"/>
                </a:cxn>
                <a:cxn ang="0">
                  <a:pos x="850" y="881"/>
                </a:cxn>
                <a:cxn ang="0">
                  <a:pos x="897" y="928"/>
                </a:cxn>
                <a:cxn ang="0">
                  <a:pos x="899" y="981"/>
                </a:cxn>
                <a:cxn ang="0">
                  <a:pos x="967" y="1049"/>
                </a:cxn>
                <a:cxn ang="0">
                  <a:pos x="1010" y="1056"/>
                </a:cxn>
                <a:cxn ang="0">
                  <a:pos x="1057" y="1000"/>
                </a:cxn>
                <a:cxn ang="0">
                  <a:pos x="1143" y="940"/>
                </a:cxn>
                <a:cxn ang="0">
                  <a:pos x="1174" y="916"/>
                </a:cxn>
                <a:cxn ang="0">
                  <a:pos x="1242" y="912"/>
                </a:cxn>
                <a:cxn ang="0">
                  <a:pos x="1314" y="912"/>
                </a:cxn>
                <a:cxn ang="0">
                  <a:pos x="1349" y="861"/>
                </a:cxn>
                <a:cxn ang="0">
                  <a:pos x="1365" y="816"/>
                </a:cxn>
                <a:cxn ang="0">
                  <a:pos x="1370" y="770"/>
                </a:cxn>
                <a:cxn ang="0">
                  <a:pos x="1373" y="713"/>
                </a:cxn>
                <a:cxn ang="0">
                  <a:pos x="1342" y="615"/>
                </a:cxn>
                <a:cxn ang="0">
                  <a:pos x="1338" y="541"/>
                </a:cxn>
                <a:cxn ang="0">
                  <a:pos x="1278" y="457"/>
                </a:cxn>
                <a:cxn ang="0">
                  <a:pos x="1223" y="483"/>
                </a:cxn>
                <a:cxn ang="0">
                  <a:pos x="1198" y="536"/>
                </a:cxn>
                <a:cxn ang="0">
                  <a:pos x="1173" y="460"/>
                </a:cxn>
                <a:cxn ang="0">
                  <a:pos x="1145" y="419"/>
                </a:cxn>
                <a:cxn ang="0">
                  <a:pos x="1155" y="375"/>
                </a:cxn>
                <a:cxn ang="0">
                  <a:pos x="1158" y="336"/>
                </a:cxn>
                <a:cxn ang="0">
                  <a:pos x="1117" y="321"/>
                </a:cxn>
                <a:cxn ang="0">
                  <a:pos x="1038" y="348"/>
                </a:cxn>
                <a:cxn ang="0">
                  <a:pos x="954" y="331"/>
                </a:cxn>
                <a:cxn ang="0">
                  <a:pos x="875" y="285"/>
                </a:cxn>
                <a:cxn ang="0">
                  <a:pos x="766" y="281"/>
                </a:cxn>
                <a:cxn ang="0">
                  <a:pos x="734" y="229"/>
                </a:cxn>
                <a:cxn ang="0">
                  <a:pos x="701" y="158"/>
                </a:cxn>
                <a:cxn ang="0">
                  <a:pos x="522" y="72"/>
                </a:cxn>
                <a:cxn ang="0">
                  <a:pos x="334" y="31"/>
                </a:cxn>
              </a:cxnLst>
              <a:rect l="0" t="0" r="r" b="b"/>
              <a:pathLst>
                <a:path w="1378" h="1060">
                  <a:moveTo>
                    <a:pt x="258" y="0"/>
                  </a:moveTo>
                  <a:lnTo>
                    <a:pt x="262" y="10"/>
                  </a:lnTo>
                  <a:lnTo>
                    <a:pt x="264" y="19"/>
                  </a:lnTo>
                  <a:lnTo>
                    <a:pt x="264" y="30"/>
                  </a:lnTo>
                  <a:lnTo>
                    <a:pt x="265" y="43"/>
                  </a:lnTo>
                  <a:lnTo>
                    <a:pt x="264" y="55"/>
                  </a:lnTo>
                  <a:lnTo>
                    <a:pt x="262" y="66"/>
                  </a:lnTo>
                  <a:lnTo>
                    <a:pt x="260" y="76"/>
                  </a:lnTo>
                  <a:lnTo>
                    <a:pt x="256" y="87"/>
                  </a:lnTo>
                  <a:lnTo>
                    <a:pt x="248" y="104"/>
                  </a:lnTo>
                  <a:lnTo>
                    <a:pt x="237" y="122"/>
                  </a:lnTo>
                  <a:lnTo>
                    <a:pt x="228" y="138"/>
                  </a:lnTo>
                  <a:lnTo>
                    <a:pt x="218" y="154"/>
                  </a:lnTo>
                  <a:lnTo>
                    <a:pt x="216" y="162"/>
                  </a:lnTo>
                  <a:lnTo>
                    <a:pt x="213" y="169"/>
                  </a:lnTo>
                  <a:lnTo>
                    <a:pt x="210" y="179"/>
                  </a:lnTo>
                  <a:lnTo>
                    <a:pt x="210" y="187"/>
                  </a:lnTo>
                  <a:lnTo>
                    <a:pt x="220" y="203"/>
                  </a:lnTo>
                  <a:lnTo>
                    <a:pt x="228" y="223"/>
                  </a:lnTo>
                  <a:lnTo>
                    <a:pt x="228" y="235"/>
                  </a:lnTo>
                  <a:lnTo>
                    <a:pt x="225" y="243"/>
                  </a:lnTo>
                  <a:lnTo>
                    <a:pt x="221" y="251"/>
                  </a:lnTo>
                  <a:lnTo>
                    <a:pt x="217" y="255"/>
                  </a:lnTo>
                  <a:lnTo>
                    <a:pt x="210" y="259"/>
                  </a:lnTo>
                  <a:lnTo>
                    <a:pt x="204" y="261"/>
                  </a:lnTo>
                  <a:lnTo>
                    <a:pt x="196" y="263"/>
                  </a:lnTo>
                  <a:lnTo>
                    <a:pt x="188" y="263"/>
                  </a:lnTo>
                  <a:lnTo>
                    <a:pt x="170" y="263"/>
                  </a:lnTo>
                  <a:lnTo>
                    <a:pt x="152" y="263"/>
                  </a:lnTo>
                  <a:lnTo>
                    <a:pt x="144" y="264"/>
                  </a:lnTo>
                  <a:lnTo>
                    <a:pt x="134" y="265"/>
                  </a:lnTo>
                  <a:lnTo>
                    <a:pt x="126" y="268"/>
                  </a:lnTo>
                  <a:lnTo>
                    <a:pt x="120" y="272"/>
                  </a:lnTo>
                  <a:lnTo>
                    <a:pt x="113" y="277"/>
                  </a:lnTo>
                  <a:lnTo>
                    <a:pt x="106" y="283"/>
                  </a:lnTo>
                  <a:lnTo>
                    <a:pt x="102" y="289"/>
                  </a:lnTo>
                  <a:lnTo>
                    <a:pt x="98" y="296"/>
                  </a:lnTo>
                  <a:lnTo>
                    <a:pt x="94" y="309"/>
                  </a:lnTo>
                  <a:lnTo>
                    <a:pt x="92" y="323"/>
                  </a:lnTo>
                  <a:lnTo>
                    <a:pt x="90" y="337"/>
                  </a:lnTo>
                  <a:lnTo>
                    <a:pt x="89" y="352"/>
                  </a:lnTo>
                  <a:lnTo>
                    <a:pt x="86" y="359"/>
                  </a:lnTo>
                  <a:lnTo>
                    <a:pt x="85" y="365"/>
                  </a:lnTo>
                  <a:lnTo>
                    <a:pt x="81" y="373"/>
                  </a:lnTo>
                  <a:lnTo>
                    <a:pt x="77" y="380"/>
                  </a:lnTo>
                  <a:lnTo>
                    <a:pt x="64" y="399"/>
                  </a:lnTo>
                  <a:lnTo>
                    <a:pt x="53" y="420"/>
                  </a:lnTo>
                  <a:lnTo>
                    <a:pt x="48" y="432"/>
                  </a:lnTo>
                  <a:lnTo>
                    <a:pt x="45" y="444"/>
                  </a:lnTo>
                  <a:lnTo>
                    <a:pt x="43" y="457"/>
                  </a:lnTo>
                  <a:lnTo>
                    <a:pt x="41" y="471"/>
                  </a:lnTo>
                  <a:lnTo>
                    <a:pt x="43" y="484"/>
                  </a:lnTo>
                  <a:lnTo>
                    <a:pt x="44" y="497"/>
                  </a:lnTo>
                  <a:lnTo>
                    <a:pt x="47" y="508"/>
                  </a:lnTo>
                  <a:lnTo>
                    <a:pt x="49" y="519"/>
                  </a:lnTo>
                  <a:lnTo>
                    <a:pt x="57" y="539"/>
                  </a:lnTo>
                  <a:lnTo>
                    <a:pt x="65" y="555"/>
                  </a:lnTo>
                  <a:lnTo>
                    <a:pt x="74" y="572"/>
                  </a:lnTo>
                  <a:lnTo>
                    <a:pt x="82" y="588"/>
                  </a:lnTo>
                  <a:lnTo>
                    <a:pt x="85" y="597"/>
                  </a:lnTo>
                  <a:lnTo>
                    <a:pt x="88" y="605"/>
                  </a:lnTo>
                  <a:lnTo>
                    <a:pt x="89" y="616"/>
                  </a:lnTo>
                  <a:lnTo>
                    <a:pt x="89" y="627"/>
                  </a:lnTo>
                  <a:lnTo>
                    <a:pt x="89" y="635"/>
                  </a:lnTo>
                  <a:lnTo>
                    <a:pt x="86" y="640"/>
                  </a:lnTo>
                  <a:lnTo>
                    <a:pt x="84" y="644"/>
                  </a:lnTo>
                  <a:lnTo>
                    <a:pt x="80" y="647"/>
                  </a:lnTo>
                  <a:lnTo>
                    <a:pt x="76" y="648"/>
                  </a:lnTo>
                  <a:lnTo>
                    <a:pt x="72" y="651"/>
                  </a:lnTo>
                  <a:lnTo>
                    <a:pt x="68" y="653"/>
                  </a:lnTo>
                  <a:lnTo>
                    <a:pt x="65" y="657"/>
                  </a:lnTo>
                  <a:lnTo>
                    <a:pt x="59" y="676"/>
                  </a:lnTo>
                  <a:lnTo>
                    <a:pt x="51" y="693"/>
                  </a:lnTo>
                  <a:lnTo>
                    <a:pt x="43" y="708"/>
                  </a:lnTo>
                  <a:lnTo>
                    <a:pt x="35" y="721"/>
                  </a:lnTo>
                  <a:lnTo>
                    <a:pt x="27" y="732"/>
                  </a:lnTo>
                  <a:lnTo>
                    <a:pt x="17" y="741"/>
                  </a:lnTo>
                  <a:lnTo>
                    <a:pt x="8" y="748"/>
                  </a:lnTo>
                  <a:lnTo>
                    <a:pt x="0" y="753"/>
                  </a:lnTo>
                  <a:lnTo>
                    <a:pt x="27" y="749"/>
                  </a:lnTo>
                  <a:lnTo>
                    <a:pt x="52" y="744"/>
                  </a:lnTo>
                  <a:lnTo>
                    <a:pt x="74" y="737"/>
                  </a:lnTo>
                  <a:lnTo>
                    <a:pt x="94" y="729"/>
                  </a:lnTo>
                  <a:lnTo>
                    <a:pt x="116" y="723"/>
                  </a:lnTo>
                  <a:lnTo>
                    <a:pt x="137" y="717"/>
                  </a:lnTo>
                  <a:lnTo>
                    <a:pt x="149" y="715"/>
                  </a:lnTo>
                  <a:lnTo>
                    <a:pt x="161" y="713"/>
                  </a:lnTo>
                  <a:lnTo>
                    <a:pt x="173" y="712"/>
                  </a:lnTo>
                  <a:lnTo>
                    <a:pt x="186" y="711"/>
                  </a:lnTo>
                  <a:lnTo>
                    <a:pt x="200" y="711"/>
                  </a:lnTo>
                  <a:lnTo>
                    <a:pt x="212" y="711"/>
                  </a:lnTo>
                  <a:lnTo>
                    <a:pt x="221" y="711"/>
                  </a:lnTo>
                  <a:lnTo>
                    <a:pt x="228" y="711"/>
                  </a:lnTo>
                  <a:lnTo>
                    <a:pt x="228" y="725"/>
                  </a:lnTo>
                  <a:lnTo>
                    <a:pt x="224" y="737"/>
                  </a:lnTo>
                  <a:lnTo>
                    <a:pt x="221" y="743"/>
                  </a:lnTo>
                  <a:lnTo>
                    <a:pt x="218" y="747"/>
                  </a:lnTo>
                  <a:lnTo>
                    <a:pt x="216" y="750"/>
                  </a:lnTo>
                  <a:lnTo>
                    <a:pt x="212" y="754"/>
                  </a:lnTo>
                  <a:lnTo>
                    <a:pt x="202" y="758"/>
                  </a:lnTo>
                  <a:lnTo>
                    <a:pt x="193" y="762"/>
                  </a:lnTo>
                  <a:lnTo>
                    <a:pt x="181" y="765"/>
                  </a:lnTo>
                  <a:lnTo>
                    <a:pt x="168" y="765"/>
                  </a:lnTo>
                  <a:lnTo>
                    <a:pt x="168" y="808"/>
                  </a:lnTo>
                  <a:lnTo>
                    <a:pt x="186" y="832"/>
                  </a:lnTo>
                  <a:lnTo>
                    <a:pt x="206" y="853"/>
                  </a:lnTo>
                  <a:lnTo>
                    <a:pt x="225" y="874"/>
                  </a:lnTo>
                  <a:lnTo>
                    <a:pt x="245" y="896"/>
                  </a:lnTo>
                  <a:lnTo>
                    <a:pt x="264" y="918"/>
                  </a:lnTo>
                  <a:lnTo>
                    <a:pt x="281" y="941"/>
                  </a:lnTo>
                  <a:lnTo>
                    <a:pt x="290" y="953"/>
                  </a:lnTo>
                  <a:lnTo>
                    <a:pt x="298" y="966"/>
                  </a:lnTo>
                  <a:lnTo>
                    <a:pt x="305" y="980"/>
                  </a:lnTo>
                  <a:lnTo>
                    <a:pt x="313" y="994"/>
                  </a:lnTo>
                  <a:lnTo>
                    <a:pt x="324" y="989"/>
                  </a:lnTo>
                  <a:lnTo>
                    <a:pt x="333" y="982"/>
                  </a:lnTo>
                  <a:lnTo>
                    <a:pt x="340" y="976"/>
                  </a:lnTo>
                  <a:lnTo>
                    <a:pt x="345" y="968"/>
                  </a:lnTo>
                  <a:lnTo>
                    <a:pt x="350" y="962"/>
                  </a:lnTo>
                  <a:lnTo>
                    <a:pt x="356" y="957"/>
                  </a:lnTo>
                  <a:lnTo>
                    <a:pt x="360" y="954"/>
                  </a:lnTo>
                  <a:lnTo>
                    <a:pt x="364" y="953"/>
                  </a:lnTo>
                  <a:lnTo>
                    <a:pt x="368" y="952"/>
                  </a:lnTo>
                  <a:lnTo>
                    <a:pt x="373" y="952"/>
                  </a:lnTo>
                  <a:lnTo>
                    <a:pt x="380" y="953"/>
                  </a:lnTo>
                  <a:lnTo>
                    <a:pt x="386" y="956"/>
                  </a:lnTo>
                  <a:lnTo>
                    <a:pt x="393" y="960"/>
                  </a:lnTo>
                  <a:lnTo>
                    <a:pt x="400" y="965"/>
                  </a:lnTo>
                  <a:lnTo>
                    <a:pt x="410" y="974"/>
                  </a:lnTo>
                  <a:lnTo>
                    <a:pt x="421" y="982"/>
                  </a:lnTo>
                  <a:lnTo>
                    <a:pt x="429" y="974"/>
                  </a:lnTo>
                  <a:lnTo>
                    <a:pt x="438" y="968"/>
                  </a:lnTo>
                  <a:lnTo>
                    <a:pt x="448" y="962"/>
                  </a:lnTo>
                  <a:lnTo>
                    <a:pt x="457" y="958"/>
                  </a:lnTo>
                  <a:lnTo>
                    <a:pt x="466" y="956"/>
                  </a:lnTo>
                  <a:lnTo>
                    <a:pt x="477" y="954"/>
                  </a:lnTo>
                  <a:lnTo>
                    <a:pt x="488" y="953"/>
                  </a:lnTo>
                  <a:lnTo>
                    <a:pt x="498" y="953"/>
                  </a:lnTo>
                  <a:lnTo>
                    <a:pt x="521" y="954"/>
                  </a:lnTo>
                  <a:lnTo>
                    <a:pt x="544" y="954"/>
                  </a:lnTo>
                  <a:lnTo>
                    <a:pt x="566" y="954"/>
                  </a:lnTo>
                  <a:lnTo>
                    <a:pt x="589" y="952"/>
                  </a:lnTo>
                  <a:lnTo>
                    <a:pt x="604" y="946"/>
                  </a:lnTo>
                  <a:lnTo>
                    <a:pt x="617" y="940"/>
                  </a:lnTo>
                  <a:lnTo>
                    <a:pt x="629" y="933"/>
                  </a:lnTo>
                  <a:lnTo>
                    <a:pt x="641" y="925"/>
                  </a:lnTo>
                  <a:lnTo>
                    <a:pt x="664" y="906"/>
                  </a:lnTo>
                  <a:lnTo>
                    <a:pt x="686" y="889"/>
                  </a:lnTo>
                  <a:lnTo>
                    <a:pt x="697" y="880"/>
                  </a:lnTo>
                  <a:lnTo>
                    <a:pt x="709" y="872"/>
                  </a:lnTo>
                  <a:lnTo>
                    <a:pt x="722" y="864"/>
                  </a:lnTo>
                  <a:lnTo>
                    <a:pt x="736" y="857"/>
                  </a:lnTo>
                  <a:lnTo>
                    <a:pt x="750" y="852"/>
                  </a:lnTo>
                  <a:lnTo>
                    <a:pt x="765" y="846"/>
                  </a:lnTo>
                  <a:lnTo>
                    <a:pt x="782" y="844"/>
                  </a:lnTo>
                  <a:lnTo>
                    <a:pt x="801" y="844"/>
                  </a:lnTo>
                  <a:lnTo>
                    <a:pt x="809" y="844"/>
                  </a:lnTo>
                  <a:lnTo>
                    <a:pt x="817" y="846"/>
                  </a:lnTo>
                  <a:lnTo>
                    <a:pt x="823" y="850"/>
                  </a:lnTo>
                  <a:lnTo>
                    <a:pt x="830" y="854"/>
                  </a:lnTo>
                  <a:lnTo>
                    <a:pt x="841" y="866"/>
                  </a:lnTo>
                  <a:lnTo>
                    <a:pt x="850" y="881"/>
                  </a:lnTo>
                  <a:lnTo>
                    <a:pt x="861" y="896"/>
                  </a:lnTo>
                  <a:lnTo>
                    <a:pt x="870" y="909"/>
                  </a:lnTo>
                  <a:lnTo>
                    <a:pt x="877" y="916"/>
                  </a:lnTo>
                  <a:lnTo>
                    <a:pt x="882" y="921"/>
                  </a:lnTo>
                  <a:lnTo>
                    <a:pt x="889" y="925"/>
                  </a:lnTo>
                  <a:lnTo>
                    <a:pt x="897" y="928"/>
                  </a:lnTo>
                  <a:lnTo>
                    <a:pt x="897" y="942"/>
                  </a:lnTo>
                  <a:lnTo>
                    <a:pt x="897" y="950"/>
                  </a:lnTo>
                  <a:lnTo>
                    <a:pt x="897" y="958"/>
                  </a:lnTo>
                  <a:lnTo>
                    <a:pt x="897" y="970"/>
                  </a:lnTo>
                  <a:lnTo>
                    <a:pt x="898" y="974"/>
                  </a:lnTo>
                  <a:lnTo>
                    <a:pt x="899" y="981"/>
                  </a:lnTo>
                  <a:lnTo>
                    <a:pt x="903" y="988"/>
                  </a:lnTo>
                  <a:lnTo>
                    <a:pt x="909" y="994"/>
                  </a:lnTo>
                  <a:lnTo>
                    <a:pt x="921" y="1009"/>
                  </a:lnTo>
                  <a:lnTo>
                    <a:pt x="935" y="1024"/>
                  </a:lnTo>
                  <a:lnTo>
                    <a:pt x="951" y="1038"/>
                  </a:lnTo>
                  <a:lnTo>
                    <a:pt x="967" y="1049"/>
                  </a:lnTo>
                  <a:lnTo>
                    <a:pt x="975" y="1054"/>
                  </a:lnTo>
                  <a:lnTo>
                    <a:pt x="982" y="1057"/>
                  </a:lnTo>
                  <a:lnTo>
                    <a:pt x="987" y="1060"/>
                  </a:lnTo>
                  <a:lnTo>
                    <a:pt x="993" y="1060"/>
                  </a:lnTo>
                  <a:lnTo>
                    <a:pt x="1002" y="1058"/>
                  </a:lnTo>
                  <a:lnTo>
                    <a:pt x="1010" y="1056"/>
                  </a:lnTo>
                  <a:lnTo>
                    <a:pt x="1019" y="1049"/>
                  </a:lnTo>
                  <a:lnTo>
                    <a:pt x="1027" y="1041"/>
                  </a:lnTo>
                  <a:lnTo>
                    <a:pt x="1035" y="1032"/>
                  </a:lnTo>
                  <a:lnTo>
                    <a:pt x="1043" y="1022"/>
                  </a:lnTo>
                  <a:lnTo>
                    <a:pt x="1050" y="1012"/>
                  </a:lnTo>
                  <a:lnTo>
                    <a:pt x="1057" y="1000"/>
                  </a:lnTo>
                  <a:lnTo>
                    <a:pt x="1075" y="958"/>
                  </a:lnTo>
                  <a:lnTo>
                    <a:pt x="1083" y="940"/>
                  </a:lnTo>
                  <a:lnTo>
                    <a:pt x="1103" y="940"/>
                  </a:lnTo>
                  <a:lnTo>
                    <a:pt x="1118" y="940"/>
                  </a:lnTo>
                  <a:lnTo>
                    <a:pt x="1131" y="940"/>
                  </a:lnTo>
                  <a:lnTo>
                    <a:pt x="1143" y="940"/>
                  </a:lnTo>
                  <a:lnTo>
                    <a:pt x="1149" y="938"/>
                  </a:lnTo>
                  <a:lnTo>
                    <a:pt x="1153" y="936"/>
                  </a:lnTo>
                  <a:lnTo>
                    <a:pt x="1157" y="932"/>
                  </a:lnTo>
                  <a:lnTo>
                    <a:pt x="1161" y="928"/>
                  </a:lnTo>
                  <a:lnTo>
                    <a:pt x="1169" y="920"/>
                  </a:lnTo>
                  <a:lnTo>
                    <a:pt x="1174" y="916"/>
                  </a:lnTo>
                  <a:lnTo>
                    <a:pt x="1182" y="913"/>
                  </a:lnTo>
                  <a:lnTo>
                    <a:pt x="1191" y="910"/>
                  </a:lnTo>
                  <a:lnTo>
                    <a:pt x="1201" y="909"/>
                  </a:lnTo>
                  <a:lnTo>
                    <a:pt x="1209" y="909"/>
                  </a:lnTo>
                  <a:lnTo>
                    <a:pt x="1225" y="909"/>
                  </a:lnTo>
                  <a:lnTo>
                    <a:pt x="1242" y="912"/>
                  </a:lnTo>
                  <a:lnTo>
                    <a:pt x="1257" y="913"/>
                  </a:lnTo>
                  <a:lnTo>
                    <a:pt x="1271" y="916"/>
                  </a:lnTo>
                  <a:lnTo>
                    <a:pt x="1286" y="917"/>
                  </a:lnTo>
                  <a:lnTo>
                    <a:pt x="1301" y="916"/>
                  </a:lnTo>
                  <a:lnTo>
                    <a:pt x="1307" y="914"/>
                  </a:lnTo>
                  <a:lnTo>
                    <a:pt x="1314" y="912"/>
                  </a:lnTo>
                  <a:lnTo>
                    <a:pt x="1319" y="908"/>
                  </a:lnTo>
                  <a:lnTo>
                    <a:pt x="1323" y="904"/>
                  </a:lnTo>
                  <a:lnTo>
                    <a:pt x="1330" y="894"/>
                  </a:lnTo>
                  <a:lnTo>
                    <a:pt x="1337" y="884"/>
                  </a:lnTo>
                  <a:lnTo>
                    <a:pt x="1342" y="873"/>
                  </a:lnTo>
                  <a:lnTo>
                    <a:pt x="1349" y="861"/>
                  </a:lnTo>
                  <a:lnTo>
                    <a:pt x="1354" y="856"/>
                  </a:lnTo>
                  <a:lnTo>
                    <a:pt x="1359" y="852"/>
                  </a:lnTo>
                  <a:lnTo>
                    <a:pt x="1365" y="848"/>
                  </a:lnTo>
                  <a:lnTo>
                    <a:pt x="1373" y="844"/>
                  </a:lnTo>
                  <a:lnTo>
                    <a:pt x="1369" y="830"/>
                  </a:lnTo>
                  <a:lnTo>
                    <a:pt x="1365" y="816"/>
                  </a:lnTo>
                  <a:lnTo>
                    <a:pt x="1362" y="802"/>
                  </a:lnTo>
                  <a:lnTo>
                    <a:pt x="1361" y="789"/>
                  </a:lnTo>
                  <a:lnTo>
                    <a:pt x="1361" y="784"/>
                  </a:lnTo>
                  <a:lnTo>
                    <a:pt x="1363" y="778"/>
                  </a:lnTo>
                  <a:lnTo>
                    <a:pt x="1366" y="774"/>
                  </a:lnTo>
                  <a:lnTo>
                    <a:pt x="1370" y="770"/>
                  </a:lnTo>
                  <a:lnTo>
                    <a:pt x="1373" y="766"/>
                  </a:lnTo>
                  <a:lnTo>
                    <a:pt x="1375" y="761"/>
                  </a:lnTo>
                  <a:lnTo>
                    <a:pt x="1378" y="754"/>
                  </a:lnTo>
                  <a:lnTo>
                    <a:pt x="1378" y="747"/>
                  </a:lnTo>
                  <a:lnTo>
                    <a:pt x="1377" y="731"/>
                  </a:lnTo>
                  <a:lnTo>
                    <a:pt x="1373" y="713"/>
                  </a:lnTo>
                  <a:lnTo>
                    <a:pt x="1367" y="695"/>
                  </a:lnTo>
                  <a:lnTo>
                    <a:pt x="1361" y="676"/>
                  </a:lnTo>
                  <a:lnTo>
                    <a:pt x="1354" y="659"/>
                  </a:lnTo>
                  <a:lnTo>
                    <a:pt x="1347" y="643"/>
                  </a:lnTo>
                  <a:lnTo>
                    <a:pt x="1343" y="628"/>
                  </a:lnTo>
                  <a:lnTo>
                    <a:pt x="1342" y="615"/>
                  </a:lnTo>
                  <a:lnTo>
                    <a:pt x="1342" y="607"/>
                  </a:lnTo>
                  <a:lnTo>
                    <a:pt x="1342" y="584"/>
                  </a:lnTo>
                  <a:lnTo>
                    <a:pt x="1342" y="572"/>
                  </a:lnTo>
                  <a:lnTo>
                    <a:pt x="1341" y="560"/>
                  </a:lnTo>
                  <a:lnTo>
                    <a:pt x="1339" y="551"/>
                  </a:lnTo>
                  <a:lnTo>
                    <a:pt x="1338" y="541"/>
                  </a:lnTo>
                  <a:lnTo>
                    <a:pt x="1333" y="524"/>
                  </a:lnTo>
                  <a:lnTo>
                    <a:pt x="1325" y="507"/>
                  </a:lnTo>
                  <a:lnTo>
                    <a:pt x="1325" y="440"/>
                  </a:lnTo>
                  <a:lnTo>
                    <a:pt x="1325" y="452"/>
                  </a:lnTo>
                  <a:lnTo>
                    <a:pt x="1301" y="453"/>
                  </a:lnTo>
                  <a:lnTo>
                    <a:pt x="1278" y="457"/>
                  </a:lnTo>
                  <a:lnTo>
                    <a:pt x="1267" y="460"/>
                  </a:lnTo>
                  <a:lnTo>
                    <a:pt x="1257" y="463"/>
                  </a:lnTo>
                  <a:lnTo>
                    <a:pt x="1247" y="467"/>
                  </a:lnTo>
                  <a:lnTo>
                    <a:pt x="1238" y="472"/>
                  </a:lnTo>
                  <a:lnTo>
                    <a:pt x="1230" y="477"/>
                  </a:lnTo>
                  <a:lnTo>
                    <a:pt x="1223" y="483"/>
                  </a:lnTo>
                  <a:lnTo>
                    <a:pt x="1217" y="491"/>
                  </a:lnTo>
                  <a:lnTo>
                    <a:pt x="1211" y="497"/>
                  </a:lnTo>
                  <a:lnTo>
                    <a:pt x="1206" y="507"/>
                  </a:lnTo>
                  <a:lnTo>
                    <a:pt x="1202" y="516"/>
                  </a:lnTo>
                  <a:lnTo>
                    <a:pt x="1199" y="525"/>
                  </a:lnTo>
                  <a:lnTo>
                    <a:pt x="1198" y="536"/>
                  </a:lnTo>
                  <a:lnTo>
                    <a:pt x="1162" y="536"/>
                  </a:lnTo>
                  <a:lnTo>
                    <a:pt x="1163" y="519"/>
                  </a:lnTo>
                  <a:lnTo>
                    <a:pt x="1167" y="503"/>
                  </a:lnTo>
                  <a:lnTo>
                    <a:pt x="1171" y="487"/>
                  </a:lnTo>
                  <a:lnTo>
                    <a:pt x="1174" y="471"/>
                  </a:lnTo>
                  <a:lnTo>
                    <a:pt x="1173" y="460"/>
                  </a:lnTo>
                  <a:lnTo>
                    <a:pt x="1169" y="452"/>
                  </a:lnTo>
                  <a:lnTo>
                    <a:pt x="1165" y="444"/>
                  </a:lnTo>
                  <a:lnTo>
                    <a:pt x="1158" y="437"/>
                  </a:lnTo>
                  <a:lnTo>
                    <a:pt x="1153" y="432"/>
                  </a:lnTo>
                  <a:lnTo>
                    <a:pt x="1149" y="425"/>
                  </a:lnTo>
                  <a:lnTo>
                    <a:pt x="1145" y="419"/>
                  </a:lnTo>
                  <a:lnTo>
                    <a:pt x="1143" y="409"/>
                  </a:lnTo>
                  <a:lnTo>
                    <a:pt x="1145" y="401"/>
                  </a:lnTo>
                  <a:lnTo>
                    <a:pt x="1146" y="393"/>
                  </a:lnTo>
                  <a:lnTo>
                    <a:pt x="1149" y="387"/>
                  </a:lnTo>
                  <a:lnTo>
                    <a:pt x="1153" y="380"/>
                  </a:lnTo>
                  <a:lnTo>
                    <a:pt x="1155" y="375"/>
                  </a:lnTo>
                  <a:lnTo>
                    <a:pt x="1159" y="368"/>
                  </a:lnTo>
                  <a:lnTo>
                    <a:pt x="1161" y="363"/>
                  </a:lnTo>
                  <a:lnTo>
                    <a:pt x="1162" y="356"/>
                  </a:lnTo>
                  <a:lnTo>
                    <a:pt x="1161" y="349"/>
                  </a:lnTo>
                  <a:lnTo>
                    <a:pt x="1161" y="343"/>
                  </a:lnTo>
                  <a:lnTo>
                    <a:pt x="1158" y="336"/>
                  </a:lnTo>
                  <a:lnTo>
                    <a:pt x="1155" y="331"/>
                  </a:lnTo>
                  <a:lnTo>
                    <a:pt x="1151" y="327"/>
                  </a:lnTo>
                  <a:lnTo>
                    <a:pt x="1146" y="323"/>
                  </a:lnTo>
                  <a:lnTo>
                    <a:pt x="1139" y="320"/>
                  </a:lnTo>
                  <a:lnTo>
                    <a:pt x="1131" y="320"/>
                  </a:lnTo>
                  <a:lnTo>
                    <a:pt x="1117" y="321"/>
                  </a:lnTo>
                  <a:lnTo>
                    <a:pt x="1103" y="324"/>
                  </a:lnTo>
                  <a:lnTo>
                    <a:pt x="1090" y="329"/>
                  </a:lnTo>
                  <a:lnTo>
                    <a:pt x="1077" y="335"/>
                  </a:lnTo>
                  <a:lnTo>
                    <a:pt x="1065" y="340"/>
                  </a:lnTo>
                  <a:lnTo>
                    <a:pt x="1051" y="345"/>
                  </a:lnTo>
                  <a:lnTo>
                    <a:pt x="1038" y="348"/>
                  </a:lnTo>
                  <a:lnTo>
                    <a:pt x="1023" y="349"/>
                  </a:lnTo>
                  <a:lnTo>
                    <a:pt x="1010" y="349"/>
                  </a:lnTo>
                  <a:lnTo>
                    <a:pt x="998" y="347"/>
                  </a:lnTo>
                  <a:lnTo>
                    <a:pt x="986" y="344"/>
                  </a:lnTo>
                  <a:lnTo>
                    <a:pt x="975" y="340"/>
                  </a:lnTo>
                  <a:lnTo>
                    <a:pt x="954" y="331"/>
                  </a:lnTo>
                  <a:lnTo>
                    <a:pt x="935" y="319"/>
                  </a:lnTo>
                  <a:lnTo>
                    <a:pt x="918" y="307"/>
                  </a:lnTo>
                  <a:lnTo>
                    <a:pt x="901" y="296"/>
                  </a:lnTo>
                  <a:lnTo>
                    <a:pt x="893" y="292"/>
                  </a:lnTo>
                  <a:lnTo>
                    <a:pt x="885" y="288"/>
                  </a:lnTo>
                  <a:lnTo>
                    <a:pt x="875" y="285"/>
                  </a:lnTo>
                  <a:lnTo>
                    <a:pt x="866" y="284"/>
                  </a:lnTo>
                  <a:lnTo>
                    <a:pt x="839" y="284"/>
                  </a:lnTo>
                  <a:lnTo>
                    <a:pt x="808" y="285"/>
                  </a:lnTo>
                  <a:lnTo>
                    <a:pt x="793" y="284"/>
                  </a:lnTo>
                  <a:lnTo>
                    <a:pt x="778" y="284"/>
                  </a:lnTo>
                  <a:lnTo>
                    <a:pt x="766" y="281"/>
                  </a:lnTo>
                  <a:lnTo>
                    <a:pt x="758" y="277"/>
                  </a:lnTo>
                  <a:lnTo>
                    <a:pt x="752" y="271"/>
                  </a:lnTo>
                  <a:lnTo>
                    <a:pt x="748" y="263"/>
                  </a:lnTo>
                  <a:lnTo>
                    <a:pt x="742" y="255"/>
                  </a:lnTo>
                  <a:lnTo>
                    <a:pt x="740" y="247"/>
                  </a:lnTo>
                  <a:lnTo>
                    <a:pt x="734" y="229"/>
                  </a:lnTo>
                  <a:lnTo>
                    <a:pt x="730" y="212"/>
                  </a:lnTo>
                  <a:lnTo>
                    <a:pt x="725" y="195"/>
                  </a:lnTo>
                  <a:lnTo>
                    <a:pt x="717" y="179"/>
                  </a:lnTo>
                  <a:lnTo>
                    <a:pt x="713" y="171"/>
                  </a:lnTo>
                  <a:lnTo>
                    <a:pt x="708" y="164"/>
                  </a:lnTo>
                  <a:lnTo>
                    <a:pt x="701" y="158"/>
                  </a:lnTo>
                  <a:lnTo>
                    <a:pt x="692" y="151"/>
                  </a:lnTo>
                  <a:lnTo>
                    <a:pt x="649" y="127"/>
                  </a:lnTo>
                  <a:lnTo>
                    <a:pt x="602" y="102"/>
                  </a:lnTo>
                  <a:lnTo>
                    <a:pt x="576" y="91"/>
                  </a:lnTo>
                  <a:lnTo>
                    <a:pt x="550" y="80"/>
                  </a:lnTo>
                  <a:lnTo>
                    <a:pt x="522" y="72"/>
                  </a:lnTo>
                  <a:lnTo>
                    <a:pt x="493" y="67"/>
                  </a:lnTo>
                  <a:lnTo>
                    <a:pt x="457" y="60"/>
                  </a:lnTo>
                  <a:lnTo>
                    <a:pt x="400" y="50"/>
                  </a:lnTo>
                  <a:lnTo>
                    <a:pt x="370" y="43"/>
                  </a:lnTo>
                  <a:lnTo>
                    <a:pt x="345" y="35"/>
                  </a:lnTo>
                  <a:lnTo>
                    <a:pt x="334" y="31"/>
                  </a:lnTo>
                  <a:lnTo>
                    <a:pt x="326" y="27"/>
                  </a:lnTo>
                  <a:lnTo>
                    <a:pt x="321" y="23"/>
                  </a:lnTo>
                  <a:lnTo>
                    <a:pt x="318" y="19"/>
                  </a:lnTo>
                  <a:lnTo>
                    <a:pt x="258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4" name="Freeform 50"/>
            <p:cNvSpPr>
              <a:spLocks/>
            </p:cNvSpPr>
            <p:nvPr/>
          </p:nvSpPr>
          <p:spPr bwMode="auto">
            <a:xfrm>
              <a:off x="4089722" y="5246688"/>
              <a:ext cx="323850" cy="550862"/>
            </a:xfrm>
            <a:custGeom>
              <a:avLst/>
              <a:gdLst/>
              <a:ahLst/>
              <a:cxnLst>
                <a:cxn ang="0">
                  <a:pos x="591" y="1089"/>
                </a:cxn>
                <a:cxn ang="0">
                  <a:pos x="621" y="1045"/>
                </a:cxn>
                <a:cxn ang="0">
                  <a:pos x="623" y="993"/>
                </a:cxn>
                <a:cxn ang="0">
                  <a:pos x="597" y="915"/>
                </a:cxn>
                <a:cxn ang="0">
                  <a:pos x="583" y="849"/>
                </a:cxn>
                <a:cxn ang="0">
                  <a:pos x="610" y="779"/>
                </a:cxn>
                <a:cxn ang="0">
                  <a:pos x="663" y="704"/>
                </a:cxn>
                <a:cxn ang="0">
                  <a:pos x="665" y="657"/>
                </a:cxn>
                <a:cxn ang="0">
                  <a:pos x="645" y="633"/>
                </a:cxn>
                <a:cxn ang="0">
                  <a:pos x="598" y="625"/>
                </a:cxn>
                <a:cxn ang="0">
                  <a:pos x="539" y="624"/>
                </a:cxn>
                <a:cxn ang="0">
                  <a:pos x="537" y="593"/>
                </a:cxn>
                <a:cxn ang="0">
                  <a:pos x="566" y="511"/>
                </a:cxn>
                <a:cxn ang="0">
                  <a:pos x="567" y="458"/>
                </a:cxn>
                <a:cxn ang="0">
                  <a:pos x="541" y="408"/>
                </a:cxn>
                <a:cxn ang="0">
                  <a:pos x="535" y="376"/>
                </a:cxn>
                <a:cxn ang="0">
                  <a:pos x="553" y="358"/>
                </a:cxn>
                <a:cxn ang="0">
                  <a:pos x="590" y="320"/>
                </a:cxn>
                <a:cxn ang="0">
                  <a:pos x="633" y="292"/>
                </a:cxn>
                <a:cxn ang="0">
                  <a:pos x="655" y="259"/>
                </a:cxn>
                <a:cxn ang="0">
                  <a:pos x="642" y="186"/>
                </a:cxn>
                <a:cxn ang="0">
                  <a:pos x="598" y="122"/>
                </a:cxn>
                <a:cxn ang="0">
                  <a:pos x="571" y="67"/>
                </a:cxn>
                <a:cxn ang="0">
                  <a:pos x="553" y="2"/>
                </a:cxn>
                <a:cxn ang="0">
                  <a:pos x="511" y="19"/>
                </a:cxn>
                <a:cxn ang="0">
                  <a:pos x="475" y="55"/>
                </a:cxn>
                <a:cxn ang="0">
                  <a:pos x="435" y="58"/>
                </a:cxn>
                <a:cxn ang="0">
                  <a:pos x="366" y="36"/>
                </a:cxn>
                <a:cxn ang="0">
                  <a:pos x="313" y="39"/>
                </a:cxn>
                <a:cxn ang="0">
                  <a:pos x="271" y="34"/>
                </a:cxn>
                <a:cxn ang="0">
                  <a:pos x="226" y="48"/>
                </a:cxn>
                <a:cxn ang="0">
                  <a:pos x="188" y="60"/>
                </a:cxn>
                <a:cxn ang="0">
                  <a:pos x="125" y="120"/>
                </a:cxn>
                <a:cxn ang="0">
                  <a:pos x="70" y="130"/>
                </a:cxn>
                <a:cxn ang="0">
                  <a:pos x="0" y="218"/>
                </a:cxn>
                <a:cxn ang="0">
                  <a:pos x="17" y="283"/>
                </a:cxn>
                <a:cxn ang="0">
                  <a:pos x="22" y="354"/>
                </a:cxn>
                <a:cxn ang="0">
                  <a:pos x="52" y="442"/>
                </a:cxn>
                <a:cxn ang="0">
                  <a:pos x="45" y="481"/>
                </a:cxn>
                <a:cxn ang="0">
                  <a:pos x="37" y="517"/>
                </a:cxn>
                <a:cxn ang="0">
                  <a:pos x="65" y="588"/>
                </a:cxn>
                <a:cxn ang="0">
                  <a:pos x="153" y="661"/>
                </a:cxn>
                <a:cxn ang="0">
                  <a:pos x="202" y="713"/>
                </a:cxn>
                <a:cxn ang="0">
                  <a:pos x="244" y="797"/>
                </a:cxn>
                <a:cxn ang="0">
                  <a:pos x="285" y="824"/>
                </a:cxn>
                <a:cxn ang="0">
                  <a:pos x="290" y="848"/>
                </a:cxn>
                <a:cxn ang="0">
                  <a:pos x="270" y="880"/>
                </a:cxn>
                <a:cxn ang="0">
                  <a:pos x="283" y="905"/>
                </a:cxn>
                <a:cxn ang="0">
                  <a:pos x="310" y="936"/>
                </a:cxn>
                <a:cxn ang="0">
                  <a:pos x="309" y="964"/>
                </a:cxn>
                <a:cxn ang="0">
                  <a:pos x="301" y="988"/>
                </a:cxn>
                <a:cxn ang="0">
                  <a:pos x="315" y="1031"/>
                </a:cxn>
                <a:cxn ang="0">
                  <a:pos x="373" y="1056"/>
                </a:cxn>
                <a:cxn ang="0">
                  <a:pos x="473" y="1072"/>
                </a:cxn>
                <a:cxn ang="0">
                  <a:pos x="509" y="1098"/>
                </a:cxn>
                <a:cxn ang="0">
                  <a:pos x="517" y="1138"/>
                </a:cxn>
              </a:cxnLst>
              <a:rect l="0" t="0" r="r" b="b"/>
              <a:pathLst>
                <a:path w="667" h="1138">
                  <a:moveTo>
                    <a:pt x="517" y="1138"/>
                  </a:moveTo>
                  <a:lnTo>
                    <a:pt x="537" y="1126"/>
                  </a:lnTo>
                  <a:lnTo>
                    <a:pt x="557" y="1116"/>
                  </a:lnTo>
                  <a:lnTo>
                    <a:pt x="575" y="1102"/>
                  </a:lnTo>
                  <a:lnTo>
                    <a:pt x="591" y="1089"/>
                  </a:lnTo>
                  <a:lnTo>
                    <a:pt x="599" y="1081"/>
                  </a:lnTo>
                  <a:lnTo>
                    <a:pt x="606" y="1073"/>
                  </a:lnTo>
                  <a:lnTo>
                    <a:pt x="611" y="1065"/>
                  </a:lnTo>
                  <a:lnTo>
                    <a:pt x="617" y="1056"/>
                  </a:lnTo>
                  <a:lnTo>
                    <a:pt x="621" y="1045"/>
                  </a:lnTo>
                  <a:lnTo>
                    <a:pt x="623" y="1036"/>
                  </a:lnTo>
                  <a:lnTo>
                    <a:pt x="625" y="1024"/>
                  </a:lnTo>
                  <a:lnTo>
                    <a:pt x="626" y="1012"/>
                  </a:lnTo>
                  <a:lnTo>
                    <a:pt x="625" y="1003"/>
                  </a:lnTo>
                  <a:lnTo>
                    <a:pt x="623" y="993"/>
                  </a:lnTo>
                  <a:lnTo>
                    <a:pt x="622" y="984"/>
                  </a:lnTo>
                  <a:lnTo>
                    <a:pt x="619" y="975"/>
                  </a:lnTo>
                  <a:lnTo>
                    <a:pt x="613" y="956"/>
                  </a:lnTo>
                  <a:lnTo>
                    <a:pt x="605" y="936"/>
                  </a:lnTo>
                  <a:lnTo>
                    <a:pt x="597" y="915"/>
                  </a:lnTo>
                  <a:lnTo>
                    <a:pt x="590" y="893"/>
                  </a:lnTo>
                  <a:lnTo>
                    <a:pt x="587" y="883"/>
                  </a:lnTo>
                  <a:lnTo>
                    <a:pt x="585" y="872"/>
                  </a:lnTo>
                  <a:lnTo>
                    <a:pt x="583" y="861"/>
                  </a:lnTo>
                  <a:lnTo>
                    <a:pt x="583" y="849"/>
                  </a:lnTo>
                  <a:lnTo>
                    <a:pt x="585" y="836"/>
                  </a:lnTo>
                  <a:lnTo>
                    <a:pt x="587" y="823"/>
                  </a:lnTo>
                  <a:lnTo>
                    <a:pt x="591" y="811"/>
                  </a:lnTo>
                  <a:lnTo>
                    <a:pt x="597" y="800"/>
                  </a:lnTo>
                  <a:lnTo>
                    <a:pt x="610" y="779"/>
                  </a:lnTo>
                  <a:lnTo>
                    <a:pt x="626" y="760"/>
                  </a:lnTo>
                  <a:lnTo>
                    <a:pt x="641" y="743"/>
                  </a:lnTo>
                  <a:lnTo>
                    <a:pt x="654" y="724"/>
                  </a:lnTo>
                  <a:lnTo>
                    <a:pt x="659" y="715"/>
                  </a:lnTo>
                  <a:lnTo>
                    <a:pt x="663" y="704"/>
                  </a:lnTo>
                  <a:lnTo>
                    <a:pt x="666" y="693"/>
                  </a:lnTo>
                  <a:lnTo>
                    <a:pt x="667" y="681"/>
                  </a:lnTo>
                  <a:lnTo>
                    <a:pt x="667" y="672"/>
                  </a:lnTo>
                  <a:lnTo>
                    <a:pt x="666" y="664"/>
                  </a:lnTo>
                  <a:lnTo>
                    <a:pt x="665" y="657"/>
                  </a:lnTo>
                  <a:lnTo>
                    <a:pt x="662" y="651"/>
                  </a:lnTo>
                  <a:lnTo>
                    <a:pt x="659" y="645"/>
                  </a:lnTo>
                  <a:lnTo>
                    <a:pt x="655" y="641"/>
                  </a:lnTo>
                  <a:lnTo>
                    <a:pt x="650" y="637"/>
                  </a:lnTo>
                  <a:lnTo>
                    <a:pt x="645" y="633"/>
                  </a:lnTo>
                  <a:lnTo>
                    <a:pt x="639" y="631"/>
                  </a:lnTo>
                  <a:lnTo>
                    <a:pt x="633" y="628"/>
                  </a:lnTo>
                  <a:lnTo>
                    <a:pt x="625" y="627"/>
                  </a:lnTo>
                  <a:lnTo>
                    <a:pt x="617" y="625"/>
                  </a:lnTo>
                  <a:lnTo>
                    <a:pt x="598" y="625"/>
                  </a:lnTo>
                  <a:lnTo>
                    <a:pt x="577" y="627"/>
                  </a:lnTo>
                  <a:lnTo>
                    <a:pt x="563" y="628"/>
                  </a:lnTo>
                  <a:lnTo>
                    <a:pt x="550" y="629"/>
                  </a:lnTo>
                  <a:lnTo>
                    <a:pt x="543" y="628"/>
                  </a:lnTo>
                  <a:lnTo>
                    <a:pt x="539" y="624"/>
                  </a:lnTo>
                  <a:lnTo>
                    <a:pt x="538" y="621"/>
                  </a:lnTo>
                  <a:lnTo>
                    <a:pt x="537" y="617"/>
                  </a:lnTo>
                  <a:lnTo>
                    <a:pt x="535" y="613"/>
                  </a:lnTo>
                  <a:lnTo>
                    <a:pt x="535" y="608"/>
                  </a:lnTo>
                  <a:lnTo>
                    <a:pt x="537" y="593"/>
                  </a:lnTo>
                  <a:lnTo>
                    <a:pt x="541" y="577"/>
                  </a:lnTo>
                  <a:lnTo>
                    <a:pt x="546" y="561"/>
                  </a:lnTo>
                  <a:lnTo>
                    <a:pt x="553" y="544"/>
                  </a:lnTo>
                  <a:lnTo>
                    <a:pt x="559" y="528"/>
                  </a:lnTo>
                  <a:lnTo>
                    <a:pt x="566" y="511"/>
                  </a:lnTo>
                  <a:lnTo>
                    <a:pt x="570" y="493"/>
                  </a:lnTo>
                  <a:lnTo>
                    <a:pt x="571" y="476"/>
                  </a:lnTo>
                  <a:lnTo>
                    <a:pt x="571" y="469"/>
                  </a:lnTo>
                  <a:lnTo>
                    <a:pt x="570" y="463"/>
                  </a:lnTo>
                  <a:lnTo>
                    <a:pt x="567" y="458"/>
                  </a:lnTo>
                  <a:lnTo>
                    <a:pt x="566" y="452"/>
                  </a:lnTo>
                  <a:lnTo>
                    <a:pt x="559" y="442"/>
                  </a:lnTo>
                  <a:lnTo>
                    <a:pt x="553" y="431"/>
                  </a:lnTo>
                  <a:lnTo>
                    <a:pt x="546" y="419"/>
                  </a:lnTo>
                  <a:lnTo>
                    <a:pt x="541" y="408"/>
                  </a:lnTo>
                  <a:lnTo>
                    <a:pt x="538" y="402"/>
                  </a:lnTo>
                  <a:lnTo>
                    <a:pt x="537" y="395"/>
                  </a:lnTo>
                  <a:lnTo>
                    <a:pt x="535" y="387"/>
                  </a:lnTo>
                  <a:lnTo>
                    <a:pt x="535" y="380"/>
                  </a:lnTo>
                  <a:lnTo>
                    <a:pt x="535" y="376"/>
                  </a:lnTo>
                  <a:lnTo>
                    <a:pt x="537" y="372"/>
                  </a:lnTo>
                  <a:lnTo>
                    <a:pt x="538" y="368"/>
                  </a:lnTo>
                  <a:lnTo>
                    <a:pt x="541" y="366"/>
                  </a:lnTo>
                  <a:lnTo>
                    <a:pt x="546" y="362"/>
                  </a:lnTo>
                  <a:lnTo>
                    <a:pt x="553" y="358"/>
                  </a:lnTo>
                  <a:lnTo>
                    <a:pt x="569" y="351"/>
                  </a:lnTo>
                  <a:lnTo>
                    <a:pt x="583" y="344"/>
                  </a:lnTo>
                  <a:lnTo>
                    <a:pt x="585" y="335"/>
                  </a:lnTo>
                  <a:lnTo>
                    <a:pt x="586" y="327"/>
                  </a:lnTo>
                  <a:lnTo>
                    <a:pt x="590" y="320"/>
                  </a:lnTo>
                  <a:lnTo>
                    <a:pt x="594" y="315"/>
                  </a:lnTo>
                  <a:lnTo>
                    <a:pt x="606" y="307"/>
                  </a:lnTo>
                  <a:lnTo>
                    <a:pt x="619" y="300"/>
                  </a:lnTo>
                  <a:lnTo>
                    <a:pt x="626" y="296"/>
                  </a:lnTo>
                  <a:lnTo>
                    <a:pt x="633" y="292"/>
                  </a:lnTo>
                  <a:lnTo>
                    <a:pt x="639" y="288"/>
                  </a:lnTo>
                  <a:lnTo>
                    <a:pt x="645" y="283"/>
                  </a:lnTo>
                  <a:lnTo>
                    <a:pt x="649" y="276"/>
                  </a:lnTo>
                  <a:lnTo>
                    <a:pt x="653" y="268"/>
                  </a:lnTo>
                  <a:lnTo>
                    <a:pt x="655" y="259"/>
                  </a:lnTo>
                  <a:lnTo>
                    <a:pt x="655" y="247"/>
                  </a:lnTo>
                  <a:lnTo>
                    <a:pt x="654" y="230"/>
                  </a:lnTo>
                  <a:lnTo>
                    <a:pt x="651" y="214"/>
                  </a:lnTo>
                  <a:lnTo>
                    <a:pt x="647" y="199"/>
                  </a:lnTo>
                  <a:lnTo>
                    <a:pt x="642" y="186"/>
                  </a:lnTo>
                  <a:lnTo>
                    <a:pt x="635" y="174"/>
                  </a:lnTo>
                  <a:lnTo>
                    <a:pt x="629" y="162"/>
                  </a:lnTo>
                  <a:lnTo>
                    <a:pt x="621" y="151"/>
                  </a:lnTo>
                  <a:lnTo>
                    <a:pt x="614" y="142"/>
                  </a:lnTo>
                  <a:lnTo>
                    <a:pt x="598" y="122"/>
                  </a:lnTo>
                  <a:lnTo>
                    <a:pt x="585" y="104"/>
                  </a:lnTo>
                  <a:lnTo>
                    <a:pt x="579" y="95"/>
                  </a:lnTo>
                  <a:lnTo>
                    <a:pt x="575" y="86"/>
                  </a:lnTo>
                  <a:lnTo>
                    <a:pt x="573" y="76"/>
                  </a:lnTo>
                  <a:lnTo>
                    <a:pt x="571" y="67"/>
                  </a:lnTo>
                  <a:lnTo>
                    <a:pt x="570" y="55"/>
                  </a:lnTo>
                  <a:lnTo>
                    <a:pt x="569" y="38"/>
                  </a:lnTo>
                  <a:lnTo>
                    <a:pt x="566" y="19"/>
                  </a:lnTo>
                  <a:lnTo>
                    <a:pt x="565" y="0"/>
                  </a:lnTo>
                  <a:lnTo>
                    <a:pt x="553" y="2"/>
                  </a:lnTo>
                  <a:lnTo>
                    <a:pt x="542" y="3"/>
                  </a:lnTo>
                  <a:lnTo>
                    <a:pt x="533" y="6"/>
                  </a:lnTo>
                  <a:lnTo>
                    <a:pt x="525" y="10"/>
                  </a:lnTo>
                  <a:lnTo>
                    <a:pt x="518" y="15"/>
                  </a:lnTo>
                  <a:lnTo>
                    <a:pt x="511" y="19"/>
                  </a:lnTo>
                  <a:lnTo>
                    <a:pt x="506" y="24"/>
                  </a:lnTo>
                  <a:lnTo>
                    <a:pt x="501" y="31"/>
                  </a:lnTo>
                  <a:lnTo>
                    <a:pt x="491" y="42"/>
                  </a:lnTo>
                  <a:lnTo>
                    <a:pt x="481" y="51"/>
                  </a:lnTo>
                  <a:lnTo>
                    <a:pt x="475" y="55"/>
                  </a:lnTo>
                  <a:lnTo>
                    <a:pt x="469" y="58"/>
                  </a:lnTo>
                  <a:lnTo>
                    <a:pt x="461" y="60"/>
                  </a:lnTo>
                  <a:lnTo>
                    <a:pt x="451" y="60"/>
                  </a:lnTo>
                  <a:lnTo>
                    <a:pt x="442" y="60"/>
                  </a:lnTo>
                  <a:lnTo>
                    <a:pt x="435" y="58"/>
                  </a:lnTo>
                  <a:lnTo>
                    <a:pt x="430" y="55"/>
                  </a:lnTo>
                  <a:lnTo>
                    <a:pt x="425" y="51"/>
                  </a:lnTo>
                  <a:lnTo>
                    <a:pt x="417" y="43"/>
                  </a:lnTo>
                  <a:lnTo>
                    <a:pt x="409" y="36"/>
                  </a:lnTo>
                  <a:lnTo>
                    <a:pt x="366" y="36"/>
                  </a:lnTo>
                  <a:lnTo>
                    <a:pt x="366" y="60"/>
                  </a:lnTo>
                  <a:lnTo>
                    <a:pt x="337" y="60"/>
                  </a:lnTo>
                  <a:lnTo>
                    <a:pt x="327" y="54"/>
                  </a:lnTo>
                  <a:lnTo>
                    <a:pt x="318" y="43"/>
                  </a:lnTo>
                  <a:lnTo>
                    <a:pt x="313" y="39"/>
                  </a:lnTo>
                  <a:lnTo>
                    <a:pt x="306" y="35"/>
                  </a:lnTo>
                  <a:lnTo>
                    <a:pt x="301" y="31"/>
                  </a:lnTo>
                  <a:lnTo>
                    <a:pt x="294" y="31"/>
                  </a:lnTo>
                  <a:lnTo>
                    <a:pt x="282" y="31"/>
                  </a:lnTo>
                  <a:lnTo>
                    <a:pt x="271" y="34"/>
                  </a:lnTo>
                  <a:lnTo>
                    <a:pt x="262" y="36"/>
                  </a:lnTo>
                  <a:lnTo>
                    <a:pt x="253" y="39"/>
                  </a:lnTo>
                  <a:lnTo>
                    <a:pt x="245" y="43"/>
                  </a:lnTo>
                  <a:lnTo>
                    <a:pt x="236" y="46"/>
                  </a:lnTo>
                  <a:lnTo>
                    <a:pt x="226" y="48"/>
                  </a:lnTo>
                  <a:lnTo>
                    <a:pt x="216" y="48"/>
                  </a:lnTo>
                  <a:lnTo>
                    <a:pt x="209" y="50"/>
                  </a:lnTo>
                  <a:lnTo>
                    <a:pt x="201" y="52"/>
                  </a:lnTo>
                  <a:lnTo>
                    <a:pt x="194" y="56"/>
                  </a:lnTo>
                  <a:lnTo>
                    <a:pt x="188" y="60"/>
                  </a:lnTo>
                  <a:lnTo>
                    <a:pt x="176" y="74"/>
                  </a:lnTo>
                  <a:lnTo>
                    <a:pt x="162" y="88"/>
                  </a:lnTo>
                  <a:lnTo>
                    <a:pt x="149" y="102"/>
                  </a:lnTo>
                  <a:lnTo>
                    <a:pt x="134" y="115"/>
                  </a:lnTo>
                  <a:lnTo>
                    <a:pt x="125" y="120"/>
                  </a:lnTo>
                  <a:lnTo>
                    <a:pt x="117" y="123"/>
                  </a:lnTo>
                  <a:lnTo>
                    <a:pt x="106" y="126"/>
                  </a:lnTo>
                  <a:lnTo>
                    <a:pt x="96" y="127"/>
                  </a:lnTo>
                  <a:lnTo>
                    <a:pt x="82" y="128"/>
                  </a:lnTo>
                  <a:lnTo>
                    <a:pt x="70" y="130"/>
                  </a:lnTo>
                  <a:lnTo>
                    <a:pt x="58" y="132"/>
                  </a:lnTo>
                  <a:lnTo>
                    <a:pt x="48" y="136"/>
                  </a:lnTo>
                  <a:lnTo>
                    <a:pt x="25" y="144"/>
                  </a:lnTo>
                  <a:lnTo>
                    <a:pt x="0" y="151"/>
                  </a:lnTo>
                  <a:lnTo>
                    <a:pt x="0" y="218"/>
                  </a:lnTo>
                  <a:lnTo>
                    <a:pt x="8" y="235"/>
                  </a:lnTo>
                  <a:lnTo>
                    <a:pt x="13" y="252"/>
                  </a:lnTo>
                  <a:lnTo>
                    <a:pt x="14" y="262"/>
                  </a:lnTo>
                  <a:lnTo>
                    <a:pt x="16" y="271"/>
                  </a:lnTo>
                  <a:lnTo>
                    <a:pt x="17" y="283"/>
                  </a:lnTo>
                  <a:lnTo>
                    <a:pt x="17" y="295"/>
                  </a:lnTo>
                  <a:lnTo>
                    <a:pt x="17" y="318"/>
                  </a:lnTo>
                  <a:lnTo>
                    <a:pt x="17" y="326"/>
                  </a:lnTo>
                  <a:lnTo>
                    <a:pt x="18" y="339"/>
                  </a:lnTo>
                  <a:lnTo>
                    <a:pt x="22" y="354"/>
                  </a:lnTo>
                  <a:lnTo>
                    <a:pt x="29" y="370"/>
                  </a:lnTo>
                  <a:lnTo>
                    <a:pt x="36" y="387"/>
                  </a:lnTo>
                  <a:lnTo>
                    <a:pt x="42" y="406"/>
                  </a:lnTo>
                  <a:lnTo>
                    <a:pt x="48" y="424"/>
                  </a:lnTo>
                  <a:lnTo>
                    <a:pt x="52" y="442"/>
                  </a:lnTo>
                  <a:lnTo>
                    <a:pt x="53" y="458"/>
                  </a:lnTo>
                  <a:lnTo>
                    <a:pt x="53" y="465"/>
                  </a:lnTo>
                  <a:lnTo>
                    <a:pt x="50" y="472"/>
                  </a:lnTo>
                  <a:lnTo>
                    <a:pt x="48" y="477"/>
                  </a:lnTo>
                  <a:lnTo>
                    <a:pt x="45" y="481"/>
                  </a:lnTo>
                  <a:lnTo>
                    <a:pt x="41" y="485"/>
                  </a:lnTo>
                  <a:lnTo>
                    <a:pt x="38" y="489"/>
                  </a:lnTo>
                  <a:lnTo>
                    <a:pt x="36" y="495"/>
                  </a:lnTo>
                  <a:lnTo>
                    <a:pt x="36" y="500"/>
                  </a:lnTo>
                  <a:lnTo>
                    <a:pt x="37" y="517"/>
                  </a:lnTo>
                  <a:lnTo>
                    <a:pt x="40" y="533"/>
                  </a:lnTo>
                  <a:lnTo>
                    <a:pt x="44" y="549"/>
                  </a:lnTo>
                  <a:lnTo>
                    <a:pt x="49" y="563"/>
                  </a:lnTo>
                  <a:lnTo>
                    <a:pt x="57" y="576"/>
                  </a:lnTo>
                  <a:lnTo>
                    <a:pt x="65" y="588"/>
                  </a:lnTo>
                  <a:lnTo>
                    <a:pt x="74" y="600"/>
                  </a:lnTo>
                  <a:lnTo>
                    <a:pt x="85" y="611"/>
                  </a:lnTo>
                  <a:lnTo>
                    <a:pt x="106" y="629"/>
                  </a:lnTo>
                  <a:lnTo>
                    <a:pt x="129" y="645"/>
                  </a:lnTo>
                  <a:lnTo>
                    <a:pt x="153" y="661"/>
                  </a:lnTo>
                  <a:lnTo>
                    <a:pt x="174" y="675"/>
                  </a:lnTo>
                  <a:lnTo>
                    <a:pt x="182" y="683"/>
                  </a:lnTo>
                  <a:lnTo>
                    <a:pt x="190" y="692"/>
                  </a:lnTo>
                  <a:lnTo>
                    <a:pt x="196" y="703"/>
                  </a:lnTo>
                  <a:lnTo>
                    <a:pt x="202" y="713"/>
                  </a:lnTo>
                  <a:lnTo>
                    <a:pt x="213" y="739"/>
                  </a:lnTo>
                  <a:lnTo>
                    <a:pt x="224" y="764"/>
                  </a:lnTo>
                  <a:lnTo>
                    <a:pt x="229" y="776"/>
                  </a:lnTo>
                  <a:lnTo>
                    <a:pt x="236" y="787"/>
                  </a:lnTo>
                  <a:lnTo>
                    <a:pt x="244" y="797"/>
                  </a:lnTo>
                  <a:lnTo>
                    <a:pt x="252" y="807"/>
                  </a:lnTo>
                  <a:lnTo>
                    <a:pt x="261" y="815"/>
                  </a:lnTo>
                  <a:lnTo>
                    <a:pt x="273" y="820"/>
                  </a:lnTo>
                  <a:lnTo>
                    <a:pt x="278" y="823"/>
                  </a:lnTo>
                  <a:lnTo>
                    <a:pt x="285" y="824"/>
                  </a:lnTo>
                  <a:lnTo>
                    <a:pt x="293" y="825"/>
                  </a:lnTo>
                  <a:lnTo>
                    <a:pt x="301" y="825"/>
                  </a:lnTo>
                  <a:lnTo>
                    <a:pt x="299" y="833"/>
                  </a:lnTo>
                  <a:lnTo>
                    <a:pt x="295" y="841"/>
                  </a:lnTo>
                  <a:lnTo>
                    <a:pt x="290" y="848"/>
                  </a:lnTo>
                  <a:lnTo>
                    <a:pt x="285" y="855"/>
                  </a:lnTo>
                  <a:lnTo>
                    <a:pt x="279" y="861"/>
                  </a:lnTo>
                  <a:lnTo>
                    <a:pt x="275" y="867"/>
                  </a:lnTo>
                  <a:lnTo>
                    <a:pt x="271" y="873"/>
                  </a:lnTo>
                  <a:lnTo>
                    <a:pt x="270" y="880"/>
                  </a:lnTo>
                  <a:lnTo>
                    <a:pt x="270" y="885"/>
                  </a:lnTo>
                  <a:lnTo>
                    <a:pt x="271" y="889"/>
                  </a:lnTo>
                  <a:lnTo>
                    <a:pt x="274" y="895"/>
                  </a:lnTo>
                  <a:lnTo>
                    <a:pt x="277" y="899"/>
                  </a:lnTo>
                  <a:lnTo>
                    <a:pt x="283" y="905"/>
                  </a:lnTo>
                  <a:lnTo>
                    <a:pt x="291" y="913"/>
                  </a:lnTo>
                  <a:lnTo>
                    <a:pt x="299" y="920"/>
                  </a:lnTo>
                  <a:lnTo>
                    <a:pt x="306" y="927"/>
                  </a:lnTo>
                  <a:lnTo>
                    <a:pt x="309" y="931"/>
                  </a:lnTo>
                  <a:lnTo>
                    <a:pt x="310" y="936"/>
                  </a:lnTo>
                  <a:lnTo>
                    <a:pt x="311" y="940"/>
                  </a:lnTo>
                  <a:lnTo>
                    <a:pt x="313" y="945"/>
                  </a:lnTo>
                  <a:lnTo>
                    <a:pt x="311" y="953"/>
                  </a:lnTo>
                  <a:lnTo>
                    <a:pt x="310" y="959"/>
                  </a:lnTo>
                  <a:lnTo>
                    <a:pt x="309" y="964"/>
                  </a:lnTo>
                  <a:lnTo>
                    <a:pt x="306" y="967"/>
                  </a:lnTo>
                  <a:lnTo>
                    <a:pt x="303" y="971"/>
                  </a:lnTo>
                  <a:lnTo>
                    <a:pt x="302" y="975"/>
                  </a:lnTo>
                  <a:lnTo>
                    <a:pt x="301" y="980"/>
                  </a:lnTo>
                  <a:lnTo>
                    <a:pt x="301" y="988"/>
                  </a:lnTo>
                  <a:lnTo>
                    <a:pt x="301" y="999"/>
                  </a:lnTo>
                  <a:lnTo>
                    <a:pt x="303" y="1008"/>
                  </a:lnTo>
                  <a:lnTo>
                    <a:pt x="306" y="1017"/>
                  </a:lnTo>
                  <a:lnTo>
                    <a:pt x="310" y="1024"/>
                  </a:lnTo>
                  <a:lnTo>
                    <a:pt x="315" y="1031"/>
                  </a:lnTo>
                  <a:lnTo>
                    <a:pt x="322" y="1036"/>
                  </a:lnTo>
                  <a:lnTo>
                    <a:pt x="329" y="1041"/>
                  </a:lnTo>
                  <a:lnTo>
                    <a:pt x="337" y="1045"/>
                  </a:lnTo>
                  <a:lnTo>
                    <a:pt x="354" y="1052"/>
                  </a:lnTo>
                  <a:lnTo>
                    <a:pt x="373" y="1056"/>
                  </a:lnTo>
                  <a:lnTo>
                    <a:pt x="394" y="1060"/>
                  </a:lnTo>
                  <a:lnTo>
                    <a:pt x="414" y="1062"/>
                  </a:lnTo>
                  <a:lnTo>
                    <a:pt x="435" y="1065"/>
                  </a:lnTo>
                  <a:lnTo>
                    <a:pt x="455" y="1068"/>
                  </a:lnTo>
                  <a:lnTo>
                    <a:pt x="473" y="1072"/>
                  </a:lnTo>
                  <a:lnTo>
                    <a:pt x="489" y="1078"/>
                  </a:lnTo>
                  <a:lnTo>
                    <a:pt x="495" y="1082"/>
                  </a:lnTo>
                  <a:lnTo>
                    <a:pt x="501" y="1086"/>
                  </a:lnTo>
                  <a:lnTo>
                    <a:pt x="505" y="1092"/>
                  </a:lnTo>
                  <a:lnTo>
                    <a:pt x="509" y="1098"/>
                  </a:lnTo>
                  <a:lnTo>
                    <a:pt x="511" y="1105"/>
                  </a:lnTo>
                  <a:lnTo>
                    <a:pt x="513" y="1113"/>
                  </a:lnTo>
                  <a:lnTo>
                    <a:pt x="513" y="1122"/>
                  </a:lnTo>
                  <a:lnTo>
                    <a:pt x="511" y="1132"/>
                  </a:lnTo>
                  <a:lnTo>
                    <a:pt x="517" y="113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5" name="Freeform 51"/>
            <p:cNvSpPr>
              <a:spLocks/>
            </p:cNvSpPr>
            <p:nvPr/>
          </p:nvSpPr>
          <p:spPr bwMode="auto">
            <a:xfrm>
              <a:off x="4832672" y="4232275"/>
              <a:ext cx="1363663" cy="1603375"/>
            </a:xfrm>
            <a:custGeom>
              <a:avLst/>
              <a:gdLst/>
              <a:ahLst/>
              <a:cxnLst>
                <a:cxn ang="0">
                  <a:pos x="1236" y="135"/>
                </a:cxn>
                <a:cxn ang="0">
                  <a:pos x="1330" y="305"/>
                </a:cxn>
                <a:cxn ang="0">
                  <a:pos x="1437" y="417"/>
                </a:cxn>
                <a:cxn ang="0">
                  <a:pos x="1516" y="633"/>
                </a:cxn>
                <a:cxn ang="0">
                  <a:pos x="1560" y="1014"/>
                </a:cxn>
                <a:cxn ang="0">
                  <a:pos x="1644" y="1186"/>
                </a:cxn>
                <a:cxn ang="0">
                  <a:pos x="1862" y="1019"/>
                </a:cxn>
                <a:cxn ang="0">
                  <a:pos x="1997" y="1063"/>
                </a:cxn>
                <a:cxn ang="0">
                  <a:pos x="2133" y="708"/>
                </a:cxn>
                <a:cxn ang="0">
                  <a:pos x="2301" y="602"/>
                </a:cxn>
                <a:cxn ang="0">
                  <a:pos x="2449" y="750"/>
                </a:cxn>
                <a:cxn ang="0">
                  <a:pos x="2627" y="722"/>
                </a:cxn>
                <a:cxn ang="0">
                  <a:pos x="2819" y="951"/>
                </a:cxn>
                <a:cxn ang="0">
                  <a:pos x="2620" y="1019"/>
                </a:cxn>
                <a:cxn ang="0">
                  <a:pos x="2740" y="1253"/>
                </a:cxn>
                <a:cxn ang="0">
                  <a:pos x="2679" y="1416"/>
                </a:cxn>
                <a:cxn ang="0">
                  <a:pos x="2559" y="1355"/>
                </a:cxn>
                <a:cxn ang="0">
                  <a:pos x="2379" y="1552"/>
                </a:cxn>
                <a:cxn ang="0">
                  <a:pos x="2278" y="1616"/>
                </a:cxn>
                <a:cxn ang="0">
                  <a:pos x="2154" y="1598"/>
                </a:cxn>
                <a:cxn ang="0">
                  <a:pos x="1987" y="1578"/>
                </a:cxn>
                <a:cxn ang="0">
                  <a:pos x="1837" y="1674"/>
                </a:cxn>
                <a:cxn ang="0">
                  <a:pos x="1773" y="1770"/>
                </a:cxn>
                <a:cxn ang="0">
                  <a:pos x="1688" y="1895"/>
                </a:cxn>
                <a:cxn ang="0">
                  <a:pos x="1733" y="2131"/>
                </a:cxn>
                <a:cxn ang="0">
                  <a:pos x="1826" y="2313"/>
                </a:cxn>
                <a:cxn ang="0">
                  <a:pos x="1680" y="2802"/>
                </a:cxn>
                <a:cxn ang="0">
                  <a:pos x="1528" y="3022"/>
                </a:cxn>
                <a:cxn ang="0">
                  <a:pos x="1385" y="3173"/>
                </a:cxn>
                <a:cxn ang="0">
                  <a:pos x="1308" y="3305"/>
                </a:cxn>
                <a:cxn ang="0">
                  <a:pos x="1257" y="3225"/>
                </a:cxn>
                <a:cxn ang="0">
                  <a:pos x="1085" y="3106"/>
                </a:cxn>
                <a:cxn ang="0">
                  <a:pos x="923" y="3038"/>
                </a:cxn>
                <a:cxn ang="0">
                  <a:pos x="713" y="2926"/>
                </a:cxn>
                <a:cxn ang="0">
                  <a:pos x="623" y="2872"/>
                </a:cxn>
                <a:cxn ang="0">
                  <a:pos x="456" y="2944"/>
                </a:cxn>
                <a:cxn ang="0">
                  <a:pos x="218" y="2820"/>
                </a:cxn>
                <a:cxn ang="0">
                  <a:pos x="74" y="2764"/>
                </a:cxn>
                <a:cxn ang="0">
                  <a:pos x="56" y="2628"/>
                </a:cxn>
                <a:cxn ang="0">
                  <a:pos x="139" y="2540"/>
                </a:cxn>
                <a:cxn ang="0">
                  <a:pos x="139" y="2364"/>
                </a:cxn>
                <a:cxn ang="0">
                  <a:pos x="204" y="2204"/>
                </a:cxn>
                <a:cxn ang="0">
                  <a:pos x="215" y="2036"/>
                </a:cxn>
                <a:cxn ang="0">
                  <a:pos x="222" y="1818"/>
                </a:cxn>
                <a:cxn ang="0">
                  <a:pos x="419" y="1743"/>
                </a:cxn>
                <a:cxn ang="0">
                  <a:pos x="545" y="1778"/>
                </a:cxn>
                <a:cxn ang="0">
                  <a:pos x="617" y="1806"/>
                </a:cxn>
                <a:cxn ang="0">
                  <a:pos x="677" y="1604"/>
                </a:cxn>
                <a:cxn ang="0">
                  <a:pos x="768" y="1440"/>
                </a:cxn>
                <a:cxn ang="0">
                  <a:pos x="835" y="1338"/>
                </a:cxn>
                <a:cxn ang="0">
                  <a:pos x="1032" y="1454"/>
                </a:cxn>
                <a:cxn ang="0">
                  <a:pos x="1084" y="1326"/>
                </a:cxn>
                <a:cxn ang="0">
                  <a:pos x="1009" y="1186"/>
                </a:cxn>
                <a:cxn ang="0">
                  <a:pos x="940" y="1030"/>
                </a:cxn>
                <a:cxn ang="0">
                  <a:pos x="941" y="794"/>
                </a:cxn>
                <a:cxn ang="0">
                  <a:pos x="1016" y="678"/>
                </a:cxn>
                <a:cxn ang="0">
                  <a:pos x="1053" y="537"/>
                </a:cxn>
                <a:cxn ang="0">
                  <a:pos x="1048" y="404"/>
                </a:cxn>
                <a:cxn ang="0">
                  <a:pos x="1017" y="244"/>
                </a:cxn>
                <a:cxn ang="0">
                  <a:pos x="988" y="116"/>
                </a:cxn>
                <a:cxn ang="0">
                  <a:pos x="1132" y="8"/>
                </a:cxn>
              </a:cxnLst>
              <a:rect l="0" t="0" r="r" b="b"/>
              <a:pathLst>
                <a:path w="2819" h="3306">
                  <a:moveTo>
                    <a:pt x="1174" y="12"/>
                  </a:moveTo>
                  <a:lnTo>
                    <a:pt x="1184" y="17"/>
                  </a:lnTo>
                  <a:lnTo>
                    <a:pt x="1188" y="21"/>
                  </a:lnTo>
                  <a:lnTo>
                    <a:pt x="1188" y="27"/>
                  </a:lnTo>
                  <a:lnTo>
                    <a:pt x="1186" y="43"/>
                  </a:lnTo>
                  <a:lnTo>
                    <a:pt x="1186" y="55"/>
                  </a:lnTo>
                  <a:lnTo>
                    <a:pt x="1182" y="65"/>
                  </a:lnTo>
                  <a:lnTo>
                    <a:pt x="1178" y="73"/>
                  </a:lnTo>
                  <a:lnTo>
                    <a:pt x="1174" y="81"/>
                  </a:lnTo>
                  <a:lnTo>
                    <a:pt x="1169" y="88"/>
                  </a:lnTo>
                  <a:lnTo>
                    <a:pt x="1164" y="96"/>
                  </a:lnTo>
                  <a:lnTo>
                    <a:pt x="1160" y="104"/>
                  </a:lnTo>
                  <a:lnTo>
                    <a:pt x="1157" y="115"/>
                  </a:lnTo>
                  <a:lnTo>
                    <a:pt x="1186" y="120"/>
                  </a:lnTo>
                  <a:lnTo>
                    <a:pt x="1213" y="127"/>
                  </a:lnTo>
                  <a:lnTo>
                    <a:pt x="1224" y="131"/>
                  </a:lnTo>
                  <a:lnTo>
                    <a:pt x="1236" y="135"/>
                  </a:lnTo>
                  <a:lnTo>
                    <a:pt x="1245" y="140"/>
                  </a:lnTo>
                  <a:lnTo>
                    <a:pt x="1254" y="145"/>
                  </a:lnTo>
                  <a:lnTo>
                    <a:pt x="1264" y="152"/>
                  </a:lnTo>
                  <a:lnTo>
                    <a:pt x="1272" y="159"/>
                  </a:lnTo>
                  <a:lnTo>
                    <a:pt x="1278" y="167"/>
                  </a:lnTo>
                  <a:lnTo>
                    <a:pt x="1285" y="175"/>
                  </a:lnTo>
                  <a:lnTo>
                    <a:pt x="1292" y="184"/>
                  </a:lnTo>
                  <a:lnTo>
                    <a:pt x="1297" y="195"/>
                  </a:lnTo>
                  <a:lnTo>
                    <a:pt x="1302" y="205"/>
                  </a:lnTo>
                  <a:lnTo>
                    <a:pt x="1308" y="217"/>
                  </a:lnTo>
                  <a:lnTo>
                    <a:pt x="1313" y="226"/>
                  </a:lnTo>
                  <a:lnTo>
                    <a:pt x="1317" y="234"/>
                  </a:lnTo>
                  <a:lnTo>
                    <a:pt x="1320" y="244"/>
                  </a:lnTo>
                  <a:lnTo>
                    <a:pt x="1322" y="252"/>
                  </a:lnTo>
                  <a:lnTo>
                    <a:pt x="1326" y="269"/>
                  </a:lnTo>
                  <a:lnTo>
                    <a:pt x="1329" y="286"/>
                  </a:lnTo>
                  <a:lnTo>
                    <a:pt x="1330" y="305"/>
                  </a:lnTo>
                  <a:lnTo>
                    <a:pt x="1334" y="322"/>
                  </a:lnTo>
                  <a:lnTo>
                    <a:pt x="1337" y="332"/>
                  </a:lnTo>
                  <a:lnTo>
                    <a:pt x="1340" y="342"/>
                  </a:lnTo>
                  <a:lnTo>
                    <a:pt x="1344" y="352"/>
                  </a:lnTo>
                  <a:lnTo>
                    <a:pt x="1349" y="361"/>
                  </a:lnTo>
                  <a:lnTo>
                    <a:pt x="1353" y="366"/>
                  </a:lnTo>
                  <a:lnTo>
                    <a:pt x="1358" y="372"/>
                  </a:lnTo>
                  <a:lnTo>
                    <a:pt x="1365" y="374"/>
                  </a:lnTo>
                  <a:lnTo>
                    <a:pt x="1372" y="378"/>
                  </a:lnTo>
                  <a:lnTo>
                    <a:pt x="1386" y="384"/>
                  </a:lnTo>
                  <a:lnTo>
                    <a:pt x="1401" y="389"/>
                  </a:lnTo>
                  <a:lnTo>
                    <a:pt x="1409" y="392"/>
                  </a:lnTo>
                  <a:lnTo>
                    <a:pt x="1416" y="396"/>
                  </a:lnTo>
                  <a:lnTo>
                    <a:pt x="1422" y="400"/>
                  </a:lnTo>
                  <a:lnTo>
                    <a:pt x="1428" y="404"/>
                  </a:lnTo>
                  <a:lnTo>
                    <a:pt x="1433" y="409"/>
                  </a:lnTo>
                  <a:lnTo>
                    <a:pt x="1437" y="417"/>
                  </a:lnTo>
                  <a:lnTo>
                    <a:pt x="1438" y="425"/>
                  </a:lnTo>
                  <a:lnTo>
                    <a:pt x="1440" y="434"/>
                  </a:lnTo>
                  <a:lnTo>
                    <a:pt x="1440" y="462"/>
                  </a:lnTo>
                  <a:lnTo>
                    <a:pt x="1440" y="481"/>
                  </a:lnTo>
                  <a:lnTo>
                    <a:pt x="1440" y="492"/>
                  </a:lnTo>
                  <a:lnTo>
                    <a:pt x="1440" y="500"/>
                  </a:lnTo>
                  <a:lnTo>
                    <a:pt x="1441" y="516"/>
                  </a:lnTo>
                  <a:lnTo>
                    <a:pt x="1442" y="530"/>
                  </a:lnTo>
                  <a:lnTo>
                    <a:pt x="1446" y="544"/>
                  </a:lnTo>
                  <a:lnTo>
                    <a:pt x="1450" y="557"/>
                  </a:lnTo>
                  <a:lnTo>
                    <a:pt x="1457" y="569"/>
                  </a:lnTo>
                  <a:lnTo>
                    <a:pt x="1464" y="581"/>
                  </a:lnTo>
                  <a:lnTo>
                    <a:pt x="1472" y="593"/>
                  </a:lnTo>
                  <a:lnTo>
                    <a:pt x="1481" y="604"/>
                  </a:lnTo>
                  <a:lnTo>
                    <a:pt x="1492" y="613"/>
                  </a:lnTo>
                  <a:lnTo>
                    <a:pt x="1504" y="624"/>
                  </a:lnTo>
                  <a:lnTo>
                    <a:pt x="1516" y="633"/>
                  </a:lnTo>
                  <a:lnTo>
                    <a:pt x="1529" y="641"/>
                  </a:lnTo>
                  <a:lnTo>
                    <a:pt x="1558" y="658"/>
                  </a:lnTo>
                  <a:lnTo>
                    <a:pt x="1590" y="674"/>
                  </a:lnTo>
                  <a:lnTo>
                    <a:pt x="1588" y="692"/>
                  </a:lnTo>
                  <a:lnTo>
                    <a:pt x="1584" y="708"/>
                  </a:lnTo>
                  <a:lnTo>
                    <a:pt x="1578" y="724"/>
                  </a:lnTo>
                  <a:lnTo>
                    <a:pt x="1573" y="738"/>
                  </a:lnTo>
                  <a:lnTo>
                    <a:pt x="1568" y="754"/>
                  </a:lnTo>
                  <a:lnTo>
                    <a:pt x="1564" y="770"/>
                  </a:lnTo>
                  <a:lnTo>
                    <a:pt x="1561" y="788"/>
                  </a:lnTo>
                  <a:lnTo>
                    <a:pt x="1560" y="807"/>
                  </a:lnTo>
                  <a:lnTo>
                    <a:pt x="1560" y="849"/>
                  </a:lnTo>
                  <a:lnTo>
                    <a:pt x="1560" y="886"/>
                  </a:lnTo>
                  <a:lnTo>
                    <a:pt x="1560" y="919"/>
                  </a:lnTo>
                  <a:lnTo>
                    <a:pt x="1560" y="951"/>
                  </a:lnTo>
                  <a:lnTo>
                    <a:pt x="1560" y="982"/>
                  </a:lnTo>
                  <a:lnTo>
                    <a:pt x="1560" y="1014"/>
                  </a:lnTo>
                  <a:lnTo>
                    <a:pt x="1560" y="1050"/>
                  </a:lnTo>
                  <a:lnTo>
                    <a:pt x="1560" y="1090"/>
                  </a:lnTo>
                  <a:lnTo>
                    <a:pt x="1561" y="1106"/>
                  </a:lnTo>
                  <a:lnTo>
                    <a:pt x="1561" y="1123"/>
                  </a:lnTo>
                  <a:lnTo>
                    <a:pt x="1562" y="1131"/>
                  </a:lnTo>
                  <a:lnTo>
                    <a:pt x="1564" y="1139"/>
                  </a:lnTo>
                  <a:lnTo>
                    <a:pt x="1566" y="1147"/>
                  </a:lnTo>
                  <a:lnTo>
                    <a:pt x="1569" y="1154"/>
                  </a:lnTo>
                  <a:lnTo>
                    <a:pt x="1573" y="1161"/>
                  </a:lnTo>
                  <a:lnTo>
                    <a:pt x="1578" y="1167"/>
                  </a:lnTo>
                  <a:lnTo>
                    <a:pt x="1584" y="1173"/>
                  </a:lnTo>
                  <a:lnTo>
                    <a:pt x="1590" y="1178"/>
                  </a:lnTo>
                  <a:lnTo>
                    <a:pt x="1600" y="1181"/>
                  </a:lnTo>
                  <a:lnTo>
                    <a:pt x="1609" y="1185"/>
                  </a:lnTo>
                  <a:lnTo>
                    <a:pt x="1620" y="1186"/>
                  </a:lnTo>
                  <a:lnTo>
                    <a:pt x="1633" y="1186"/>
                  </a:lnTo>
                  <a:lnTo>
                    <a:pt x="1644" y="1186"/>
                  </a:lnTo>
                  <a:lnTo>
                    <a:pt x="1656" y="1185"/>
                  </a:lnTo>
                  <a:lnTo>
                    <a:pt x="1666" y="1182"/>
                  </a:lnTo>
                  <a:lnTo>
                    <a:pt x="1676" y="1179"/>
                  </a:lnTo>
                  <a:lnTo>
                    <a:pt x="1686" y="1175"/>
                  </a:lnTo>
                  <a:lnTo>
                    <a:pt x="1696" y="1170"/>
                  </a:lnTo>
                  <a:lnTo>
                    <a:pt x="1704" y="1165"/>
                  </a:lnTo>
                  <a:lnTo>
                    <a:pt x="1713" y="1159"/>
                  </a:lnTo>
                  <a:lnTo>
                    <a:pt x="1729" y="1146"/>
                  </a:lnTo>
                  <a:lnTo>
                    <a:pt x="1745" y="1131"/>
                  </a:lnTo>
                  <a:lnTo>
                    <a:pt x="1760" y="1115"/>
                  </a:lnTo>
                  <a:lnTo>
                    <a:pt x="1774" y="1099"/>
                  </a:lnTo>
                  <a:lnTo>
                    <a:pt x="1787" y="1083"/>
                  </a:lnTo>
                  <a:lnTo>
                    <a:pt x="1802" y="1067"/>
                  </a:lnTo>
                  <a:lnTo>
                    <a:pt x="1815" y="1053"/>
                  </a:lnTo>
                  <a:lnTo>
                    <a:pt x="1830" y="1039"/>
                  </a:lnTo>
                  <a:lnTo>
                    <a:pt x="1846" y="1027"/>
                  </a:lnTo>
                  <a:lnTo>
                    <a:pt x="1862" y="1019"/>
                  </a:lnTo>
                  <a:lnTo>
                    <a:pt x="1870" y="1017"/>
                  </a:lnTo>
                  <a:lnTo>
                    <a:pt x="1879" y="1014"/>
                  </a:lnTo>
                  <a:lnTo>
                    <a:pt x="1887" y="1013"/>
                  </a:lnTo>
                  <a:lnTo>
                    <a:pt x="1897" y="1011"/>
                  </a:lnTo>
                  <a:lnTo>
                    <a:pt x="1903" y="1013"/>
                  </a:lnTo>
                  <a:lnTo>
                    <a:pt x="1907" y="1014"/>
                  </a:lnTo>
                  <a:lnTo>
                    <a:pt x="1913" y="1018"/>
                  </a:lnTo>
                  <a:lnTo>
                    <a:pt x="1918" y="1022"/>
                  </a:lnTo>
                  <a:lnTo>
                    <a:pt x="1927" y="1033"/>
                  </a:lnTo>
                  <a:lnTo>
                    <a:pt x="1937" y="1045"/>
                  </a:lnTo>
                  <a:lnTo>
                    <a:pt x="1947" y="1057"/>
                  </a:lnTo>
                  <a:lnTo>
                    <a:pt x="1959" y="1067"/>
                  </a:lnTo>
                  <a:lnTo>
                    <a:pt x="1967" y="1071"/>
                  </a:lnTo>
                  <a:lnTo>
                    <a:pt x="1975" y="1075"/>
                  </a:lnTo>
                  <a:lnTo>
                    <a:pt x="1983" y="1077"/>
                  </a:lnTo>
                  <a:lnTo>
                    <a:pt x="1994" y="1078"/>
                  </a:lnTo>
                  <a:lnTo>
                    <a:pt x="1997" y="1063"/>
                  </a:lnTo>
                  <a:lnTo>
                    <a:pt x="2001" y="1049"/>
                  </a:lnTo>
                  <a:lnTo>
                    <a:pt x="2006" y="1034"/>
                  </a:lnTo>
                  <a:lnTo>
                    <a:pt x="2013" y="1021"/>
                  </a:lnTo>
                  <a:lnTo>
                    <a:pt x="2029" y="997"/>
                  </a:lnTo>
                  <a:lnTo>
                    <a:pt x="2046" y="971"/>
                  </a:lnTo>
                  <a:lnTo>
                    <a:pt x="2065" y="947"/>
                  </a:lnTo>
                  <a:lnTo>
                    <a:pt x="2082" y="921"/>
                  </a:lnTo>
                  <a:lnTo>
                    <a:pt x="2090" y="907"/>
                  </a:lnTo>
                  <a:lnTo>
                    <a:pt x="2097" y="893"/>
                  </a:lnTo>
                  <a:lnTo>
                    <a:pt x="2103" y="878"/>
                  </a:lnTo>
                  <a:lnTo>
                    <a:pt x="2109" y="861"/>
                  </a:lnTo>
                  <a:lnTo>
                    <a:pt x="2115" y="831"/>
                  </a:lnTo>
                  <a:lnTo>
                    <a:pt x="2121" y="803"/>
                  </a:lnTo>
                  <a:lnTo>
                    <a:pt x="2123" y="777"/>
                  </a:lnTo>
                  <a:lnTo>
                    <a:pt x="2127" y="753"/>
                  </a:lnTo>
                  <a:lnTo>
                    <a:pt x="2130" y="729"/>
                  </a:lnTo>
                  <a:lnTo>
                    <a:pt x="2133" y="708"/>
                  </a:lnTo>
                  <a:lnTo>
                    <a:pt x="2137" y="689"/>
                  </a:lnTo>
                  <a:lnTo>
                    <a:pt x="2142" y="670"/>
                  </a:lnTo>
                  <a:lnTo>
                    <a:pt x="2145" y="662"/>
                  </a:lnTo>
                  <a:lnTo>
                    <a:pt x="2149" y="656"/>
                  </a:lnTo>
                  <a:lnTo>
                    <a:pt x="2153" y="648"/>
                  </a:lnTo>
                  <a:lnTo>
                    <a:pt x="2158" y="641"/>
                  </a:lnTo>
                  <a:lnTo>
                    <a:pt x="2163" y="636"/>
                  </a:lnTo>
                  <a:lnTo>
                    <a:pt x="2170" y="630"/>
                  </a:lnTo>
                  <a:lnTo>
                    <a:pt x="2177" y="625"/>
                  </a:lnTo>
                  <a:lnTo>
                    <a:pt x="2185" y="620"/>
                  </a:lnTo>
                  <a:lnTo>
                    <a:pt x="2194" y="616"/>
                  </a:lnTo>
                  <a:lnTo>
                    <a:pt x="2205" y="613"/>
                  </a:lnTo>
                  <a:lnTo>
                    <a:pt x="2215" y="609"/>
                  </a:lnTo>
                  <a:lnTo>
                    <a:pt x="2227" y="606"/>
                  </a:lnTo>
                  <a:lnTo>
                    <a:pt x="2255" y="604"/>
                  </a:lnTo>
                  <a:lnTo>
                    <a:pt x="2289" y="602"/>
                  </a:lnTo>
                  <a:lnTo>
                    <a:pt x="2301" y="602"/>
                  </a:lnTo>
                  <a:lnTo>
                    <a:pt x="2311" y="604"/>
                  </a:lnTo>
                  <a:lnTo>
                    <a:pt x="2322" y="606"/>
                  </a:lnTo>
                  <a:lnTo>
                    <a:pt x="2331" y="609"/>
                  </a:lnTo>
                  <a:lnTo>
                    <a:pt x="2339" y="613"/>
                  </a:lnTo>
                  <a:lnTo>
                    <a:pt x="2347" y="617"/>
                  </a:lnTo>
                  <a:lnTo>
                    <a:pt x="2355" y="622"/>
                  </a:lnTo>
                  <a:lnTo>
                    <a:pt x="2362" y="628"/>
                  </a:lnTo>
                  <a:lnTo>
                    <a:pt x="2374" y="640"/>
                  </a:lnTo>
                  <a:lnTo>
                    <a:pt x="2383" y="654"/>
                  </a:lnTo>
                  <a:lnTo>
                    <a:pt x="2393" y="669"/>
                  </a:lnTo>
                  <a:lnTo>
                    <a:pt x="2401" y="684"/>
                  </a:lnTo>
                  <a:lnTo>
                    <a:pt x="2409" y="698"/>
                  </a:lnTo>
                  <a:lnTo>
                    <a:pt x="2418" y="713"/>
                  </a:lnTo>
                  <a:lnTo>
                    <a:pt x="2427" y="728"/>
                  </a:lnTo>
                  <a:lnTo>
                    <a:pt x="2437" y="740"/>
                  </a:lnTo>
                  <a:lnTo>
                    <a:pt x="2443" y="745"/>
                  </a:lnTo>
                  <a:lnTo>
                    <a:pt x="2449" y="750"/>
                  </a:lnTo>
                  <a:lnTo>
                    <a:pt x="2455" y="754"/>
                  </a:lnTo>
                  <a:lnTo>
                    <a:pt x="2463" y="758"/>
                  </a:lnTo>
                  <a:lnTo>
                    <a:pt x="2471" y="761"/>
                  </a:lnTo>
                  <a:lnTo>
                    <a:pt x="2479" y="764"/>
                  </a:lnTo>
                  <a:lnTo>
                    <a:pt x="2490" y="765"/>
                  </a:lnTo>
                  <a:lnTo>
                    <a:pt x="2499" y="765"/>
                  </a:lnTo>
                  <a:lnTo>
                    <a:pt x="2514" y="764"/>
                  </a:lnTo>
                  <a:lnTo>
                    <a:pt x="2525" y="762"/>
                  </a:lnTo>
                  <a:lnTo>
                    <a:pt x="2534" y="757"/>
                  </a:lnTo>
                  <a:lnTo>
                    <a:pt x="2540" y="752"/>
                  </a:lnTo>
                  <a:lnTo>
                    <a:pt x="2544" y="744"/>
                  </a:lnTo>
                  <a:lnTo>
                    <a:pt x="2548" y="734"/>
                  </a:lnTo>
                  <a:lnTo>
                    <a:pt x="2551" y="724"/>
                  </a:lnTo>
                  <a:lnTo>
                    <a:pt x="2554" y="710"/>
                  </a:lnTo>
                  <a:lnTo>
                    <a:pt x="2614" y="710"/>
                  </a:lnTo>
                  <a:lnTo>
                    <a:pt x="2622" y="717"/>
                  </a:lnTo>
                  <a:lnTo>
                    <a:pt x="2627" y="722"/>
                  </a:lnTo>
                  <a:lnTo>
                    <a:pt x="2632" y="729"/>
                  </a:lnTo>
                  <a:lnTo>
                    <a:pt x="2638" y="734"/>
                  </a:lnTo>
                  <a:lnTo>
                    <a:pt x="2644" y="748"/>
                  </a:lnTo>
                  <a:lnTo>
                    <a:pt x="2650" y="762"/>
                  </a:lnTo>
                  <a:lnTo>
                    <a:pt x="2658" y="794"/>
                  </a:lnTo>
                  <a:lnTo>
                    <a:pt x="2668" y="831"/>
                  </a:lnTo>
                  <a:lnTo>
                    <a:pt x="2672" y="839"/>
                  </a:lnTo>
                  <a:lnTo>
                    <a:pt x="2678" y="846"/>
                  </a:lnTo>
                  <a:lnTo>
                    <a:pt x="2684" y="854"/>
                  </a:lnTo>
                  <a:lnTo>
                    <a:pt x="2691" y="862"/>
                  </a:lnTo>
                  <a:lnTo>
                    <a:pt x="2708" y="875"/>
                  </a:lnTo>
                  <a:lnTo>
                    <a:pt x="2727" y="890"/>
                  </a:lnTo>
                  <a:lnTo>
                    <a:pt x="2746" y="903"/>
                  </a:lnTo>
                  <a:lnTo>
                    <a:pt x="2764" y="915"/>
                  </a:lnTo>
                  <a:lnTo>
                    <a:pt x="2782" y="927"/>
                  </a:lnTo>
                  <a:lnTo>
                    <a:pt x="2795" y="939"/>
                  </a:lnTo>
                  <a:lnTo>
                    <a:pt x="2819" y="951"/>
                  </a:lnTo>
                  <a:lnTo>
                    <a:pt x="2799" y="969"/>
                  </a:lnTo>
                  <a:lnTo>
                    <a:pt x="2780" y="985"/>
                  </a:lnTo>
                  <a:lnTo>
                    <a:pt x="2771" y="991"/>
                  </a:lnTo>
                  <a:lnTo>
                    <a:pt x="2762" y="995"/>
                  </a:lnTo>
                  <a:lnTo>
                    <a:pt x="2748" y="998"/>
                  </a:lnTo>
                  <a:lnTo>
                    <a:pt x="2734" y="999"/>
                  </a:lnTo>
                  <a:lnTo>
                    <a:pt x="2715" y="999"/>
                  </a:lnTo>
                  <a:lnTo>
                    <a:pt x="2696" y="999"/>
                  </a:lnTo>
                  <a:lnTo>
                    <a:pt x="2678" y="999"/>
                  </a:lnTo>
                  <a:lnTo>
                    <a:pt x="2662" y="999"/>
                  </a:lnTo>
                  <a:lnTo>
                    <a:pt x="2652" y="1001"/>
                  </a:lnTo>
                  <a:lnTo>
                    <a:pt x="2639" y="1003"/>
                  </a:lnTo>
                  <a:lnTo>
                    <a:pt x="2631" y="1006"/>
                  </a:lnTo>
                  <a:lnTo>
                    <a:pt x="2626" y="1010"/>
                  </a:lnTo>
                  <a:lnTo>
                    <a:pt x="2623" y="1013"/>
                  </a:lnTo>
                  <a:lnTo>
                    <a:pt x="2622" y="1015"/>
                  </a:lnTo>
                  <a:lnTo>
                    <a:pt x="2620" y="1019"/>
                  </a:lnTo>
                  <a:lnTo>
                    <a:pt x="2620" y="1023"/>
                  </a:lnTo>
                  <a:lnTo>
                    <a:pt x="2620" y="1058"/>
                  </a:lnTo>
                  <a:lnTo>
                    <a:pt x="2620" y="1101"/>
                  </a:lnTo>
                  <a:lnTo>
                    <a:pt x="2620" y="1146"/>
                  </a:lnTo>
                  <a:lnTo>
                    <a:pt x="2620" y="1186"/>
                  </a:lnTo>
                  <a:lnTo>
                    <a:pt x="2620" y="1195"/>
                  </a:lnTo>
                  <a:lnTo>
                    <a:pt x="2623" y="1202"/>
                  </a:lnTo>
                  <a:lnTo>
                    <a:pt x="2626" y="1210"/>
                  </a:lnTo>
                  <a:lnTo>
                    <a:pt x="2631" y="1215"/>
                  </a:lnTo>
                  <a:lnTo>
                    <a:pt x="2636" y="1221"/>
                  </a:lnTo>
                  <a:lnTo>
                    <a:pt x="2643" y="1226"/>
                  </a:lnTo>
                  <a:lnTo>
                    <a:pt x="2651" y="1230"/>
                  </a:lnTo>
                  <a:lnTo>
                    <a:pt x="2660" y="1233"/>
                  </a:lnTo>
                  <a:lnTo>
                    <a:pt x="2679" y="1239"/>
                  </a:lnTo>
                  <a:lnTo>
                    <a:pt x="2699" y="1245"/>
                  </a:lnTo>
                  <a:lnTo>
                    <a:pt x="2719" y="1249"/>
                  </a:lnTo>
                  <a:lnTo>
                    <a:pt x="2740" y="1253"/>
                  </a:lnTo>
                  <a:lnTo>
                    <a:pt x="2735" y="1263"/>
                  </a:lnTo>
                  <a:lnTo>
                    <a:pt x="2730" y="1271"/>
                  </a:lnTo>
                  <a:lnTo>
                    <a:pt x="2727" y="1275"/>
                  </a:lnTo>
                  <a:lnTo>
                    <a:pt x="2724" y="1281"/>
                  </a:lnTo>
                  <a:lnTo>
                    <a:pt x="2723" y="1287"/>
                  </a:lnTo>
                  <a:lnTo>
                    <a:pt x="2722" y="1295"/>
                  </a:lnTo>
                  <a:lnTo>
                    <a:pt x="2724" y="1307"/>
                  </a:lnTo>
                  <a:lnTo>
                    <a:pt x="2730" y="1323"/>
                  </a:lnTo>
                  <a:lnTo>
                    <a:pt x="2735" y="1339"/>
                  </a:lnTo>
                  <a:lnTo>
                    <a:pt x="2740" y="1355"/>
                  </a:lnTo>
                  <a:lnTo>
                    <a:pt x="2732" y="1358"/>
                  </a:lnTo>
                  <a:lnTo>
                    <a:pt x="2726" y="1363"/>
                  </a:lnTo>
                  <a:lnTo>
                    <a:pt x="2719" y="1369"/>
                  </a:lnTo>
                  <a:lnTo>
                    <a:pt x="2712" y="1375"/>
                  </a:lnTo>
                  <a:lnTo>
                    <a:pt x="2699" y="1391"/>
                  </a:lnTo>
                  <a:lnTo>
                    <a:pt x="2686" y="1407"/>
                  </a:lnTo>
                  <a:lnTo>
                    <a:pt x="2679" y="1416"/>
                  </a:lnTo>
                  <a:lnTo>
                    <a:pt x="2672" y="1424"/>
                  </a:lnTo>
                  <a:lnTo>
                    <a:pt x="2664" y="1431"/>
                  </a:lnTo>
                  <a:lnTo>
                    <a:pt x="2655" y="1438"/>
                  </a:lnTo>
                  <a:lnTo>
                    <a:pt x="2647" y="1443"/>
                  </a:lnTo>
                  <a:lnTo>
                    <a:pt x="2636" y="1447"/>
                  </a:lnTo>
                  <a:lnTo>
                    <a:pt x="2626" y="1450"/>
                  </a:lnTo>
                  <a:lnTo>
                    <a:pt x="2614" y="1451"/>
                  </a:lnTo>
                  <a:lnTo>
                    <a:pt x="2602" y="1450"/>
                  </a:lnTo>
                  <a:lnTo>
                    <a:pt x="2591" y="1447"/>
                  </a:lnTo>
                  <a:lnTo>
                    <a:pt x="2583" y="1443"/>
                  </a:lnTo>
                  <a:lnTo>
                    <a:pt x="2575" y="1439"/>
                  </a:lnTo>
                  <a:lnTo>
                    <a:pt x="2568" y="1435"/>
                  </a:lnTo>
                  <a:lnTo>
                    <a:pt x="2560" y="1431"/>
                  </a:lnTo>
                  <a:lnTo>
                    <a:pt x="2552" y="1428"/>
                  </a:lnTo>
                  <a:lnTo>
                    <a:pt x="2542" y="1427"/>
                  </a:lnTo>
                  <a:lnTo>
                    <a:pt x="2559" y="1384"/>
                  </a:lnTo>
                  <a:lnTo>
                    <a:pt x="2559" y="1355"/>
                  </a:lnTo>
                  <a:lnTo>
                    <a:pt x="2548" y="1354"/>
                  </a:lnTo>
                  <a:lnTo>
                    <a:pt x="2538" y="1355"/>
                  </a:lnTo>
                  <a:lnTo>
                    <a:pt x="2527" y="1357"/>
                  </a:lnTo>
                  <a:lnTo>
                    <a:pt x="2519" y="1359"/>
                  </a:lnTo>
                  <a:lnTo>
                    <a:pt x="2510" y="1363"/>
                  </a:lnTo>
                  <a:lnTo>
                    <a:pt x="2502" y="1367"/>
                  </a:lnTo>
                  <a:lnTo>
                    <a:pt x="2495" y="1373"/>
                  </a:lnTo>
                  <a:lnTo>
                    <a:pt x="2489" y="1378"/>
                  </a:lnTo>
                  <a:lnTo>
                    <a:pt x="2475" y="1391"/>
                  </a:lnTo>
                  <a:lnTo>
                    <a:pt x="2465" y="1407"/>
                  </a:lnTo>
                  <a:lnTo>
                    <a:pt x="2455" y="1424"/>
                  </a:lnTo>
                  <a:lnTo>
                    <a:pt x="2446" y="1442"/>
                  </a:lnTo>
                  <a:lnTo>
                    <a:pt x="2429" y="1480"/>
                  </a:lnTo>
                  <a:lnTo>
                    <a:pt x="2410" y="1516"/>
                  </a:lnTo>
                  <a:lnTo>
                    <a:pt x="2399" y="1532"/>
                  </a:lnTo>
                  <a:lnTo>
                    <a:pt x="2386" y="1546"/>
                  </a:lnTo>
                  <a:lnTo>
                    <a:pt x="2379" y="1552"/>
                  </a:lnTo>
                  <a:lnTo>
                    <a:pt x="2371" y="1558"/>
                  </a:lnTo>
                  <a:lnTo>
                    <a:pt x="2363" y="1562"/>
                  </a:lnTo>
                  <a:lnTo>
                    <a:pt x="2355" y="1566"/>
                  </a:lnTo>
                  <a:lnTo>
                    <a:pt x="2351" y="1570"/>
                  </a:lnTo>
                  <a:lnTo>
                    <a:pt x="2349" y="1578"/>
                  </a:lnTo>
                  <a:lnTo>
                    <a:pt x="2346" y="1587"/>
                  </a:lnTo>
                  <a:lnTo>
                    <a:pt x="2342" y="1598"/>
                  </a:lnTo>
                  <a:lnTo>
                    <a:pt x="2338" y="1608"/>
                  </a:lnTo>
                  <a:lnTo>
                    <a:pt x="2330" y="1618"/>
                  </a:lnTo>
                  <a:lnTo>
                    <a:pt x="2326" y="1620"/>
                  </a:lnTo>
                  <a:lnTo>
                    <a:pt x="2321" y="1623"/>
                  </a:lnTo>
                  <a:lnTo>
                    <a:pt x="2314" y="1626"/>
                  </a:lnTo>
                  <a:lnTo>
                    <a:pt x="2307" y="1626"/>
                  </a:lnTo>
                  <a:lnTo>
                    <a:pt x="2299" y="1626"/>
                  </a:lnTo>
                  <a:lnTo>
                    <a:pt x="2293" y="1623"/>
                  </a:lnTo>
                  <a:lnTo>
                    <a:pt x="2285" y="1620"/>
                  </a:lnTo>
                  <a:lnTo>
                    <a:pt x="2278" y="1616"/>
                  </a:lnTo>
                  <a:lnTo>
                    <a:pt x="2266" y="1611"/>
                  </a:lnTo>
                  <a:lnTo>
                    <a:pt x="2259" y="1608"/>
                  </a:lnTo>
                  <a:lnTo>
                    <a:pt x="2250" y="1608"/>
                  </a:lnTo>
                  <a:lnTo>
                    <a:pt x="2242" y="1611"/>
                  </a:lnTo>
                  <a:lnTo>
                    <a:pt x="2235" y="1614"/>
                  </a:lnTo>
                  <a:lnTo>
                    <a:pt x="2229" y="1616"/>
                  </a:lnTo>
                  <a:lnTo>
                    <a:pt x="2222" y="1620"/>
                  </a:lnTo>
                  <a:lnTo>
                    <a:pt x="2214" y="1623"/>
                  </a:lnTo>
                  <a:lnTo>
                    <a:pt x="2207" y="1626"/>
                  </a:lnTo>
                  <a:lnTo>
                    <a:pt x="2198" y="1626"/>
                  </a:lnTo>
                  <a:lnTo>
                    <a:pt x="2191" y="1626"/>
                  </a:lnTo>
                  <a:lnTo>
                    <a:pt x="2185" y="1624"/>
                  </a:lnTo>
                  <a:lnTo>
                    <a:pt x="2179" y="1623"/>
                  </a:lnTo>
                  <a:lnTo>
                    <a:pt x="2174" y="1620"/>
                  </a:lnTo>
                  <a:lnTo>
                    <a:pt x="2166" y="1614"/>
                  </a:lnTo>
                  <a:lnTo>
                    <a:pt x="2159" y="1606"/>
                  </a:lnTo>
                  <a:lnTo>
                    <a:pt x="2154" y="1598"/>
                  </a:lnTo>
                  <a:lnTo>
                    <a:pt x="2150" y="1590"/>
                  </a:lnTo>
                  <a:lnTo>
                    <a:pt x="2145" y="1583"/>
                  </a:lnTo>
                  <a:lnTo>
                    <a:pt x="2138" y="1578"/>
                  </a:lnTo>
                  <a:lnTo>
                    <a:pt x="2130" y="1586"/>
                  </a:lnTo>
                  <a:lnTo>
                    <a:pt x="2122" y="1594"/>
                  </a:lnTo>
                  <a:lnTo>
                    <a:pt x="2111" y="1600"/>
                  </a:lnTo>
                  <a:lnTo>
                    <a:pt x="2099" y="1604"/>
                  </a:lnTo>
                  <a:lnTo>
                    <a:pt x="2087" y="1608"/>
                  </a:lnTo>
                  <a:lnTo>
                    <a:pt x="2075" y="1611"/>
                  </a:lnTo>
                  <a:lnTo>
                    <a:pt x="2062" y="1614"/>
                  </a:lnTo>
                  <a:lnTo>
                    <a:pt x="2047" y="1614"/>
                  </a:lnTo>
                  <a:lnTo>
                    <a:pt x="2041" y="1612"/>
                  </a:lnTo>
                  <a:lnTo>
                    <a:pt x="2031" y="1608"/>
                  </a:lnTo>
                  <a:lnTo>
                    <a:pt x="2022" y="1603"/>
                  </a:lnTo>
                  <a:lnTo>
                    <a:pt x="2013" y="1596"/>
                  </a:lnTo>
                  <a:lnTo>
                    <a:pt x="1997" y="1583"/>
                  </a:lnTo>
                  <a:lnTo>
                    <a:pt x="1987" y="1578"/>
                  </a:lnTo>
                  <a:lnTo>
                    <a:pt x="1983" y="1580"/>
                  </a:lnTo>
                  <a:lnTo>
                    <a:pt x="1979" y="1584"/>
                  </a:lnTo>
                  <a:lnTo>
                    <a:pt x="1977" y="1590"/>
                  </a:lnTo>
                  <a:lnTo>
                    <a:pt x="1974" y="1596"/>
                  </a:lnTo>
                  <a:lnTo>
                    <a:pt x="1971" y="1610"/>
                  </a:lnTo>
                  <a:lnTo>
                    <a:pt x="1969" y="1626"/>
                  </a:lnTo>
                  <a:lnTo>
                    <a:pt x="1966" y="1654"/>
                  </a:lnTo>
                  <a:lnTo>
                    <a:pt x="1963" y="1668"/>
                  </a:lnTo>
                  <a:lnTo>
                    <a:pt x="1953" y="1671"/>
                  </a:lnTo>
                  <a:lnTo>
                    <a:pt x="1943" y="1674"/>
                  </a:lnTo>
                  <a:lnTo>
                    <a:pt x="1933" y="1675"/>
                  </a:lnTo>
                  <a:lnTo>
                    <a:pt x="1922" y="1675"/>
                  </a:lnTo>
                  <a:lnTo>
                    <a:pt x="1901" y="1675"/>
                  </a:lnTo>
                  <a:lnTo>
                    <a:pt x="1879" y="1674"/>
                  </a:lnTo>
                  <a:lnTo>
                    <a:pt x="1861" y="1674"/>
                  </a:lnTo>
                  <a:lnTo>
                    <a:pt x="1845" y="1674"/>
                  </a:lnTo>
                  <a:lnTo>
                    <a:pt x="1837" y="1674"/>
                  </a:lnTo>
                  <a:lnTo>
                    <a:pt x="1830" y="1675"/>
                  </a:lnTo>
                  <a:lnTo>
                    <a:pt x="1823" y="1678"/>
                  </a:lnTo>
                  <a:lnTo>
                    <a:pt x="1819" y="1680"/>
                  </a:lnTo>
                  <a:lnTo>
                    <a:pt x="1813" y="1684"/>
                  </a:lnTo>
                  <a:lnTo>
                    <a:pt x="1809" y="1690"/>
                  </a:lnTo>
                  <a:lnTo>
                    <a:pt x="1805" y="1694"/>
                  </a:lnTo>
                  <a:lnTo>
                    <a:pt x="1802" y="1699"/>
                  </a:lnTo>
                  <a:lnTo>
                    <a:pt x="1799" y="1710"/>
                  </a:lnTo>
                  <a:lnTo>
                    <a:pt x="1799" y="1719"/>
                  </a:lnTo>
                  <a:lnTo>
                    <a:pt x="1799" y="1730"/>
                  </a:lnTo>
                  <a:lnTo>
                    <a:pt x="1798" y="1739"/>
                  </a:lnTo>
                  <a:lnTo>
                    <a:pt x="1798" y="1744"/>
                  </a:lnTo>
                  <a:lnTo>
                    <a:pt x="1795" y="1750"/>
                  </a:lnTo>
                  <a:lnTo>
                    <a:pt x="1793" y="1754"/>
                  </a:lnTo>
                  <a:lnTo>
                    <a:pt x="1789" y="1759"/>
                  </a:lnTo>
                  <a:lnTo>
                    <a:pt x="1782" y="1764"/>
                  </a:lnTo>
                  <a:lnTo>
                    <a:pt x="1773" y="1770"/>
                  </a:lnTo>
                  <a:lnTo>
                    <a:pt x="1765" y="1775"/>
                  </a:lnTo>
                  <a:lnTo>
                    <a:pt x="1756" y="1779"/>
                  </a:lnTo>
                  <a:lnTo>
                    <a:pt x="1736" y="1786"/>
                  </a:lnTo>
                  <a:lnTo>
                    <a:pt x="1716" y="1794"/>
                  </a:lnTo>
                  <a:lnTo>
                    <a:pt x="1706" y="1798"/>
                  </a:lnTo>
                  <a:lnTo>
                    <a:pt x="1697" y="1802"/>
                  </a:lnTo>
                  <a:lnTo>
                    <a:pt x="1689" y="1808"/>
                  </a:lnTo>
                  <a:lnTo>
                    <a:pt x="1682" y="1815"/>
                  </a:lnTo>
                  <a:lnTo>
                    <a:pt x="1677" y="1822"/>
                  </a:lnTo>
                  <a:lnTo>
                    <a:pt x="1673" y="1831"/>
                  </a:lnTo>
                  <a:lnTo>
                    <a:pt x="1669" y="1842"/>
                  </a:lnTo>
                  <a:lnTo>
                    <a:pt x="1669" y="1855"/>
                  </a:lnTo>
                  <a:lnTo>
                    <a:pt x="1669" y="1863"/>
                  </a:lnTo>
                  <a:lnTo>
                    <a:pt x="1672" y="1872"/>
                  </a:lnTo>
                  <a:lnTo>
                    <a:pt x="1676" y="1880"/>
                  </a:lnTo>
                  <a:lnTo>
                    <a:pt x="1681" y="1888"/>
                  </a:lnTo>
                  <a:lnTo>
                    <a:pt x="1688" y="1895"/>
                  </a:lnTo>
                  <a:lnTo>
                    <a:pt x="1694" y="1902"/>
                  </a:lnTo>
                  <a:lnTo>
                    <a:pt x="1702" y="1908"/>
                  </a:lnTo>
                  <a:lnTo>
                    <a:pt x="1710" y="1914"/>
                  </a:lnTo>
                  <a:lnTo>
                    <a:pt x="1745" y="1935"/>
                  </a:lnTo>
                  <a:lnTo>
                    <a:pt x="1772" y="1951"/>
                  </a:lnTo>
                  <a:lnTo>
                    <a:pt x="1758" y="1963"/>
                  </a:lnTo>
                  <a:lnTo>
                    <a:pt x="1748" y="1973"/>
                  </a:lnTo>
                  <a:lnTo>
                    <a:pt x="1738" y="1987"/>
                  </a:lnTo>
                  <a:lnTo>
                    <a:pt x="1730" y="1999"/>
                  </a:lnTo>
                  <a:lnTo>
                    <a:pt x="1725" y="2013"/>
                  </a:lnTo>
                  <a:lnTo>
                    <a:pt x="1720" y="2029"/>
                  </a:lnTo>
                  <a:lnTo>
                    <a:pt x="1718" y="2047"/>
                  </a:lnTo>
                  <a:lnTo>
                    <a:pt x="1717" y="2065"/>
                  </a:lnTo>
                  <a:lnTo>
                    <a:pt x="1718" y="2081"/>
                  </a:lnTo>
                  <a:lnTo>
                    <a:pt x="1721" y="2099"/>
                  </a:lnTo>
                  <a:lnTo>
                    <a:pt x="1726" y="2115"/>
                  </a:lnTo>
                  <a:lnTo>
                    <a:pt x="1733" y="2131"/>
                  </a:lnTo>
                  <a:lnTo>
                    <a:pt x="1741" y="2145"/>
                  </a:lnTo>
                  <a:lnTo>
                    <a:pt x="1750" y="2157"/>
                  </a:lnTo>
                  <a:lnTo>
                    <a:pt x="1754" y="2163"/>
                  </a:lnTo>
                  <a:lnTo>
                    <a:pt x="1760" y="2168"/>
                  </a:lnTo>
                  <a:lnTo>
                    <a:pt x="1765" y="2171"/>
                  </a:lnTo>
                  <a:lnTo>
                    <a:pt x="1772" y="2173"/>
                  </a:lnTo>
                  <a:lnTo>
                    <a:pt x="1778" y="2196"/>
                  </a:lnTo>
                  <a:lnTo>
                    <a:pt x="1783" y="2219"/>
                  </a:lnTo>
                  <a:lnTo>
                    <a:pt x="1786" y="2240"/>
                  </a:lnTo>
                  <a:lnTo>
                    <a:pt x="1790" y="2260"/>
                  </a:lnTo>
                  <a:lnTo>
                    <a:pt x="1793" y="2269"/>
                  </a:lnTo>
                  <a:lnTo>
                    <a:pt x="1795" y="2277"/>
                  </a:lnTo>
                  <a:lnTo>
                    <a:pt x="1799" y="2287"/>
                  </a:lnTo>
                  <a:lnTo>
                    <a:pt x="1805" y="2295"/>
                  </a:lnTo>
                  <a:lnTo>
                    <a:pt x="1810" y="2301"/>
                  </a:lnTo>
                  <a:lnTo>
                    <a:pt x="1818" y="2308"/>
                  </a:lnTo>
                  <a:lnTo>
                    <a:pt x="1826" y="2313"/>
                  </a:lnTo>
                  <a:lnTo>
                    <a:pt x="1837" y="2319"/>
                  </a:lnTo>
                  <a:lnTo>
                    <a:pt x="1829" y="2363"/>
                  </a:lnTo>
                  <a:lnTo>
                    <a:pt x="1819" y="2415"/>
                  </a:lnTo>
                  <a:lnTo>
                    <a:pt x="1811" y="2468"/>
                  </a:lnTo>
                  <a:lnTo>
                    <a:pt x="1803" y="2520"/>
                  </a:lnTo>
                  <a:lnTo>
                    <a:pt x="1798" y="2566"/>
                  </a:lnTo>
                  <a:lnTo>
                    <a:pt x="1793" y="2605"/>
                  </a:lnTo>
                  <a:lnTo>
                    <a:pt x="1790" y="2632"/>
                  </a:lnTo>
                  <a:lnTo>
                    <a:pt x="1789" y="2644"/>
                  </a:lnTo>
                  <a:lnTo>
                    <a:pt x="1786" y="2650"/>
                  </a:lnTo>
                  <a:lnTo>
                    <a:pt x="1777" y="2668"/>
                  </a:lnTo>
                  <a:lnTo>
                    <a:pt x="1764" y="2690"/>
                  </a:lnTo>
                  <a:lnTo>
                    <a:pt x="1745" y="2718"/>
                  </a:lnTo>
                  <a:lnTo>
                    <a:pt x="1725" y="2748"/>
                  </a:lnTo>
                  <a:lnTo>
                    <a:pt x="1702" y="2776"/>
                  </a:lnTo>
                  <a:lnTo>
                    <a:pt x="1692" y="2790"/>
                  </a:lnTo>
                  <a:lnTo>
                    <a:pt x="1680" y="2802"/>
                  </a:lnTo>
                  <a:lnTo>
                    <a:pt x="1668" y="2814"/>
                  </a:lnTo>
                  <a:lnTo>
                    <a:pt x="1657" y="2824"/>
                  </a:lnTo>
                  <a:lnTo>
                    <a:pt x="1630" y="2845"/>
                  </a:lnTo>
                  <a:lnTo>
                    <a:pt x="1608" y="2866"/>
                  </a:lnTo>
                  <a:lnTo>
                    <a:pt x="1597" y="2877"/>
                  </a:lnTo>
                  <a:lnTo>
                    <a:pt x="1586" y="2888"/>
                  </a:lnTo>
                  <a:lnTo>
                    <a:pt x="1577" y="2900"/>
                  </a:lnTo>
                  <a:lnTo>
                    <a:pt x="1569" y="2910"/>
                  </a:lnTo>
                  <a:lnTo>
                    <a:pt x="1561" y="2922"/>
                  </a:lnTo>
                  <a:lnTo>
                    <a:pt x="1554" y="2934"/>
                  </a:lnTo>
                  <a:lnTo>
                    <a:pt x="1548" y="2946"/>
                  </a:lnTo>
                  <a:lnTo>
                    <a:pt x="1542" y="2958"/>
                  </a:lnTo>
                  <a:lnTo>
                    <a:pt x="1538" y="2972"/>
                  </a:lnTo>
                  <a:lnTo>
                    <a:pt x="1534" y="2984"/>
                  </a:lnTo>
                  <a:lnTo>
                    <a:pt x="1532" y="2997"/>
                  </a:lnTo>
                  <a:lnTo>
                    <a:pt x="1530" y="3010"/>
                  </a:lnTo>
                  <a:lnTo>
                    <a:pt x="1528" y="3022"/>
                  </a:lnTo>
                  <a:lnTo>
                    <a:pt x="1525" y="3033"/>
                  </a:lnTo>
                  <a:lnTo>
                    <a:pt x="1522" y="3042"/>
                  </a:lnTo>
                  <a:lnTo>
                    <a:pt x="1518" y="3052"/>
                  </a:lnTo>
                  <a:lnTo>
                    <a:pt x="1510" y="3068"/>
                  </a:lnTo>
                  <a:lnTo>
                    <a:pt x="1500" y="3080"/>
                  </a:lnTo>
                  <a:lnTo>
                    <a:pt x="1489" y="3092"/>
                  </a:lnTo>
                  <a:lnTo>
                    <a:pt x="1477" y="3101"/>
                  </a:lnTo>
                  <a:lnTo>
                    <a:pt x="1464" y="3108"/>
                  </a:lnTo>
                  <a:lnTo>
                    <a:pt x="1452" y="3114"/>
                  </a:lnTo>
                  <a:lnTo>
                    <a:pt x="1426" y="3126"/>
                  </a:lnTo>
                  <a:lnTo>
                    <a:pt x="1405" y="3138"/>
                  </a:lnTo>
                  <a:lnTo>
                    <a:pt x="1397" y="3145"/>
                  </a:lnTo>
                  <a:lnTo>
                    <a:pt x="1392" y="3153"/>
                  </a:lnTo>
                  <a:lnTo>
                    <a:pt x="1389" y="3157"/>
                  </a:lnTo>
                  <a:lnTo>
                    <a:pt x="1386" y="3162"/>
                  </a:lnTo>
                  <a:lnTo>
                    <a:pt x="1386" y="3167"/>
                  </a:lnTo>
                  <a:lnTo>
                    <a:pt x="1385" y="3173"/>
                  </a:lnTo>
                  <a:lnTo>
                    <a:pt x="1386" y="3182"/>
                  </a:lnTo>
                  <a:lnTo>
                    <a:pt x="1388" y="3189"/>
                  </a:lnTo>
                  <a:lnTo>
                    <a:pt x="1389" y="3197"/>
                  </a:lnTo>
                  <a:lnTo>
                    <a:pt x="1392" y="3203"/>
                  </a:lnTo>
                  <a:lnTo>
                    <a:pt x="1396" y="3217"/>
                  </a:lnTo>
                  <a:lnTo>
                    <a:pt x="1397" y="3234"/>
                  </a:lnTo>
                  <a:lnTo>
                    <a:pt x="1373" y="3249"/>
                  </a:lnTo>
                  <a:lnTo>
                    <a:pt x="1346" y="3261"/>
                  </a:lnTo>
                  <a:lnTo>
                    <a:pt x="1341" y="3265"/>
                  </a:lnTo>
                  <a:lnTo>
                    <a:pt x="1334" y="3267"/>
                  </a:lnTo>
                  <a:lnTo>
                    <a:pt x="1329" y="3273"/>
                  </a:lnTo>
                  <a:lnTo>
                    <a:pt x="1325" y="3278"/>
                  </a:lnTo>
                  <a:lnTo>
                    <a:pt x="1321" y="3283"/>
                  </a:lnTo>
                  <a:lnTo>
                    <a:pt x="1317" y="3290"/>
                  </a:lnTo>
                  <a:lnTo>
                    <a:pt x="1314" y="3297"/>
                  </a:lnTo>
                  <a:lnTo>
                    <a:pt x="1313" y="3306"/>
                  </a:lnTo>
                  <a:lnTo>
                    <a:pt x="1308" y="3305"/>
                  </a:lnTo>
                  <a:lnTo>
                    <a:pt x="1302" y="3303"/>
                  </a:lnTo>
                  <a:lnTo>
                    <a:pt x="1300" y="3301"/>
                  </a:lnTo>
                  <a:lnTo>
                    <a:pt x="1297" y="3299"/>
                  </a:lnTo>
                  <a:lnTo>
                    <a:pt x="1294" y="3294"/>
                  </a:lnTo>
                  <a:lnTo>
                    <a:pt x="1294" y="3289"/>
                  </a:lnTo>
                  <a:lnTo>
                    <a:pt x="1296" y="3282"/>
                  </a:lnTo>
                  <a:lnTo>
                    <a:pt x="1296" y="3274"/>
                  </a:lnTo>
                  <a:lnTo>
                    <a:pt x="1296" y="3270"/>
                  </a:lnTo>
                  <a:lnTo>
                    <a:pt x="1294" y="3266"/>
                  </a:lnTo>
                  <a:lnTo>
                    <a:pt x="1292" y="3262"/>
                  </a:lnTo>
                  <a:lnTo>
                    <a:pt x="1289" y="3258"/>
                  </a:lnTo>
                  <a:lnTo>
                    <a:pt x="1281" y="3242"/>
                  </a:lnTo>
                  <a:lnTo>
                    <a:pt x="1273" y="3233"/>
                  </a:lnTo>
                  <a:lnTo>
                    <a:pt x="1269" y="3229"/>
                  </a:lnTo>
                  <a:lnTo>
                    <a:pt x="1265" y="3227"/>
                  </a:lnTo>
                  <a:lnTo>
                    <a:pt x="1261" y="3225"/>
                  </a:lnTo>
                  <a:lnTo>
                    <a:pt x="1257" y="3225"/>
                  </a:lnTo>
                  <a:lnTo>
                    <a:pt x="1237" y="3225"/>
                  </a:lnTo>
                  <a:lnTo>
                    <a:pt x="1210" y="3227"/>
                  </a:lnTo>
                  <a:lnTo>
                    <a:pt x="1205" y="3227"/>
                  </a:lnTo>
                  <a:lnTo>
                    <a:pt x="1198" y="3226"/>
                  </a:lnTo>
                  <a:lnTo>
                    <a:pt x="1194" y="3223"/>
                  </a:lnTo>
                  <a:lnTo>
                    <a:pt x="1190" y="3221"/>
                  </a:lnTo>
                  <a:lnTo>
                    <a:pt x="1182" y="3214"/>
                  </a:lnTo>
                  <a:lnTo>
                    <a:pt x="1178" y="3206"/>
                  </a:lnTo>
                  <a:lnTo>
                    <a:pt x="1170" y="3186"/>
                  </a:lnTo>
                  <a:lnTo>
                    <a:pt x="1162" y="3167"/>
                  </a:lnTo>
                  <a:lnTo>
                    <a:pt x="1157" y="3158"/>
                  </a:lnTo>
                  <a:lnTo>
                    <a:pt x="1150" y="3150"/>
                  </a:lnTo>
                  <a:lnTo>
                    <a:pt x="1142" y="3142"/>
                  </a:lnTo>
                  <a:lnTo>
                    <a:pt x="1136" y="3135"/>
                  </a:lnTo>
                  <a:lnTo>
                    <a:pt x="1120" y="3125"/>
                  </a:lnTo>
                  <a:lnTo>
                    <a:pt x="1102" y="3116"/>
                  </a:lnTo>
                  <a:lnTo>
                    <a:pt x="1085" y="3106"/>
                  </a:lnTo>
                  <a:lnTo>
                    <a:pt x="1069" y="3096"/>
                  </a:lnTo>
                  <a:lnTo>
                    <a:pt x="1062" y="3090"/>
                  </a:lnTo>
                  <a:lnTo>
                    <a:pt x="1054" y="3082"/>
                  </a:lnTo>
                  <a:lnTo>
                    <a:pt x="1048" y="3074"/>
                  </a:lnTo>
                  <a:lnTo>
                    <a:pt x="1042" y="3065"/>
                  </a:lnTo>
                  <a:lnTo>
                    <a:pt x="1034" y="3069"/>
                  </a:lnTo>
                  <a:lnTo>
                    <a:pt x="1026" y="3070"/>
                  </a:lnTo>
                  <a:lnTo>
                    <a:pt x="1020" y="3070"/>
                  </a:lnTo>
                  <a:lnTo>
                    <a:pt x="1013" y="3069"/>
                  </a:lnTo>
                  <a:lnTo>
                    <a:pt x="1004" y="3066"/>
                  </a:lnTo>
                  <a:lnTo>
                    <a:pt x="995" y="3065"/>
                  </a:lnTo>
                  <a:lnTo>
                    <a:pt x="983" y="3065"/>
                  </a:lnTo>
                  <a:lnTo>
                    <a:pt x="972" y="3062"/>
                  </a:lnTo>
                  <a:lnTo>
                    <a:pt x="963" y="3061"/>
                  </a:lnTo>
                  <a:lnTo>
                    <a:pt x="953" y="3057"/>
                  </a:lnTo>
                  <a:lnTo>
                    <a:pt x="937" y="3049"/>
                  </a:lnTo>
                  <a:lnTo>
                    <a:pt x="923" y="3038"/>
                  </a:lnTo>
                  <a:lnTo>
                    <a:pt x="907" y="3026"/>
                  </a:lnTo>
                  <a:lnTo>
                    <a:pt x="891" y="3014"/>
                  </a:lnTo>
                  <a:lnTo>
                    <a:pt x="883" y="3009"/>
                  </a:lnTo>
                  <a:lnTo>
                    <a:pt x="872" y="3002"/>
                  </a:lnTo>
                  <a:lnTo>
                    <a:pt x="861" y="2997"/>
                  </a:lnTo>
                  <a:lnTo>
                    <a:pt x="849" y="2993"/>
                  </a:lnTo>
                  <a:lnTo>
                    <a:pt x="813" y="2982"/>
                  </a:lnTo>
                  <a:lnTo>
                    <a:pt x="780" y="2976"/>
                  </a:lnTo>
                  <a:lnTo>
                    <a:pt x="764" y="2970"/>
                  </a:lnTo>
                  <a:lnTo>
                    <a:pt x="749" y="2965"/>
                  </a:lnTo>
                  <a:lnTo>
                    <a:pt x="741" y="2961"/>
                  </a:lnTo>
                  <a:lnTo>
                    <a:pt x="736" y="2956"/>
                  </a:lnTo>
                  <a:lnTo>
                    <a:pt x="729" y="2950"/>
                  </a:lnTo>
                  <a:lnTo>
                    <a:pt x="723" y="2945"/>
                  </a:lnTo>
                  <a:lnTo>
                    <a:pt x="719" y="2940"/>
                  </a:lnTo>
                  <a:lnTo>
                    <a:pt x="716" y="2933"/>
                  </a:lnTo>
                  <a:lnTo>
                    <a:pt x="713" y="2926"/>
                  </a:lnTo>
                  <a:lnTo>
                    <a:pt x="712" y="2920"/>
                  </a:lnTo>
                  <a:lnTo>
                    <a:pt x="708" y="2904"/>
                  </a:lnTo>
                  <a:lnTo>
                    <a:pt x="705" y="2888"/>
                  </a:lnTo>
                  <a:lnTo>
                    <a:pt x="703" y="2880"/>
                  </a:lnTo>
                  <a:lnTo>
                    <a:pt x="701" y="2872"/>
                  </a:lnTo>
                  <a:lnTo>
                    <a:pt x="699" y="2865"/>
                  </a:lnTo>
                  <a:lnTo>
                    <a:pt x="695" y="2860"/>
                  </a:lnTo>
                  <a:lnTo>
                    <a:pt x="689" y="2854"/>
                  </a:lnTo>
                  <a:lnTo>
                    <a:pt x="684" y="2852"/>
                  </a:lnTo>
                  <a:lnTo>
                    <a:pt x="677" y="2849"/>
                  </a:lnTo>
                  <a:lnTo>
                    <a:pt x="669" y="2848"/>
                  </a:lnTo>
                  <a:lnTo>
                    <a:pt x="660" y="2849"/>
                  </a:lnTo>
                  <a:lnTo>
                    <a:pt x="651" y="2852"/>
                  </a:lnTo>
                  <a:lnTo>
                    <a:pt x="643" y="2854"/>
                  </a:lnTo>
                  <a:lnTo>
                    <a:pt x="635" y="2860"/>
                  </a:lnTo>
                  <a:lnTo>
                    <a:pt x="629" y="2865"/>
                  </a:lnTo>
                  <a:lnTo>
                    <a:pt x="623" y="2872"/>
                  </a:lnTo>
                  <a:lnTo>
                    <a:pt x="617" y="2878"/>
                  </a:lnTo>
                  <a:lnTo>
                    <a:pt x="612" y="2886"/>
                  </a:lnTo>
                  <a:lnTo>
                    <a:pt x="593" y="2922"/>
                  </a:lnTo>
                  <a:lnTo>
                    <a:pt x="572" y="2957"/>
                  </a:lnTo>
                  <a:lnTo>
                    <a:pt x="564" y="2956"/>
                  </a:lnTo>
                  <a:lnTo>
                    <a:pt x="553" y="2956"/>
                  </a:lnTo>
                  <a:lnTo>
                    <a:pt x="544" y="2953"/>
                  </a:lnTo>
                  <a:lnTo>
                    <a:pt x="535" y="2950"/>
                  </a:lnTo>
                  <a:lnTo>
                    <a:pt x="527" y="2946"/>
                  </a:lnTo>
                  <a:lnTo>
                    <a:pt x="519" y="2941"/>
                  </a:lnTo>
                  <a:lnTo>
                    <a:pt x="512" y="2934"/>
                  </a:lnTo>
                  <a:lnTo>
                    <a:pt x="507" y="2926"/>
                  </a:lnTo>
                  <a:lnTo>
                    <a:pt x="491" y="2932"/>
                  </a:lnTo>
                  <a:lnTo>
                    <a:pt x="479" y="2938"/>
                  </a:lnTo>
                  <a:lnTo>
                    <a:pt x="472" y="2941"/>
                  </a:lnTo>
                  <a:lnTo>
                    <a:pt x="465" y="2942"/>
                  </a:lnTo>
                  <a:lnTo>
                    <a:pt x="456" y="2944"/>
                  </a:lnTo>
                  <a:lnTo>
                    <a:pt x="447" y="2945"/>
                  </a:lnTo>
                  <a:lnTo>
                    <a:pt x="433" y="2944"/>
                  </a:lnTo>
                  <a:lnTo>
                    <a:pt x="420" y="2942"/>
                  </a:lnTo>
                  <a:lnTo>
                    <a:pt x="408" y="2941"/>
                  </a:lnTo>
                  <a:lnTo>
                    <a:pt x="397" y="2937"/>
                  </a:lnTo>
                  <a:lnTo>
                    <a:pt x="375" y="2929"/>
                  </a:lnTo>
                  <a:lnTo>
                    <a:pt x="355" y="2920"/>
                  </a:lnTo>
                  <a:lnTo>
                    <a:pt x="316" y="2896"/>
                  </a:lnTo>
                  <a:lnTo>
                    <a:pt x="277" y="2872"/>
                  </a:lnTo>
                  <a:lnTo>
                    <a:pt x="268" y="2865"/>
                  </a:lnTo>
                  <a:lnTo>
                    <a:pt x="260" y="2856"/>
                  </a:lnTo>
                  <a:lnTo>
                    <a:pt x="254" y="2848"/>
                  </a:lnTo>
                  <a:lnTo>
                    <a:pt x="248" y="2838"/>
                  </a:lnTo>
                  <a:lnTo>
                    <a:pt x="240" y="2830"/>
                  </a:lnTo>
                  <a:lnTo>
                    <a:pt x="231" y="2824"/>
                  </a:lnTo>
                  <a:lnTo>
                    <a:pt x="224" y="2821"/>
                  </a:lnTo>
                  <a:lnTo>
                    <a:pt x="218" y="2820"/>
                  </a:lnTo>
                  <a:lnTo>
                    <a:pt x="208" y="2818"/>
                  </a:lnTo>
                  <a:lnTo>
                    <a:pt x="199" y="2818"/>
                  </a:lnTo>
                  <a:lnTo>
                    <a:pt x="192" y="2818"/>
                  </a:lnTo>
                  <a:lnTo>
                    <a:pt x="187" y="2821"/>
                  </a:lnTo>
                  <a:lnTo>
                    <a:pt x="182" y="2824"/>
                  </a:lnTo>
                  <a:lnTo>
                    <a:pt x="175" y="2828"/>
                  </a:lnTo>
                  <a:lnTo>
                    <a:pt x="170" y="2830"/>
                  </a:lnTo>
                  <a:lnTo>
                    <a:pt x="164" y="2833"/>
                  </a:lnTo>
                  <a:lnTo>
                    <a:pt x="158" y="2836"/>
                  </a:lnTo>
                  <a:lnTo>
                    <a:pt x="151" y="2836"/>
                  </a:lnTo>
                  <a:lnTo>
                    <a:pt x="143" y="2836"/>
                  </a:lnTo>
                  <a:lnTo>
                    <a:pt x="135" y="2832"/>
                  </a:lnTo>
                  <a:lnTo>
                    <a:pt x="127" y="2828"/>
                  </a:lnTo>
                  <a:lnTo>
                    <a:pt x="120" y="2821"/>
                  </a:lnTo>
                  <a:lnTo>
                    <a:pt x="104" y="2804"/>
                  </a:lnTo>
                  <a:lnTo>
                    <a:pt x="88" y="2785"/>
                  </a:lnTo>
                  <a:lnTo>
                    <a:pt x="74" y="2764"/>
                  </a:lnTo>
                  <a:lnTo>
                    <a:pt x="59" y="2745"/>
                  </a:lnTo>
                  <a:lnTo>
                    <a:pt x="52" y="2736"/>
                  </a:lnTo>
                  <a:lnTo>
                    <a:pt x="44" y="2728"/>
                  </a:lnTo>
                  <a:lnTo>
                    <a:pt x="38" y="2721"/>
                  </a:lnTo>
                  <a:lnTo>
                    <a:pt x="31" y="2716"/>
                  </a:lnTo>
                  <a:lnTo>
                    <a:pt x="23" y="2710"/>
                  </a:lnTo>
                  <a:lnTo>
                    <a:pt x="14" y="2705"/>
                  </a:lnTo>
                  <a:lnTo>
                    <a:pt x="8" y="2701"/>
                  </a:lnTo>
                  <a:lnTo>
                    <a:pt x="4" y="2697"/>
                  </a:lnTo>
                  <a:lnTo>
                    <a:pt x="2" y="2692"/>
                  </a:lnTo>
                  <a:lnTo>
                    <a:pt x="0" y="2685"/>
                  </a:lnTo>
                  <a:lnTo>
                    <a:pt x="3" y="2680"/>
                  </a:lnTo>
                  <a:lnTo>
                    <a:pt x="10" y="2670"/>
                  </a:lnTo>
                  <a:lnTo>
                    <a:pt x="20" y="2660"/>
                  </a:lnTo>
                  <a:lnTo>
                    <a:pt x="32" y="2648"/>
                  </a:lnTo>
                  <a:lnTo>
                    <a:pt x="44" y="2637"/>
                  </a:lnTo>
                  <a:lnTo>
                    <a:pt x="56" y="2628"/>
                  </a:lnTo>
                  <a:lnTo>
                    <a:pt x="67" y="2621"/>
                  </a:lnTo>
                  <a:lnTo>
                    <a:pt x="72" y="2620"/>
                  </a:lnTo>
                  <a:lnTo>
                    <a:pt x="90" y="2620"/>
                  </a:lnTo>
                  <a:lnTo>
                    <a:pt x="104" y="2618"/>
                  </a:lnTo>
                  <a:lnTo>
                    <a:pt x="118" y="2617"/>
                  </a:lnTo>
                  <a:lnTo>
                    <a:pt x="127" y="2613"/>
                  </a:lnTo>
                  <a:lnTo>
                    <a:pt x="131" y="2609"/>
                  </a:lnTo>
                  <a:lnTo>
                    <a:pt x="135" y="2606"/>
                  </a:lnTo>
                  <a:lnTo>
                    <a:pt x="138" y="2601"/>
                  </a:lnTo>
                  <a:lnTo>
                    <a:pt x="140" y="2597"/>
                  </a:lnTo>
                  <a:lnTo>
                    <a:pt x="143" y="2590"/>
                  </a:lnTo>
                  <a:lnTo>
                    <a:pt x="144" y="2582"/>
                  </a:lnTo>
                  <a:lnTo>
                    <a:pt x="144" y="2574"/>
                  </a:lnTo>
                  <a:lnTo>
                    <a:pt x="146" y="2565"/>
                  </a:lnTo>
                  <a:lnTo>
                    <a:pt x="144" y="2556"/>
                  </a:lnTo>
                  <a:lnTo>
                    <a:pt x="143" y="2548"/>
                  </a:lnTo>
                  <a:lnTo>
                    <a:pt x="139" y="2540"/>
                  </a:lnTo>
                  <a:lnTo>
                    <a:pt x="136" y="2532"/>
                  </a:lnTo>
                  <a:lnTo>
                    <a:pt x="132" y="2524"/>
                  </a:lnTo>
                  <a:lnTo>
                    <a:pt x="130" y="2516"/>
                  </a:lnTo>
                  <a:lnTo>
                    <a:pt x="128" y="2508"/>
                  </a:lnTo>
                  <a:lnTo>
                    <a:pt x="127" y="2499"/>
                  </a:lnTo>
                  <a:lnTo>
                    <a:pt x="128" y="2488"/>
                  </a:lnTo>
                  <a:lnTo>
                    <a:pt x="131" y="2479"/>
                  </a:lnTo>
                  <a:lnTo>
                    <a:pt x="135" y="2468"/>
                  </a:lnTo>
                  <a:lnTo>
                    <a:pt x="139" y="2459"/>
                  </a:lnTo>
                  <a:lnTo>
                    <a:pt x="143" y="2448"/>
                  </a:lnTo>
                  <a:lnTo>
                    <a:pt x="147" y="2436"/>
                  </a:lnTo>
                  <a:lnTo>
                    <a:pt x="150" y="2424"/>
                  </a:lnTo>
                  <a:lnTo>
                    <a:pt x="151" y="2409"/>
                  </a:lnTo>
                  <a:lnTo>
                    <a:pt x="150" y="2396"/>
                  </a:lnTo>
                  <a:lnTo>
                    <a:pt x="147" y="2384"/>
                  </a:lnTo>
                  <a:lnTo>
                    <a:pt x="143" y="2375"/>
                  </a:lnTo>
                  <a:lnTo>
                    <a:pt x="139" y="2364"/>
                  </a:lnTo>
                  <a:lnTo>
                    <a:pt x="135" y="2355"/>
                  </a:lnTo>
                  <a:lnTo>
                    <a:pt x="131" y="2345"/>
                  </a:lnTo>
                  <a:lnTo>
                    <a:pt x="128" y="2335"/>
                  </a:lnTo>
                  <a:lnTo>
                    <a:pt x="127" y="2324"/>
                  </a:lnTo>
                  <a:lnTo>
                    <a:pt x="128" y="2316"/>
                  </a:lnTo>
                  <a:lnTo>
                    <a:pt x="132" y="2307"/>
                  </a:lnTo>
                  <a:lnTo>
                    <a:pt x="138" y="2296"/>
                  </a:lnTo>
                  <a:lnTo>
                    <a:pt x="143" y="2283"/>
                  </a:lnTo>
                  <a:lnTo>
                    <a:pt x="150" y="2269"/>
                  </a:lnTo>
                  <a:lnTo>
                    <a:pt x="155" y="2256"/>
                  </a:lnTo>
                  <a:lnTo>
                    <a:pt x="160" y="2241"/>
                  </a:lnTo>
                  <a:lnTo>
                    <a:pt x="163" y="2228"/>
                  </a:lnTo>
                  <a:lnTo>
                    <a:pt x="172" y="2225"/>
                  </a:lnTo>
                  <a:lnTo>
                    <a:pt x="180" y="2221"/>
                  </a:lnTo>
                  <a:lnTo>
                    <a:pt x="190" y="2216"/>
                  </a:lnTo>
                  <a:lnTo>
                    <a:pt x="196" y="2211"/>
                  </a:lnTo>
                  <a:lnTo>
                    <a:pt x="204" y="2204"/>
                  </a:lnTo>
                  <a:lnTo>
                    <a:pt x="211" y="2197"/>
                  </a:lnTo>
                  <a:lnTo>
                    <a:pt x="218" y="2189"/>
                  </a:lnTo>
                  <a:lnTo>
                    <a:pt x="223" y="2181"/>
                  </a:lnTo>
                  <a:lnTo>
                    <a:pt x="228" y="2172"/>
                  </a:lnTo>
                  <a:lnTo>
                    <a:pt x="234" y="2164"/>
                  </a:lnTo>
                  <a:lnTo>
                    <a:pt x="238" y="2155"/>
                  </a:lnTo>
                  <a:lnTo>
                    <a:pt x="242" y="2145"/>
                  </a:lnTo>
                  <a:lnTo>
                    <a:pt x="244" y="2136"/>
                  </a:lnTo>
                  <a:lnTo>
                    <a:pt x="246" y="2127"/>
                  </a:lnTo>
                  <a:lnTo>
                    <a:pt x="247" y="2116"/>
                  </a:lnTo>
                  <a:lnTo>
                    <a:pt x="248" y="2108"/>
                  </a:lnTo>
                  <a:lnTo>
                    <a:pt x="247" y="2096"/>
                  </a:lnTo>
                  <a:lnTo>
                    <a:pt x="244" y="2087"/>
                  </a:lnTo>
                  <a:lnTo>
                    <a:pt x="242" y="2077"/>
                  </a:lnTo>
                  <a:lnTo>
                    <a:pt x="238" y="2068"/>
                  </a:lnTo>
                  <a:lnTo>
                    <a:pt x="227" y="2052"/>
                  </a:lnTo>
                  <a:lnTo>
                    <a:pt x="215" y="2036"/>
                  </a:lnTo>
                  <a:lnTo>
                    <a:pt x="203" y="2021"/>
                  </a:lnTo>
                  <a:lnTo>
                    <a:pt x="192" y="2005"/>
                  </a:lnTo>
                  <a:lnTo>
                    <a:pt x="187" y="1997"/>
                  </a:lnTo>
                  <a:lnTo>
                    <a:pt x="184" y="1988"/>
                  </a:lnTo>
                  <a:lnTo>
                    <a:pt x="182" y="1979"/>
                  </a:lnTo>
                  <a:lnTo>
                    <a:pt x="182" y="1969"/>
                  </a:lnTo>
                  <a:lnTo>
                    <a:pt x="182" y="1954"/>
                  </a:lnTo>
                  <a:lnTo>
                    <a:pt x="183" y="1938"/>
                  </a:lnTo>
                  <a:lnTo>
                    <a:pt x="184" y="1922"/>
                  </a:lnTo>
                  <a:lnTo>
                    <a:pt x="187" y="1907"/>
                  </a:lnTo>
                  <a:lnTo>
                    <a:pt x="190" y="1891"/>
                  </a:lnTo>
                  <a:lnTo>
                    <a:pt x="194" y="1876"/>
                  </a:lnTo>
                  <a:lnTo>
                    <a:pt x="198" y="1863"/>
                  </a:lnTo>
                  <a:lnTo>
                    <a:pt x="203" y="1850"/>
                  </a:lnTo>
                  <a:lnTo>
                    <a:pt x="208" y="1839"/>
                  </a:lnTo>
                  <a:lnTo>
                    <a:pt x="215" y="1827"/>
                  </a:lnTo>
                  <a:lnTo>
                    <a:pt x="222" y="1818"/>
                  </a:lnTo>
                  <a:lnTo>
                    <a:pt x="230" y="1810"/>
                  </a:lnTo>
                  <a:lnTo>
                    <a:pt x="238" y="1803"/>
                  </a:lnTo>
                  <a:lnTo>
                    <a:pt x="247" y="1799"/>
                  </a:lnTo>
                  <a:lnTo>
                    <a:pt x="256" y="1795"/>
                  </a:lnTo>
                  <a:lnTo>
                    <a:pt x="265" y="1795"/>
                  </a:lnTo>
                  <a:lnTo>
                    <a:pt x="283" y="1795"/>
                  </a:lnTo>
                  <a:lnTo>
                    <a:pt x="300" y="1795"/>
                  </a:lnTo>
                  <a:lnTo>
                    <a:pt x="320" y="1795"/>
                  </a:lnTo>
                  <a:lnTo>
                    <a:pt x="344" y="1795"/>
                  </a:lnTo>
                  <a:lnTo>
                    <a:pt x="356" y="1794"/>
                  </a:lnTo>
                  <a:lnTo>
                    <a:pt x="368" y="1790"/>
                  </a:lnTo>
                  <a:lnTo>
                    <a:pt x="379" y="1786"/>
                  </a:lnTo>
                  <a:lnTo>
                    <a:pt x="388" y="1779"/>
                  </a:lnTo>
                  <a:lnTo>
                    <a:pt x="397" y="1771"/>
                  </a:lnTo>
                  <a:lnTo>
                    <a:pt x="405" y="1762"/>
                  </a:lnTo>
                  <a:lnTo>
                    <a:pt x="412" y="1752"/>
                  </a:lnTo>
                  <a:lnTo>
                    <a:pt x="419" y="1743"/>
                  </a:lnTo>
                  <a:lnTo>
                    <a:pt x="432" y="1724"/>
                  </a:lnTo>
                  <a:lnTo>
                    <a:pt x="445" y="1708"/>
                  </a:lnTo>
                  <a:lnTo>
                    <a:pt x="452" y="1702"/>
                  </a:lnTo>
                  <a:lnTo>
                    <a:pt x="460" y="1696"/>
                  </a:lnTo>
                  <a:lnTo>
                    <a:pt x="468" y="1694"/>
                  </a:lnTo>
                  <a:lnTo>
                    <a:pt x="476" y="1692"/>
                  </a:lnTo>
                  <a:lnTo>
                    <a:pt x="483" y="1692"/>
                  </a:lnTo>
                  <a:lnTo>
                    <a:pt x="489" y="1694"/>
                  </a:lnTo>
                  <a:lnTo>
                    <a:pt x="496" y="1696"/>
                  </a:lnTo>
                  <a:lnTo>
                    <a:pt x="501" y="1699"/>
                  </a:lnTo>
                  <a:lnTo>
                    <a:pt x="511" y="1706"/>
                  </a:lnTo>
                  <a:lnTo>
                    <a:pt x="519" y="1715"/>
                  </a:lnTo>
                  <a:lnTo>
                    <a:pt x="525" y="1726"/>
                  </a:lnTo>
                  <a:lnTo>
                    <a:pt x="531" y="1738"/>
                  </a:lnTo>
                  <a:lnTo>
                    <a:pt x="536" y="1751"/>
                  </a:lnTo>
                  <a:lnTo>
                    <a:pt x="540" y="1764"/>
                  </a:lnTo>
                  <a:lnTo>
                    <a:pt x="545" y="1778"/>
                  </a:lnTo>
                  <a:lnTo>
                    <a:pt x="551" y="1791"/>
                  </a:lnTo>
                  <a:lnTo>
                    <a:pt x="556" y="1803"/>
                  </a:lnTo>
                  <a:lnTo>
                    <a:pt x="564" y="1814"/>
                  </a:lnTo>
                  <a:lnTo>
                    <a:pt x="568" y="1819"/>
                  </a:lnTo>
                  <a:lnTo>
                    <a:pt x="572" y="1823"/>
                  </a:lnTo>
                  <a:lnTo>
                    <a:pt x="577" y="1827"/>
                  </a:lnTo>
                  <a:lnTo>
                    <a:pt x="583" y="1831"/>
                  </a:lnTo>
                  <a:lnTo>
                    <a:pt x="588" y="1834"/>
                  </a:lnTo>
                  <a:lnTo>
                    <a:pt x="595" y="1835"/>
                  </a:lnTo>
                  <a:lnTo>
                    <a:pt x="601" y="1836"/>
                  </a:lnTo>
                  <a:lnTo>
                    <a:pt x="609" y="1836"/>
                  </a:lnTo>
                  <a:lnTo>
                    <a:pt x="613" y="1836"/>
                  </a:lnTo>
                  <a:lnTo>
                    <a:pt x="616" y="1835"/>
                  </a:lnTo>
                  <a:lnTo>
                    <a:pt x="617" y="1831"/>
                  </a:lnTo>
                  <a:lnTo>
                    <a:pt x="619" y="1828"/>
                  </a:lnTo>
                  <a:lnTo>
                    <a:pt x="620" y="1818"/>
                  </a:lnTo>
                  <a:lnTo>
                    <a:pt x="617" y="1806"/>
                  </a:lnTo>
                  <a:lnTo>
                    <a:pt x="612" y="1776"/>
                  </a:lnTo>
                  <a:lnTo>
                    <a:pt x="609" y="1747"/>
                  </a:lnTo>
                  <a:lnTo>
                    <a:pt x="612" y="1722"/>
                  </a:lnTo>
                  <a:lnTo>
                    <a:pt x="619" y="1684"/>
                  </a:lnTo>
                  <a:lnTo>
                    <a:pt x="624" y="1666"/>
                  </a:lnTo>
                  <a:lnTo>
                    <a:pt x="629" y="1650"/>
                  </a:lnTo>
                  <a:lnTo>
                    <a:pt x="632" y="1643"/>
                  </a:lnTo>
                  <a:lnTo>
                    <a:pt x="635" y="1638"/>
                  </a:lnTo>
                  <a:lnTo>
                    <a:pt x="636" y="1634"/>
                  </a:lnTo>
                  <a:lnTo>
                    <a:pt x="639" y="1632"/>
                  </a:lnTo>
                  <a:lnTo>
                    <a:pt x="649" y="1630"/>
                  </a:lnTo>
                  <a:lnTo>
                    <a:pt x="659" y="1631"/>
                  </a:lnTo>
                  <a:lnTo>
                    <a:pt x="664" y="1630"/>
                  </a:lnTo>
                  <a:lnTo>
                    <a:pt x="668" y="1628"/>
                  </a:lnTo>
                  <a:lnTo>
                    <a:pt x="672" y="1626"/>
                  </a:lnTo>
                  <a:lnTo>
                    <a:pt x="675" y="1620"/>
                  </a:lnTo>
                  <a:lnTo>
                    <a:pt x="677" y="1604"/>
                  </a:lnTo>
                  <a:lnTo>
                    <a:pt x="680" y="1591"/>
                  </a:lnTo>
                  <a:lnTo>
                    <a:pt x="681" y="1584"/>
                  </a:lnTo>
                  <a:lnTo>
                    <a:pt x="684" y="1579"/>
                  </a:lnTo>
                  <a:lnTo>
                    <a:pt x="688" y="1572"/>
                  </a:lnTo>
                  <a:lnTo>
                    <a:pt x="693" y="1566"/>
                  </a:lnTo>
                  <a:lnTo>
                    <a:pt x="716" y="1542"/>
                  </a:lnTo>
                  <a:lnTo>
                    <a:pt x="744" y="1516"/>
                  </a:lnTo>
                  <a:lnTo>
                    <a:pt x="757" y="1502"/>
                  </a:lnTo>
                  <a:lnTo>
                    <a:pt x="768" y="1488"/>
                  </a:lnTo>
                  <a:lnTo>
                    <a:pt x="772" y="1480"/>
                  </a:lnTo>
                  <a:lnTo>
                    <a:pt x="775" y="1472"/>
                  </a:lnTo>
                  <a:lnTo>
                    <a:pt x="777" y="1466"/>
                  </a:lnTo>
                  <a:lnTo>
                    <a:pt x="777" y="1458"/>
                  </a:lnTo>
                  <a:lnTo>
                    <a:pt x="777" y="1451"/>
                  </a:lnTo>
                  <a:lnTo>
                    <a:pt x="775" y="1447"/>
                  </a:lnTo>
                  <a:lnTo>
                    <a:pt x="772" y="1443"/>
                  </a:lnTo>
                  <a:lnTo>
                    <a:pt x="768" y="1440"/>
                  </a:lnTo>
                  <a:lnTo>
                    <a:pt x="760" y="1435"/>
                  </a:lnTo>
                  <a:lnTo>
                    <a:pt x="753" y="1427"/>
                  </a:lnTo>
                  <a:lnTo>
                    <a:pt x="753" y="1422"/>
                  </a:lnTo>
                  <a:lnTo>
                    <a:pt x="753" y="1403"/>
                  </a:lnTo>
                  <a:lnTo>
                    <a:pt x="753" y="1395"/>
                  </a:lnTo>
                  <a:lnTo>
                    <a:pt x="755" y="1388"/>
                  </a:lnTo>
                  <a:lnTo>
                    <a:pt x="757" y="1382"/>
                  </a:lnTo>
                  <a:lnTo>
                    <a:pt x="760" y="1375"/>
                  </a:lnTo>
                  <a:lnTo>
                    <a:pt x="764" y="1369"/>
                  </a:lnTo>
                  <a:lnTo>
                    <a:pt x="768" y="1363"/>
                  </a:lnTo>
                  <a:lnTo>
                    <a:pt x="773" y="1359"/>
                  </a:lnTo>
                  <a:lnTo>
                    <a:pt x="779" y="1354"/>
                  </a:lnTo>
                  <a:lnTo>
                    <a:pt x="791" y="1347"/>
                  </a:lnTo>
                  <a:lnTo>
                    <a:pt x="804" y="1342"/>
                  </a:lnTo>
                  <a:lnTo>
                    <a:pt x="817" y="1338"/>
                  </a:lnTo>
                  <a:lnTo>
                    <a:pt x="832" y="1337"/>
                  </a:lnTo>
                  <a:lnTo>
                    <a:pt x="835" y="1338"/>
                  </a:lnTo>
                  <a:lnTo>
                    <a:pt x="837" y="1338"/>
                  </a:lnTo>
                  <a:lnTo>
                    <a:pt x="840" y="1339"/>
                  </a:lnTo>
                  <a:lnTo>
                    <a:pt x="843" y="1342"/>
                  </a:lnTo>
                  <a:lnTo>
                    <a:pt x="845" y="1347"/>
                  </a:lnTo>
                  <a:lnTo>
                    <a:pt x="849" y="1354"/>
                  </a:lnTo>
                  <a:lnTo>
                    <a:pt x="855" y="1370"/>
                  </a:lnTo>
                  <a:lnTo>
                    <a:pt x="861" y="1384"/>
                  </a:lnTo>
                  <a:lnTo>
                    <a:pt x="881" y="1396"/>
                  </a:lnTo>
                  <a:lnTo>
                    <a:pt x="925" y="1422"/>
                  </a:lnTo>
                  <a:lnTo>
                    <a:pt x="951" y="1435"/>
                  </a:lnTo>
                  <a:lnTo>
                    <a:pt x="973" y="1446"/>
                  </a:lnTo>
                  <a:lnTo>
                    <a:pt x="984" y="1451"/>
                  </a:lnTo>
                  <a:lnTo>
                    <a:pt x="993" y="1454"/>
                  </a:lnTo>
                  <a:lnTo>
                    <a:pt x="1001" y="1456"/>
                  </a:lnTo>
                  <a:lnTo>
                    <a:pt x="1007" y="1458"/>
                  </a:lnTo>
                  <a:lnTo>
                    <a:pt x="1021" y="1456"/>
                  </a:lnTo>
                  <a:lnTo>
                    <a:pt x="1032" y="1454"/>
                  </a:lnTo>
                  <a:lnTo>
                    <a:pt x="1042" y="1448"/>
                  </a:lnTo>
                  <a:lnTo>
                    <a:pt x="1049" y="1443"/>
                  </a:lnTo>
                  <a:lnTo>
                    <a:pt x="1054" y="1436"/>
                  </a:lnTo>
                  <a:lnTo>
                    <a:pt x="1058" y="1430"/>
                  </a:lnTo>
                  <a:lnTo>
                    <a:pt x="1060" y="1422"/>
                  </a:lnTo>
                  <a:lnTo>
                    <a:pt x="1060" y="1415"/>
                  </a:lnTo>
                  <a:lnTo>
                    <a:pt x="1060" y="1411"/>
                  </a:lnTo>
                  <a:lnTo>
                    <a:pt x="1060" y="1400"/>
                  </a:lnTo>
                  <a:lnTo>
                    <a:pt x="1060" y="1387"/>
                  </a:lnTo>
                  <a:lnTo>
                    <a:pt x="1060" y="1373"/>
                  </a:lnTo>
                  <a:lnTo>
                    <a:pt x="1061" y="1365"/>
                  </a:lnTo>
                  <a:lnTo>
                    <a:pt x="1064" y="1357"/>
                  </a:lnTo>
                  <a:lnTo>
                    <a:pt x="1068" y="1350"/>
                  </a:lnTo>
                  <a:lnTo>
                    <a:pt x="1072" y="1343"/>
                  </a:lnTo>
                  <a:lnTo>
                    <a:pt x="1077" y="1338"/>
                  </a:lnTo>
                  <a:lnTo>
                    <a:pt x="1081" y="1331"/>
                  </a:lnTo>
                  <a:lnTo>
                    <a:pt x="1084" y="1326"/>
                  </a:lnTo>
                  <a:lnTo>
                    <a:pt x="1085" y="1319"/>
                  </a:lnTo>
                  <a:lnTo>
                    <a:pt x="1085" y="1309"/>
                  </a:lnTo>
                  <a:lnTo>
                    <a:pt x="1085" y="1289"/>
                  </a:lnTo>
                  <a:lnTo>
                    <a:pt x="1081" y="1282"/>
                  </a:lnTo>
                  <a:lnTo>
                    <a:pt x="1077" y="1275"/>
                  </a:lnTo>
                  <a:lnTo>
                    <a:pt x="1073" y="1270"/>
                  </a:lnTo>
                  <a:lnTo>
                    <a:pt x="1068" y="1263"/>
                  </a:lnTo>
                  <a:lnTo>
                    <a:pt x="1054" y="1253"/>
                  </a:lnTo>
                  <a:lnTo>
                    <a:pt x="1041" y="1242"/>
                  </a:lnTo>
                  <a:lnTo>
                    <a:pt x="1028" y="1233"/>
                  </a:lnTo>
                  <a:lnTo>
                    <a:pt x="1017" y="1223"/>
                  </a:lnTo>
                  <a:lnTo>
                    <a:pt x="1012" y="1218"/>
                  </a:lnTo>
                  <a:lnTo>
                    <a:pt x="1009" y="1214"/>
                  </a:lnTo>
                  <a:lnTo>
                    <a:pt x="1007" y="1209"/>
                  </a:lnTo>
                  <a:lnTo>
                    <a:pt x="1007" y="1205"/>
                  </a:lnTo>
                  <a:lnTo>
                    <a:pt x="1007" y="1195"/>
                  </a:lnTo>
                  <a:lnTo>
                    <a:pt x="1009" y="1186"/>
                  </a:lnTo>
                  <a:lnTo>
                    <a:pt x="1012" y="1178"/>
                  </a:lnTo>
                  <a:lnTo>
                    <a:pt x="1017" y="1171"/>
                  </a:lnTo>
                  <a:lnTo>
                    <a:pt x="1028" y="1159"/>
                  </a:lnTo>
                  <a:lnTo>
                    <a:pt x="1040" y="1149"/>
                  </a:lnTo>
                  <a:lnTo>
                    <a:pt x="1052" y="1137"/>
                  </a:lnTo>
                  <a:lnTo>
                    <a:pt x="1062" y="1126"/>
                  </a:lnTo>
                  <a:lnTo>
                    <a:pt x="1066" y="1119"/>
                  </a:lnTo>
                  <a:lnTo>
                    <a:pt x="1069" y="1113"/>
                  </a:lnTo>
                  <a:lnTo>
                    <a:pt x="1072" y="1105"/>
                  </a:lnTo>
                  <a:lnTo>
                    <a:pt x="1072" y="1097"/>
                  </a:lnTo>
                  <a:lnTo>
                    <a:pt x="1072" y="1086"/>
                  </a:lnTo>
                  <a:lnTo>
                    <a:pt x="1069" y="1075"/>
                  </a:lnTo>
                  <a:lnTo>
                    <a:pt x="1066" y="1067"/>
                  </a:lnTo>
                  <a:lnTo>
                    <a:pt x="1062" y="1058"/>
                  </a:lnTo>
                  <a:lnTo>
                    <a:pt x="1054" y="1043"/>
                  </a:lnTo>
                  <a:lnTo>
                    <a:pt x="1048" y="1030"/>
                  </a:lnTo>
                  <a:lnTo>
                    <a:pt x="940" y="1030"/>
                  </a:lnTo>
                  <a:lnTo>
                    <a:pt x="933" y="1021"/>
                  </a:lnTo>
                  <a:lnTo>
                    <a:pt x="929" y="1009"/>
                  </a:lnTo>
                  <a:lnTo>
                    <a:pt x="924" y="994"/>
                  </a:lnTo>
                  <a:lnTo>
                    <a:pt x="921" y="978"/>
                  </a:lnTo>
                  <a:lnTo>
                    <a:pt x="919" y="959"/>
                  </a:lnTo>
                  <a:lnTo>
                    <a:pt x="917" y="941"/>
                  </a:lnTo>
                  <a:lnTo>
                    <a:pt x="916" y="922"/>
                  </a:lnTo>
                  <a:lnTo>
                    <a:pt x="916" y="903"/>
                  </a:lnTo>
                  <a:lnTo>
                    <a:pt x="917" y="883"/>
                  </a:lnTo>
                  <a:lnTo>
                    <a:pt x="920" y="867"/>
                  </a:lnTo>
                  <a:lnTo>
                    <a:pt x="924" y="855"/>
                  </a:lnTo>
                  <a:lnTo>
                    <a:pt x="929" y="845"/>
                  </a:lnTo>
                  <a:lnTo>
                    <a:pt x="933" y="834"/>
                  </a:lnTo>
                  <a:lnTo>
                    <a:pt x="939" y="823"/>
                  </a:lnTo>
                  <a:lnTo>
                    <a:pt x="943" y="811"/>
                  </a:lnTo>
                  <a:lnTo>
                    <a:pt x="947" y="796"/>
                  </a:lnTo>
                  <a:lnTo>
                    <a:pt x="941" y="794"/>
                  </a:lnTo>
                  <a:lnTo>
                    <a:pt x="939" y="794"/>
                  </a:lnTo>
                  <a:lnTo>
                    <a:pt x="935" y="793"/>
                  </a:lnTo>
                  <a:lnTo>
                    <a:pt x="932" y="790"/>
                  </a:lnTo>
                  <a:lnTo>
                    <a:pt x="927" y="782"/>
                  </a:lnTo>
                  <a:lnTo>
                    <a:pt x="923" y="772"/>
                  </a:lnTo>
                  <a:lnTo>
                    <a:pt x="935" y="764"/>
                  </a:lnTo>
                  <a:lnTo>
                    <a:pt x="944" y="757"/>
                  </a:lnTo>
                  <a:lnTo>
                    <a:pt x="951" y="749"/>
                  </a:lnTo>
                  <a:lnTo>
                    <a:pt x="959" y="740"/>
                  </a:lnTo>
                  <a:lnTo>
                    <a:pt x="965" y="732"/>
                  </a:lnTo>
                  <a:lnTo>
                    <a:pt x="973" y="722"/>
                  </a:lnTo>
                  <a:lnTo>
                    <a:pt x="983" y="714"/>
                  </a:lnTo>
                  <a:lnTo>
                    <a:pt x="995" y="705"/>
                  </a:lnTo>
                  <a:lnTo>
                    <a:pt x="1000" y="697"/>
                  </a:lnTo>
                  <a:lnTo>
                    <a:pt x="1008" y="688"/>
                  </a:lnTo>
                  <a:lnTo>
                    <a:pt x="1012" y="684"/>
                  </a:lnTo>
                  <a:lnTo>
                    <a:pt x="1016" y="678"/>
                  </a:lnTo>
                  <a:lnTo>
                    <a:pt x="1017" y="670"/>
                  </a:lnTo>
                  <a:lnTo>
                    <a:pt x="1018" y="662"/>
                  </a:lnTo>
                  <a:lnTo>
                    <a:pt x="1018" y="656"/>
                  </a:lnTo>
                  <a:lnTo>
                    <a:pt x="1020" y="648"/>
                  </a:lnTo>
                  <a:lnTo>
                    <a:pt x="1022" y="641"/>
                  </a:lnTo>
                  <a:lnTo>
                    <a:pt x="1025" y="634"/>
                  </a:lnTo>
                  <a:lnTo>
                    <a:pt x="1032" y="622"/>
                  </a:lnTo>
                  <a:lnTo>
                    <a:pt x="1040" y="610"/>
                  </a:lnTo>
                  <a:lnTo>
                    <a:pt x="1046" y="598"/>
                  </a:lnTo>
                  <a:lnTo>
                    <a:pt x="1054" y="585"/>
                  </a:lnTo>
                  <a:lnTo>
                    <a:pt x="1057" y="578"/>
                  </a:lnTo>
                  <a:lnTo>
                    <a:pt x="1058" y="572"/>
                  </a:lnTo>
                  <a:lnTo>
                    <a:pt x="1060" y="562"/>
                  </a:lnTo>
                  <a:lnTo>
                    <a:pt x="1060" y="554"/>
                  </a:lnTo>
                  <a:lnTo>
                    <a:pt x="1060" y="548"/>
                  </a:lnTo>
                  <a:lnTo>
                    <a:pt x="1057" y="542"/>
                  </a:lnTo>
                  <a:lnTo>
                    <a:pt x="1053" y="537"/>
                  </a:lnTo>
                  <a:lnTo>
                    <a:pt x="1048" y="532"/>
                  </a:lnTo>
                  <a:lnTo>
                    <a:pt x="1044" y="526"/>
                  </a:lnTo>
                  <a:lnTo>
                    <a:pt x="1040" y="518"/>
                  </a:lnTo>
                  <a:lnTo>
                    <a:pt x="1037" y="510"/>
                  </a:lnTo>
                  <a:lnTo>
                    <a:pt x="1036" y="500"/>
                  </a:lnTo>
                  <a:lnTo>
                    <a:pt x="1037" y="493"/>
                  </a:lnTo>
                  <a:lnTo>
                    <a:pt x="1040" y="486"/>
                  </a:lnTo>
                  <a:lnTo>
                    <a:pt x="1044" y="480"/>
                  </a:lnTo>
                  <a:lnTo>
                    <a:pt x="1048" y="472"/>
                  </a:lnTo>
                  <a:lnTo>
                    <a:pt x="1053" y="465"/>
                  </a:lnTo>
                  <a:lnTo>
                    <a:pt x="1057" y="457"/>
                  </a:lnTo>
                  <a:lnTo>
                    <a:pt x="1060" y="449"/>
                  </a:lnTo>
                  <a:lnTo>
                    <a:pt x="1060" y="440"/>
                  </a:lnTo>
                  <a:lnTo>
                    <a:pt x="1060" y="429"/>
                  </a:lnTo>
                  <a:lnTo>
                    <a:pt x="1057" y="420"/>
                  </a:lnTo>
                  <a:lnTo>
                    <a:pt x="1053" y="412"/>
                  </a:lnTo>
                  <a:lnTo>
                    <a:pt x="1048" y="404"/>
                  </a:lnTo>
                  <a:lnTo>
                    <a:pt x="1036" y="390"/>
                  </a:lnTo>
                  <a:lnTo>
                    <a:pt x="1021" y="378"/>
                  </a:lnTo>
                  <a:lnTo>
                    <a:pt x="1007" y="366"/>
                  </a:lnTo>
                  <a:lnTo>
                    <a:pt x="995" y="353"/>
                  </a:lnTo>
                  <a:lnTo>
                    <a:pt x="989" y="345"/>
                  </a:lnTo>
                  <a:lnTo>
                    <a:pt x="985" y="336"/>
                  </a:lnTo>
                  <a:lnTo>
                    <a:pt x="983" y="325"/>
                  </a:lnTo>
                  <a:lnTo>
                    <a:pt x="983" y="313"/>
                  </a:lnTo>
                  <a:lnTo>
                    <a:pt x="983" y="306"/>
                  </a:lnTo>
                  <a:lnTo>
                    <a:pt x="984" y="298"/>
                  </a:lnTo>
                  <a:lnTo>
                    <a:pt x="985" y="293"/>
                  </a:lnTo>
                  <a:lnTo>
                    <a:pt x="988" y="286"/>
                  </a:lnTo>
                  <a:lnTo>
                    <a:pt x="993" y="277"/>
                  </a:lnTo>
                  <a:lnTo>
                    <a:pt x="1000" y="268"/>
                  </a:lnTo>
                  <a:lnTo>
                    <a:pt x="1007" y="260"/>
                  </a:lnTo>
                  <a:lnTo>
                    <a:pt x="1013" y="252"/>
                  </a:lnTo>
                  <a:lnTo>
                    <a:pt x="1017" y="244"/>
                  </a:lnTo>
                  <a:lnTo>
                    <a:pt x="1018" y="234"/>
                  </a:lnTo>
                  <a:lnTo>
                    <a:pt x="1018" y="229"/>
                  </a:lnTo>
                  <a:lnTo>
                    <a:pt x="1017" y="225"/>
                  </a:lnTo>
                  <a:lnTo>
                    <a:pt x="1015" y="220"/>
                  </a:lnTo>
                  <a:lnTo>
                    <a:pt x="1013" y="216"/>
                  </a:lnTo>
                  <a:lnTo>
                    <a:pt x="1007" y="208"/>
                  </a:lnTo>
                  <a:lnTo>
                    <a:pt x="1000" y="199"/>
                  </a:lnTo>
                  <a:lnTo>
                    <a:pt x="993" y="189"/>
                  </a:lnTo>
                  <a:lnTo>
                    <a:pt x="988" y="177"/>
                  </a:lnTo>
                  <a:lnTo>
                    <a:pt x="985" y="171"/>
                  </a:lnTo>
                  <a:lnTo>
                    <a:pt x="984" y="163"/>
                  </a:lnTo>
                  <a:lnTo>
                    <a:pt x="983" y="155"/>
                  </a:lnTo>
                  <a:lnTo>
                    <a:pt x="983" y="145"/>
                  </a:lnTo>
                  <a:lnTo>
                    <a:pt x="983" y="137"/>
                  </a:lnTo>
                  <a:lnTo>
                    <a:pt x="984" y="129"/>
                  </a:lnTo>
                  <a:lnTo>
                    <a:pt x="985" y="123"/>
                  </a:lnTo>
                  <a:lnTo>
                    <a:pt x="988" y="116"/>
                  </a:lnTo>
                  <a:lnTo>
                    <a:pt x="992" y="111"/>
                  </a:lnTo>
                  <a:lnTo>
                    <a:pt x="996" y="105"/>
                  </a:lnTo>
                  <a:lnTo>
                    <a:pt x="1000" y="100"/>
                  </a:lnTo>
                  <a:lnTo>
                    <a:pt x="1005" y="96"/>
                  </a:lnTo>
                  <a:lnTo>
                    <a:pt x="1016" y="88"/>
                  </a:lnTo>
                  <a:lnTo>
                    <a:pt x="1028" y="81"/>
                  </a:lnTo>
                  <a:lnTo>
                    <a:pt x="1041" y="76"/>
                  </a:lnTo>
                  <a:lnTo>
                    <a:pt x="1054" y="71"/>
                  </a:lnTo>
                  <a:lnTo>
                    <a:pt x="1069" y="65"/>
                  </a:lnTo>
                  <a:lnTo>
                    <a:pt x="1082" y="60"/>
                  </a:lnTo>
                  <a:lnTo>
                    <a:pt x="1094" y="53"/>
                  </a:lnTo>
                  <a:lnTo>
                    <a:pt x="1106" y="45"/>
                  </a:lnTo>
                  <a:lnTo>
                    <a:pt x="1117" y="37"/>
                  </a:lnTo>
                  <a:lnTo>
                    <a:pt x="1125" y="27"/>
                  </a:lnTo>
                  <a:lnTo>
                    <a:pt x="1128" y="21"/>
                  </a:lnTo>
                  <a:lnTo>
                    <a:pt x="1130" y="15"/>
                  </a:lnTo>
                  <a:lnTo>
                    <a:pt x="1132" y="8"/>
                  </a:lnTo>
                  <a:lnTo>
                    <a:pt x="1133" y="0"/>
                  </a:lnTo>
                  <a:lnTo>
                    <a:pt x="1174" y="1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6" name="Freeform 52"/>
            <p:cNvSpPr>
              <a:spLocks/>
            </p:cNvSpPr>
            <p:nvPr/>
          </p:nvSpPr>
          <p:spPr bwMode="auto">
            <a:xfrm>
              <a:off x="2297434" y="4862513"/>
              <a:ext cx="381000" cy="496887"/>
            </a:xfrm>
            <a:custGeom>
              <a:avLst/>
              <a:gdLst/>
              <a:ahLst/>
              <a:cxnLst>
                <a:cxn ang="0">
                  <a:pos x="121" y="1004"/>
                </a:cxn>
                <a:cxn ang="0">
                  <a:pos x="225" y="1011"/>
                </a:cxn>
                <a:cxn ang="0">
                  <a:pos x="263" y="944"/>
                </a:cxn>
                <a:cxn ang="0">
                  <a:pos x="294" y="871"/>
                </a:cxn>
                <a:cxn ang="0">
                  <a:pos x="354" y="866"/>
                </a:cxn>
                <a:cxn ang="0">
                  <a:pos x="438" y="910"/>
                </a:cxn>
                <a:cxn ang="0">
                  <a:pos x="485" y="910"/>
                </a:cxn>
                <a:cxn ang="0">
                  <a:pos x="491" y="880"/>
                </a:cxn>
                <a:cxn ang="0">
                  <a:pos x="437" y="831"/>
                </a:cxn>
                <a:cxn ang="0">
                  <a:pos x="402" y="771"/>
                </a:cxn>
                <a:cxn ang="0">
                  <a:pos x="457" y="758"/>
                </a:cxn>
                <a:cxn ang="0">
                  <a:pos x="409" y="726"/>
                </a:cxn>
                <a:cxn ang="0">
                  <a:pos x="407" y="687"/>
                </a:cxn>
                <a:cxn ang="0">
                  <a:pos x="455" y="646"/>
                </a:cxn>
                <a:cxn ang="0">
                  <a:pos x="538" y="674"/>
                </a:cxn>
                <a:cxn ang="0">
                  <a:pos x="693" y="716"/>
                </a:cxn>
                <a:cxn ang="0">
                  <a:pos x="766" y="630"/>
                </a:cxn>
                <a:cxn ang="0">
                  <a:pos x="754" y="573"/>
                </a:cxn>
                <a:cxn ang="0">
                  <a:pos x="701" y="561"/>
                </a:cxn>
                <a:cxn ang="0">
                  <a:pos x="679" y="533"/>
                </a:cxn>
                <a:cxn ang="0">
                  <a:pos x="658" y="481"/>
                </a:cxn>
                <a:cxn ang="0">
                  <a:pos x="753" y="373"/>
                </a:cxn>
                <a:cxn ang="0">
                  <a:pos x="782" y="299"/>
                </a:cxn>
                <a:cxn ang="0">
                  <a:pos x="769" y="177"/>
                </a:cxn>
                <a:cxn ang="0">
                  <a:pos x="731" y="129"/>
                </a:cxn>
                <a:cxn ang="0">
                  <a:pos x="658" y="106"/>
                </a:cxn>
                <a:cxn ang="0">
                  <a:pos x="590" y="95"/>
                </a:cxn>
                <a:cxn ang="0">
                  <a:pos x="513" y="26"/>
                </a:cxn>
                <a:cxn ang="0">
                  <a:pos x="450" y="1"/>
                </a:cxn>
                <a:cxn ang="0">
                  <a:pos x="425" y="25"/>
                </a:cxn>
                <a:cxn ang="0">
                  <a:pos x="398" y="107"/>
                </a:cxn>
                <a:cxn ang="0">
                  <a:pos x="406" y="179"/>
                </a:cxn>
                <a:cxn ang="0">
                  <a:pos x="370" y="211"/>
                </a:cxn>
                <a:cxn ang="0">
                  <a:pos x="274" y="239"/>
                </a:cxn>
                <a:cxn ang="0">
                  <a:pos x="241" y="258"/>
                </a:cxn>
                <a:cxn ang="0">
                  <a:pos x="209" y="223"/>
                </a:cxn>
                <a:cxn ang="0">
                  <a:pos x="158" y="214"/>
                </a:cxn>
                <a:cxn ang="0">
                  <a:pos x="177" y="174"/>
                </a:cxn>
                <a:cxn ang="0">
                  <a:pos x="182" y="137"/>
                </a:cxn>
                <a:cxn ang="0">
                  <a:pos x="136" y="121"/>
                </a:cxn>
                <a:cxn ang="0">
                  <a:pos x="72" y="134"/>
                </a:cxn>
                <a:cxn ang="0">
                  <a:pos x="50" y="171"/>
                </a:cxn>
                <a:cxn ang="0">
                  <a:pos x="50" y="247"/>
                </a:cxn>
                <a:cxn ang="0">
                  <a:pos x="74" y="315"/>
                </a:cxn>
                <a:cxn ang="0">
                  <a:pos x="130" y="342"/>
                </a:cxn>
                <a:cxn ang="0">
                  <a:pos x="197" y="359"/>
                </a:cxn>
                <a:cxn ang="0">
                  <a:pos x="285" y="362"/>
                </a:cxn>
                <a:cxn ang="0">
                  <a:pos x="373" y="343"/>
                </a:cxn>
                <a:cxn ang="0">
                  <a:pos x="309" y="487"/>
                </a:cxn>
                <a:cxn ang="0">
                  <a:pos x="274" y="509"/>
                </a:cxn>
                <a:cxn ang="0">
                  <a:pos x="234" y="494"/>
                </a:cxn>
                <a:cxn ang="0">
                  <a:pos x="173" y="525"/>
                </a:cxn>
                <a:cxn ang="0">
                  <a:pos x="112" y="586"/>
                </a:cxn>
                <a:cxn ang="0">
                  <a:pos x="93" y="668"/>
                </a:cxn>
                <a:cxn ang="0">
                  <a:pos x="24" y="763"/>
                </a:cxn>
                <a:cxn ang="0">
                  <a:pos x="0" y="824"/>
                </a:cxn>
                <a:cxn ang="0">
                  <a:pos x="22" y="859"/>
                </a:cxn>
                <a:cxn ang="0">
                  <a:pos x="77" y="860"/>
                </a:cxn>
                <a:cxn ang="0">
                  <a:pos x="144" y="887"/>
                </a:cxn>
                <a:cxn ang="0">
                  <a:pos x="167" y="927"/>
                </a:cxn>
                <a:cxn ang="0">
                  <a:pos x="108" y="1023"/>
                </a:cxn>
              </a:cxnLst>
              <a:rect l="0" t="0" r="r" b="b"/>
              <a:pathLst>
                <a:path w="782" h="1023">
                  <a:moveTo>
                    <a:pt x="108" y="1023"/>
                  </a:moveTo>
                  <a:lnTo>
                    <a:pt x="108" y="1019"/>
                  </a:lnTo>
                  <a:lnTo>
                    <a:pt x="109" y="1015"/>
                  </a:lnTo>
                  <a:lnTo>
                    <a:pt x="110" y="1012"/>
                  </a:lnTo>
                  <a:lnTo>
                    <a:pt x="113" y="1010"/>
                  </a:lnTo>
                  <a:lnTo>
                    <a:pt x="121" y="1004"/>
                  </a:lnTo>
                  <a:lnTo>
                    <a:pt x="129" y="1002"/>
                  </a:lnTo>
                  <a:lnTo>
                    <a:pt x="140" y="1000"/>
                  </a:lnTo>
                  <a:lnTo>
                    <a:pt x="151" y="1000"/>
                  </a:lnTo>
                  <a:lnTo>
                    <a:pt x="163" y="1000"/>
                  </a:lnTo>
                  <a:lnTo>
                    <a:pt x="177" y="1002"/>
                  </a:lnTo>
                  <a:lnTo>
                    <a:pt x="225" y="1011"/>
                  </a:lnTo>
                  <a:lnTo>
                    <a:pt x="246" y="1018"/>
                  </a:lnTo>
                  <a:lnTo>
                    <a:pt x="250" y="1007"/>
                  </a:lnTo>
                  <a:lnTo>
                    <a:pt x="254" y="995"/>
                  </a:lnTo>
                  <a:lnTo>
                    <a:pt x="257" y="983"/>
                  </a:lnTo>
                  <a:lnTo>
                    <a:pt x="259" y="970"/>
                  </a:lnTo>
                  <a:lnTo>
                    <a:pt x="263" y="944"/>
                  </a:lnTo>
                  <a:lnTo>
                    <a:pt x="269" y="919"/>
                  </a:lnTo>
                  <a:lnTo>
                    <a:pt x="273" y="907"/>
                  </a:lnTo>
                  <a:lnTo>
                    <a:pt x="277" y="896"/>
                  </a:lnTo>
                  <a:lnTo>
                    <a:pt x="282" y="886"/>
                  </a:lnTo>
                  <a:lnTo>
                    <a:pt x="287" y="878"/>
                  </a:lnTo>
                  <a:lnTo>
                    <a:pt x="294" y="871"/>
                  </a:lnTo>
                  <a:lnTo>
                    <a:pt x="303" y="866"/>
                  </a:lnTo>
                  <a:lnTo>
                    <a:pt x="313" y="862"/>
                  </a:lnTo>
                  <a:lnTo>
                    <a:pt x="325" y="860"/>
                  </a:lnTo>
                  <a:lnTo>
                    <a:pt x="335" y="862"/>
                  </a:lnTo>
                  <a:lnTo>
                    <a:pt x="345" y="863"/>
                  </a:lnTo>
                  <a:lnTo>
                    <a:pt x="354" y="866"/>
                  </a:lnTo>
                  <a:lnTo>
                    <a:pt x="363" y="870"/>
                  </a:lnTo>
                  <a:lnTo>
                    <a:pt x="381" y="878"/>
                  </a:lnTo>
                  <a:lnTo>
                    <a:pt x="397" y="888"/>
                  </a:lnTo>
                  <a:lnTo>
                    <a:pt x="413" y="898"/>
                  </a:lnTo>
                  <a:lnTo>
                    <a:pt x="429" y="907"/>
                  </a:lnTo>
                  <a:lnTo>
                    <a:pt x="438" y="910"/>
                  </a:lnTo>
                  <a:lnTo>
                    <a:pt x="447" y="912"/>
                  </a:lnTo>
                  <a:lnTo>
                    <a:pt x="458" y="914"/>
                  </a:lnTo>
                  <a:lnTo>
                    <a:pt x="469" y="915"/>
                  </a:lnTo>
                  <a:lnTo>
                    <a:pt x="475" y="915"/>
                  </a:lnTo>
                  <a:lnTo>
                    <a:pt x="481" y="912"/>
                  </a:lnTo>
                  <a:lnTo>
                    <a:pt x="485" y="910"/>
                  </a:lnTo>
                  <a:lnTo>
                    <a:pt x="487" y="907"/>
                  </a:lnTo>
                  <a:lnTo>
                    <a:pt x="490" y="902"/>
                  </a:lnTo>
                  <a:lnTo>
                    <a:pt x="491" y="898"/>
                  </a:lnTo>
                  <a:lnTo>
                    <a:pt x="493" y="891"/>
                  </a:lnTo>
                  <a:lnTo>
                    <a:pt x="493" y="884"/>
                  </a:lnTo>
                  <a:lnTo>
                    <a:pt x="491" y="880"/>
                  </a:lnTo>
                  <a:lnTo>
                    <a:pt x="490" y="875"/>
                  </a:lnTo>
                  <a:lnTo>
                    <a:pt x="486" y="870"/>
                  </a:lnTo>
                  <a:lnTo>
                    <a:pt x="481" y="864"/>
                  </a:lnTo>
                  <a:lnTo>
                    <a:pt x="467" y="854"/>
                  </a:lnTo>
                  <a:lnTo>
                    <a:pt x="453" y="843"/>
                  </a:lnTo>
                  <a:lnTo>
                    <a:pt x="437" y="831"/>
                  </a:lnTo>
                  <a:lnTo>
                    <a:pt x="422" y="820"/>
                  </a:lnTo>
                  <a:lnTo>
                    <a:pt x="415" y="815"/>
                  </a:lnTo>
                  <a:lnTo>
                    <a:pt x="410" y="810"/>
                  </a:lnTo>
                  <a:lnTo>
                    <a:pt x="406" y="806"/>
                  </a:lnTo>
                  <a:lnTo>
                    <a:pt x="402" y="800"/>
                  </a:lnTo>
                  <a:lnTo>
                    <a:pt x="402" y="771"/>
                  </a:lnTo>
                  <a:lnTo>
                    <a:pt x="422" y="770"/>
                  </a:lnTo>
                  <a:lnTo>
                    <a:pt x="437" y="768"/>
                  </a:lnTo>
                  <a:lnTo>
                    <a:pt x="442" y="767"/>
                  </a:lnTo>
                  <a:lnTo>
                    <a:pt x="447" y="766"/>
                  </a:lnTo>
                  <a:lnTo>
                    <a:pt x="453" y="762"/>
                  </a:lnTo>
                  <a:lnTo>
                    <a:pt x="457" y="758"/>
                  </a:lnTo>
                  <a:lnTo>
                    <a:pt x="451" y="752"/>
                  </a:lnTo>
                  <a:lnTo>
                    <a:pt x="443" y="747"/>
                  </a:lnTo>
                  <a:lnTo>
                    <a:pt x="434" y="742"/>
                  </a:lnTo>
                  <a:lnTo>
                    <a:pt x="425" y="736"/>
                  </a:lnTo>
                  <a:lnTo>
                    <a:pt x="417" y="731"/>
                  </a:lnTo>
                  <a:lnTo>
                    <a:pt x="409" y="726"/>
                  </a:lnTo>
                  <a:lnTo>
                    <a:pt x="406" y="722"/>
                  </a:lnTo>
                  <a:lnTo>
                    <a:pt x="405" y="719"/>
                  </a:lnTo>
                  <a:lnTo>
                    <a:pt x="403" y="715"/>
                  </a:lnTo>
                  <a:lnTo>
                    <a:pt x="402" y="710"/>
                  </a:lnTo>
                  <a:lnTo>
                    <a:pt x="403" y="699"/>
                  </a:lnTo>
                  <a:lnTo>
                    <a:pt x="407" y="687"/>
                  </a:lnTo>
                  <a:lnTo>
                    <a:pt x="414" y="676"/>
                  </a:lnTo>
                  <a:lnTo>
                    <a:pt x="422" y="666"/>
                  </a:lnTo>
                  <a:lnTo>
                    <a:pt x="431" y="657"/>
                  </a:lnTo>
                  <a:lnTo>
                    <a:pt x="443" y="650"/>
                  </a:lnTo>
                  <a:lnTo>
                    <a:pt x="449" y="647"/>
                  </a:lnTo>
                  <a:lnTo>
                    <a:pt x="455" y="646"/>
                  </a:lnTo>
                  <a:lnTo>
                    <a:pt x="462" y="645"/>
                  </a:lnTo>
                  <a:lnTo>
                    <a:pt x="469" y="645"/>
                  </a:lnTo>
                  <a:lnTo>
                    <a:pt x="479" y="646"/>
                  </a:lnTo>
                  <a:lnTo>
                    <a:pt x="495" y="653"/>
                  </a:lnTo>
                  <a:lnTo>
                    <a:pt x="515" y="662"/>
                  </a:lnTo>
                  <a:lnTo>
                    <a:pt x="538" y="674"/>
                  </a:lnTo>
                  <a:lnTo>
                    <a:pt x="561" y="686"/>
                  </a:lnTo>
                  <a:lnTo>
                    <a:pt x="581" y="698"/>
                  </a:lnTo>
                  <a:lnTo>
                    <a:pt x="597" y="708"/>
                  </a:lnTo>
                  <a:lnTo>
                    <a:pt x="607" y="716"/>
                  </a:lnTo>
                  <a:lnTo>
                    <a:pt x="657" y="716"/>
                  </a:lnTo>
                  <a:lnTo>
                    <a:pt x="693" y="716"/>
                  </a:lnTo>
                  <a:lnTo>
                    <a:pt x="722" y="716"/>
                  </a:lnTo>
                  <a:lnTo>
                    <a:pt x="751" y="716"/>
                  </a:lnTo>
                  <a:lnTo>
                    <a:pt x="746" y="674"/>
                  </a:lnTo>
                  <a:lnTo>
                    <a:pt x="754" y="654"/>
                  </a:lnTo>
                  <a:lnTo>
                    <a:pt x="762" y="638"/>
                  </a:lnTo>
                  <a:lnTo>
                    <a:pt x="766" y="630"/>
                  </a:lnTo>
                  <a:lnTo>
                    <a:pt x="767" y="622"/>
                  </a:lnTo>
                  <a:lnTo>
                    <a:pt x="770" y="613"/>
                  </a:lnTo>
                  <a:lnTo>
                    <a:pt x="770" y="602"/>
                  </a:lnTo>
                  <a:lnTo>
                    <a:pt x="770" y="585"/>
                  </a:lnTo>
                  <a:lnTo>
                    <a:pt x="770" y="571"/>
                  </a:lnTo>
                  <a:lnTo>
                    <a:pt x="754" y="573"/>
                  </a:lnTo>
                  <a:lnTo>
                    <a:pt x="739" y="573"/>
                  </a:lnTo>
                  <a:lnTo>
                    <a:pt x="726" y="571"/>
                  </a:lnTo>
                  <a:lnTo>
                    <a:pt x="715" y="569"/>
                  </a:lnTo>
                  <a:lnTo>
                    <a:pt x="710" y="567"/>
                  </a:lnTo>
                  <a:lnTo>
                    <a:pt x="705" y="565"/>
                  </a:lnTo>
                  <a:lnTo>
                    <a:pt x="701" y="561"/>
                  </a:lnTo>
                  <a:lnTo>
                    <a:pt x="698" y="557"/>
                  </a:lnTo>
                  <a:lnTo>
                    <a:pt x="695" y="551"/>
                  </a:lnTo>
                  <a:lnTo>
                    <a:pt x="693" y="546"/>
                  </a:lnTo>
                  <a:lnTo>
                    <a:pt x="691" y="538"/>
                  </a:lnTo>
                  <a:lnTo>
                    <a:pt x="691" y="530"/>
                  </a:lnTo>
                  <a:lnTo>
                    <a:pt x="679" y="533"/>
                  </a:lnTo>
                  <a:lnTo>
                    <a:pt x="667" y="534"/>
                  </a:lnTo>
                  <a:lnTo>
                    <a:pt x="654" y="533"/>
                  </a:lnTo>
                  <a:lnTo>
                    <a:pt x="638" y="530"/>
                  </a:lnTo>
                  <a:lnTo>
                    <a:pt x="642" y="513"/>
                  </a:lnTo>
                  <a:lnTo>
                    <a:pt x="649" y="497"/>
                  </a:lnTo>
                  <a:lnTo>
                    <a:pt x="658" y="481"/>
                  </a:lnTo>
                  <a:lnTo>
                    <a:pt x="667" y="466"/>
                  </a:lnTo>
                  <a:lnTo>
                    <a:pt x="691" y="439"/>
                  </a:lnTo>
                  <a:lnTo>
                    <a:pt x="717" y="414"/>
                  </a:lnTo>
                  <a:lnTo>
                    <a:pt x="729" y="401"/>
                  </a:lnTo>
                  <a:lnTo>
                    <a:pt x="741" y="387"/>
                  </a:lnTo>
                  <a:lnTo>
                    <a:pt x="753" y="373"/>
                  </a:lnTo>
                  <a:lnTo>
                    <a:pt x="762" y="358"/>
                  </a:lnTo>
                  <a:lnTo>
                    <a:pt x="770" y="343"/>
                  </a:lnTo>
                  <a:lnTo>
                    <a:pt x="777" y="326"/>
                  </a:lnTo>
                  <a:lnTo>
                    <a:pt x="779" y="318"/>
                  </a:lnTo>
                  <a:lnTo>
                    <a:pt x="781" y="309"/>
                  </a:lnTo>
                  <a:lnTo>
                    <a:pt x="782" y="299"/>
                  </a:lnTo>
                  <a:lnTo>
                    <a:pt x="782" y="289"/>
                  </a:lnTo>
                  <a:lnTo>
                    <a:pt x="781" y="259"/>
                  </a:lnTo>
                  <a:lnTo>
                    <a:pt x="778" y="226"/>
                  </a:lnTo>
                  <a:lnTo>
                    <a:pt x="775" y="209"/>
                  </a:lnTo>
                  <a:lnTo>
                    <a:pt x="771" y="193"/>
                  </a:lnTo>
                  <a:lnTo>
                    <a:pt x="769" y="177"/>
                  </a:lnTo>
                  <a:lnTo>
                    <a:pt x="763" y="162"/>
                  </a:lnTo>
                  <a:lnTo>
                    <a:pt x="755" y="157"/>
                  </a:lnTo>
                  <a:lnTo>
                    <a:pt x="749" y="150"/>
                  </a:lnTo>
                  <a:lnTo>
                    <a:pt x="742" y="143"/>
                  </a:lnTo>
                  <a:lnTo>
                    <a:pt x="737" y="135"/>
                  </a:lnTo>
                  <a:lnTo>
                    <a:pt x="731" y="129"/>
                  </a:lnTo>
                  <a:lnTo>
                    <a:pt x="725" y="122"/>
                  </a:lnTo>
                  <a:lnTo>
                    <a:pt x="718" y="118"/>
                  </a:lnTo>
                  <a:lnTo>
                    <a:pt x="710" y="114"/>
                  </a:lnTo>
                  <a:lnTo>
                    <a:pt x="691" y="109"/>
                  </a:lnTo>
                  <a:lnTo>
                    <a:pt x="674" y="107"/>
                  </a:lnTo>
                  <a:lnTo>
                    <a:pt x="658" y="106"/>
                  </a:lnTo>
                  <a:lnTo>
                    <a:pt x="642" y="106"/>
                  </a:lnTo>
                  <a:lnTo>
                    <a:pt x="626" y="106"/>
                  </a:lnTo>
                  <a:lnTo>
                    <a:pt x="611" y="103"/>
                  </a:lnTo>
                  <a:lnTo>
                    <a:pt x="605" y="102"/>
                  </a:lnTo>
                  <a:lnTo>
                    <a:pt x="597" y="99"/>
                  </a:lnTo>
                  <a:lnTo>
                    <a:pt x="590" y="95"/>
                  </a:lnTo>
                  <a:lnTo>
                    <a:pt x="583" y="90"/>
                  </a:lnTo>
                  <a:lnTo>
                    <a:pt x="571" y="78"/>
                  </a:lnTo>
                  <a:lnTo>
                    <a:pt x="557" y="64"/>
                  </a:lnTo>
                  <a:lnTo>
                    <a:pt x="541" y="49"/>
                  </a:lnTo>
                  <a:lnTo>
                    <a:pt x="522" y="34"/>
                  </a:lnTo>
                  <a:lnTo>
                    <a:pt x="513" y="26"/>
                  </a:lnTo>
                  <a:lnTo>
                    <a:pt x="503" y="21"/>
                  </a:lnTo>
                  <a:lnTo>
                    <a:pt x="493" y="14"/>
                  </a:lnTo>
                  <a:lnTo>
                    <a:pt x="482" y="10"/>
                  </a:lnTo>
                  <a:lnTo>
                    <a:pt x="471" y="6"/>
                  </a:lnTo>
                  <a:lnTo>
                    <a:pt x="461" y="2"/>
                  </a:lnTo>
                  <a:lnTo>
                    <a:pt x="450" y="1"/>
                  </a:lnTo>
                  <a:lnTo>
                    <a:pt x="438" y="0"/>
                  </a:lnTo>
                  <a:lnTo>
                    <a:pt x="435" y="0"/>
                  </a:lnTo>
                  <a:lnTo>
                    <a:pt x="433" y="1"/>
                  </a:lnTo>
                  <a:lnTo>
                    <a:pt x="430" y="2"/>
                  </a:lnTo>
                  <a:lnTo>
                    <a:pt x="426" y="6"/>
                  </a:lnTo>
                  <a:lnTo>
                    <a:pt x="425" y="25"/>
                  </a:lnTo>
                  <a:lnTo>
                    <a:pt x="422" y="40"/>
                  </a:lnTo>
                  <a:lnTo>
                    <a:pt x="417" y="53"/>
                  </a:lnTo>
                  <a:lnTo>
                    <a:pt x="411" y="66"/>
                  </a:lnTo>
                  <a:lnTo>
                    <a:pt x="406" y="78"/>
                  </a:lnTo>
                  <a:lnTo>
                    <a:pt x="401" y="93"/>
                  </a:lnTo>
                  <a:lnTo>
                    <a:pt x="398" y="107"/>
                  </a:lnTo>
                  <a:lnTo>
                    <a:pt x="397" y="126"/>
                  </a:lnTo>
                  <a:lnTo>
                    <a:pt x="397" y="138"/>
                  </a:lnTo>
                  <a:lnTo>
                    <a:pt x="398" y="149"/>
                  </a:lnTo>
                  <a:lnTo>
                    <a:pt x="399" y="158"/>
                  </a:lnTo>
                  <a:lnTo>
                    <a:pt x="401" y="166"/>
                  </a:lnTo>
                  <a:lnTo>
                    <a:pt x="406" y="179"/>
                  </a:lnTo>
                  <a:lnTo>
                    <a:pt x="414" y="193"/>
                  </a:lnTo>
                  <a:lnTo>
                    <a:pt x="409" y="198"/>
                  </a:lnTo>
                  <a:lnTo>
                    <a:pt x="403" y="202"/>
                  </a:lnTo>
                  <a:lnTo>
                    <a:pt x="395" y="205"/>
                  </a:lnTo>
                  <a:lnTo>
                    <a:pt x="387" y="207"/>
                  </a:lnTo>
                  <a:lnTo>
                    <a:pt x="370" y="211"/>
                  </a:lnTo>
                  <a:lnTo>
                    <a:pt x="350" y="213"/>
                  </a:lnTo>
                  <a:lnTo>
                    <a:pt x="311" y="211"/>
                  </a:lnTo>
                  <a:lnTo>
                    <a:pt x="282" y="210"/>
                  </a:lnTo>
                  <a:lnTo>
                    <a:pt x="279" y="221"/>
                  </a:lnTo>
                  <a:lnTo>
                    <a:pt x="277" y="231"/>
                  </a:lnTo>
                  <a:lnTo>
                    <a:pt x="274" y="239"/>
                  </a:lnTo>
                  <a:lnTo>
                    <a:pt x="270" y="246"/>
                  </a:lnTo>
                  <a:lnTo>
                    <a:pt x="266" y="251"/>
                  </a:lnTo>
                  <a:lnTo>
                    <a:pt x="261" y="255"/>
                  </a:lnTo>
                  <a:lnTo>
                    <a:pt x="254" y="258"/>
                  </a:lnTo>
                  <a:lnTo>
                    <a:pt x="246" y="258"/>
                  </a:lnTo>
                  <a:lnTo>
                    <a:pt x="241" y="258"/>
                  </a:lnTo>
                  <a:lnTo>
                    <a:pt x="235" y="257"/>
                  </a:lnTo>
                  <a:lnTo>
                    <a:pt x="231" y="255"/>
                  </a:lnTo>
                  <a:lnTo>
                    <a:pt x="227" y="253"/>
                  </a:lnTo>
                  <a:lnTo>
                    <a:pt x="221" y="246"/>
                  </a:lnTo>
                  <a:lnTo>
                    <a:pt x="215" y="239"/>
                  </a:lnTo>
                  <a:lnTo>
                    <a:pt x="209" y="223"/>
                  </a:lnTo>
                  <a:lnTo>
                    <a:pt x="203" y="210"/>
                  </a:lnTo>
                  <a:lnTo>
                    <a:pt x="189" y="213"/>
                  </a:lnTo>
                  <a:lnTo>
                    <a:pt x="177" y="215"/>
                  </a:lnTo>
                  <a:lnTo>
                    <a:pt x="171" y="215"/>
                  </a:lnTo>
                  <a:lnTo>
                    <a:pt x="165" y="215"/>
                  </a:lnTo>
                  <a:lnTo>
                    <a:pt x="158" y="214"/>
                  </a:lnTo>
                  <a:lnTo>
                    <a:pt x="150" y="210"/>
                  </a:lnTo>
                  <a:lnTo>
                    <a:pt x="154" y="201"/>
                  </a:lnTo>
                  <a:lnTo>
                    <a:pt x="161" y="193"/>
                  </a:lnTo>
                  <a:lnTo>
                    <a:pt x="166" y="186"/>
                  </a:lnTo>
                  <a:lnTo>
                    <a:pt x="171" y="181"/>
                  </a:lnTo>
                  <a:lnTo>
                    <a:pt x="177" y="174"/>
                  </a:lnTo>
                  <a:lnTo>
                    <a:pt x="182" y="169"/>
                  </a:lnTo>
                  <a:lnTo>
                    <a:pt x="185" y="161"/>
                  </a:lnTo>
                  <a:lnTo>
                    <a:pt x="186" y="150"/>
                  </a:lnTo>
                  <a:lnTo>
                    <a:pt x="185" y="145"/>
                  </a:lnTo>
                  <a:lnTo>
                    <a:pt x="183" y="141"/>
                  </a:lnTo>
                  <a:lnTo>
                    <a:pt x="182" y="137"/>
                  </a:lnTo>
                  <a:lnTo>
                    <a:pt x="179" y="133"/>
                  </a:lnTo>
                  <a:lnTo>
                    <a:pt x="173" y="127"/>
                  </a:lnTo>
                  <a:lnTo>
                    <a:pt x="165" y="123"/>
                  </a:lnTo>
                  <a:lnTo>
                    <a:pt x="155" y="122"/>
                  </a:lnTo>
                  <a:lnTo>
                    <a:pt x="145" y="121"/>
                  </a:lnTo>
                  <a:lnTo>
                    <a:pt x="136" y="121"/>
                  </a:lnTo>
                  <a:lnTo>
                    <a:pt x="125" y="121"/>
                  </a:lnTo>
                  <a:lnTo>
                    <a:pt x="106" y="121"/>
                  </a:lnTo>
                  <a:lnTo>
                    <a:pt x="90" y="125"/>
                  </a:lnTo>
                  <a:lnTo>
                    <a:pt x="84" y="127"/>
                  </a:lnTo>
                  <a:lnTo>
                    <a:pt x="77" y="130"/>
                  </a:lnTo>
                  <a:lnTo>
                    <a:pt x="72" y="134"/>
                  </a:lnTo>
                  <a:lnTo>
                    <a:pt x="66" y="139"/>
                  </a:lnTo>
                  <a:lnTo>
                    <a:pt x="61" y="145"/>
                  </a:lnTo>
                  <a:lnTo>
                    <a:pt x="58" y="150"/>
                  </a:lnTo>
                  <a:lnTo>
                    <a:pt x="54" y="157"/>
                  </a:lnTo>
                  <a:lnTo>
                    <a:pt x="52" y="163"/>
                  </a:lnTo>
                  <a:lnTo>
                    <a:pt x="50" y="171"/>
                  </a:lnTo>
                  <a:lnTo>
                    <a:pt x="49" y="179"/>
                  </a:lnTo>
                  <a:lnTo>
                    <a:pt x="48" y="189"/>
                  </a:lnTo>
                  <a:lnTo>
                    <a:pt x="48" y="198"/>
                  </a:lnTo>
                  <a:lnTo>
                    <a:pt x="48" y="215"/>
                  </a:lnTo>
                  <a:lnTo>
                    <a:pt x="49" y="233"/>
                  </a:lnTo>
                  <a:lnTo>
                    <a:pt x="50" y="247"/>
                  </a:lnTo>
                  <a:lnTo>
                    <a:pt x="52" y="262"/>
                  </a:lnTo>
                  <a:lnTo>
                    <a:pt x="56" y="274"/>
                  </a:lnTo>
                  <a:lnTo>
                    <a:pt x="58" y="286"/>
                  </a:lnTo>
                  <a:lnTo>
                    <a:pt x="64" y="297"/>
                  </a:lnTo>
                  <a:lnTo>
                    <a:pt x="69" y="307"/>
                  </a:lnTo>
                  <a:lnTo>
                    <a:pt x="74" y="315"/>
                  </a:lnTo>
                  <a:lnTo>
                    <a:pt x="81" y="322"/>
                  </a:lnTo>
                  <a:lnTo>
                    <a:pt x="89" y="329"/>
                  </a:lnTo>
                  <a:lnTo>
                    <a:pt x="98" y="334"/>
                  </a:lnTo>
                  <a:lnTo>
                    <a:pt x="108" y="338"/>
                  </a:lnTo>
                  <a:lnTo>
                    <a:pt x="118" y="341"/>
                  </a:lnTo>
                  <a:lnTo>
                    <a:pt x="130" y="342"/>
                  </a:lnTo>
                  <a:lnTo>
                    <a:pt x="144" y="343"/>
                  </a:lnTo>
                  <a:lnTo>
                    <a:pt x="155" y="345"/>
                  </a:lnTo>
                  <a:lnTo>
                    <a:pt x="167" y="347"/>
                  </a:lnTo>
                  <a:lnTo>
                    <a:pt x="177" y="350"/>
                  </a:lnTo>
                  <a:lnTo>
                    <a:pt x="186" y="355"/>
                  </a:lnTo>
                  <a:lnTo>
                    <a:pt x="197" y="359"/>
                  </a:lnTo>
                  <a:lnTo>
                    <a:pt x="207" y="363"/>
                  </a:lnTo>
                  <a:lnTo>
                    <a:pt x="219" y="366"/>
                  </a:lnTo>
                  <a:lnTo>
                    <a:pt x="234" y="367"/>
                  </a:lnTo>
                  <a:lnTo>
                    <a:pt x="251" y="366"/>
                  </a:lnTo>
                  <a:lnTo>
                    <a:pt x="269" y="365"/>
                  </a:lnTo>
                  <a:lnTo>
                    <a:pt x="285" y="362"/>
                  </a:lnTo>
                  <a:lnTo>
                    <a:pt x="299" y="359"/>
                  </a:lnTo>
                  <a:lnTo>
                    <a:pt x="313" y="355"/>
                  </a:lnTo>
                  <a:lnTo>
                    <a:pt x="325" y="351"/>
                  </a:lnTo>
                  <a:lnTo>
                    <a:pt x="334" y="347"/>
                  </a:lnTo>
                  <a:lnTo>
                    <a:pt x="342" y="343"/>
                  </a:lnTo>
                  <a:lnTo>
                    <a:pt x="373" y="343"/>
                  </a:lnTo>
                  <a:lnTo>
                    <a:pt x="370" y="355"/>
                  </a:lnTo>
                  <a:lnTo>
                    <a:pt x="362" y="377"/>
                  </a:lnTo>
                  <a:lnTo>
                    <a:pt x="350" y="405"/>
                  </a:lnTo>
                  <a:lnTo>
                    <a:pt x="337" y="434"/>
                  </a:lnTo>
                  <a:lnTo>
                    <a:pt x="322" y="463"/>
                  </a:lnTo>
                  <a:lnTo>
                    <a:pt x="309" y="487"/>
                  </a:lnTo>
                  <a:lnTo>
                    <a:pt x="302" y="498"/>
                  </a:lnTo>
                  <a:lnTo>
                    <a:pt x="297" y="505"/>
                  </a:lnTo>
                  <a:lnTo>
                    <a:pt x="291" y="510"/>
                  </a:lnTo>
                  <a:lnTo>
                    <a:pt x="287" y="511"/>
                  </a:lnTo>
                  <a:lnTo>
                    <a:pt x="281" y="511"/>
                  </a:lnTo>
                  <a:lnTo>
                    <a:pt x="274" y="509"/>
                  </a:lnTo>
                  <a:lnTo>
                    <a:pt x="267" y="506"/>
                  </a:lnTo>
                  <a:lnTo>
                    <a:pt x="261" y="502"/>
                  </a:lnTo>
                  <a:lnTo>
                    <a:pt x="254" y="499"/>
                  </a:lnTo>
                  <a:lnTo>
                    <a:pt x="247" y="497"/>
                  </a:lnTo>
                  <a:lnTo>
                    <a:pt x="241" y="494"/>
                  </a:lnTo>
                  <a:lnTo>
                    <a:pt x="234" y="494"/>
                  </a:lnTo>
                  <a:lnTo>
                    <a:pt x="229" y="494"/>
                  </a:lnTo>
                  <a:lnTo>
                    <a:pt x="222" y="497"/>
                  </a:lnTo>
                  <a:lnTo>
                    <a:pt x="215" y="499"/>
                  </a:lnTo>
                  <a:lnTo>
                    <a:pt x="207" y="503"/>
                  </a:lnTo>
                  <a:lnTo>
                    <a:pt x="190" y="513"/>
                  </a:lnTo>
                  <a:lnTo>
                    <a:pt x="173" y="525"/>
                  </a:lnTo>
                  <a:lnTo>
                    <a:pt x="155" y="538"/>
                  </a:lnTo>
                  <a:lnTo>
                    <a:pt x="142" y="550"/>
                  </a:lnTo>
                  <a:lnTo>
                    <a:pt x="132" y="559"/>
                  </a:lnTo>
                  <a:lnTo>
                    <a:pt x="125" y="566"/>
                  </a:lnTo>
                  <a:lnTo>
                    <a:pt x="117" y="577"/>
                  </a:lnTo>
                  <a:lnTo>
                    <a:pt x="112" y="586"/>
                  </a:lnTo>
                  <a:lnTo>
                    <a:pt x="106" y="595"/>
                  </a:lnTo>
                  <a:lnTo>
                    <a:pt x="104" y="605"/>
                  </a:lnTo>
                  <a:lnTo>
                    <a:pt x="100" y="621"/>
                  </a:lnTo>
                  <a:lnTo>
                    <a:pt x="98" y="635"/>
                  </a:lnTo>
                  <a:lnTo>
                    <a:pt x="97" y="651"/>
                  </a:lnTo>
                  <a:lnTo>
                    <a:pt x="93" y="668"/>
                  </a:lnTo>
                  <a:lnTo>
                    <a:pt x="90" y="678"/>
                  </a:lnTo>
                  <a:lnTo>
                    <a:pt x="85" y="687"/>
                  </a:lnTo>
                  <a:lnTo>
                    <a:pt x="80" y="698"/>
                  </a:lnTo>
                  <a:lnTo>
                    <a:pt x="72" y="710"/>
                  </a:lnTo>
                  <a:lnTo>
                    <a:pt x="48" y="738"/>
                  </a:lnTo>
                  <a:lnTo>
                    <a:pt x="24" y="763"/>
                  </a:lnTo>
                  <a:lnTo>
                    <a:pt x="14" y="775"/>
                  </a:lnTo>
                  <a:lnTo>
                    <a:pt x="6" y="790"/>
                  </a:lnTo>
                  <a:lnTo>
                    <a:pt x="4" y="798"/>
                  </a:lnTo>
                  <a:lnTo>
                    <a:pt x="1" y="806"/>
                  </a:lnTo>
                  <a:lnTo>
                    <a:pt x="0" y="815"/>
                  </a:lnTo>
                  <a:lnTo>
                    <a:pt x="0" y="824"/>
                  </a:lnTo>
                  <a:lnTo>
                    <a:pt x="0" y="834"/>
                  </a:lnTo>
                  <a:lnTo>
                    <a:pt x="2" y="840"/>
                  </a:lnTo>
                  <a:lnTo>
                    <a:pt x="6" y="847"/>
                  </a:lnTo>
                  <a:lnTo>
                    <a:pt x="10" y="852"/>
                  </a:lnTo>
                  <a:lnTo>
                    <a:pt x="16" y="855"/>
                  </a:lnTo>
                  <a:lnTo>
                    <a:pt x="22" y="859"/>
                  </a:lnTo>
                  <a:lnTo>
                    <a:pt x="29" y="860"/>
                  </a:lnTo>
                  <a:lnTo>
                    <a:pt x="36" y="860"/>
                  </a:lnTo>
                  <a:lnTo>
                    <a:pt x="45" y="860"/>
                  </a:lnTo>
                  <a:lnTo>
                    <a:pt x="54" y="860"/>
                  </a:lnTo>
                  <a:lnTo>
                    <a:pt x="65" y="860"/>
                  </a:lnTo>
                  <a:lnTo>
                    <a:pt x="77" y="860"/>
                  </a:lnTo>
                  <a:lnTo>
                    <a:pt x="86" y="862"/>
                  </a:lnTo>
                  <a:lnTo>
                    <a:pt x="100" y="866"/>
                  </a:lnTo>
                  <a:lnTo>
                    <a:pt x="114" y="871"/>
                  </a:lnTo>
                  <a:lnTo>
                    <a:pt x="129" y="878"/>
                  </a:lnTo>
                  <a:lnTo>
                    <a:pt x="137" y="883"/>
                  </a:lnTo>
                  <a:lnTo>
                    <a:pt x="144" y="887"/>
                  </a:lnTo>
                  <a:lnTo>
                    <a:pt x="150" y="892"/>
                  </a:lnTo>
                  <a:lnTo>
                    <a:pt x="155" y="899"/>
                  </a:lnTo>
                  <a:lnTo>
                    <a:pt x="161" y="906"/>
                  </a:lnTo>
                  <a:lnTo>
                    <a:pt x="165" y="912"/>
                  </a:lnTo>
                  <a:lnTo>
                    <a:pt x="166" y="919"/>
                  </a:lnTo>
                  <a:lnTo>
                    <a:pt x="167" y="927"/>
                  </a:lnTo>
                  <a:lnTo>
                    <a:pt x="161" y="936"/>
                  </a:lnTo>
                  <a:lnTo>
                    <a:pt x="145" y="952"/>
                  </a:lnTo>
                  <a:lnTo>
                    <a:pt x="128" y="968"/>
                  </a:lnTo>
                  <a:lnTo>
                    <a:pt x="113" y="982"/>
                  </a:lnTo>
                  <a:lnTo>
                    <a:pt x="113" y="1006"/>
                  </a:lnTo>
                  <a:lnTo>
                    <a:pt x="108" y="1023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7" name="Freeform 53"/>
            <p:cNvSpPr>
              <a:spLocks/>
            </p:cNvSpPr>
            <p:nvPr/>
          </p:nvSpPr>
          <p:spPr bwMode="auto">
            <a:xfrm>
              <a:off x="1741809" y="4849813"/>
              <a:ext cx="682625" cy="685800"/>
            </a:xfrm>
            <a:custGeom>
              <a:avLst/>
              <a:gdLst/>
              <a:ahLst/>
              <a:cxnLst>
                <a:cxn ang="0">
                  <a:pos x="54" y="511"/>
                </a:cxn>
                <a:cxn ang="0">
                  <a:pos x="107" y="553"/>
                </a:cxn>
                <a:cxn ang="0">
                  <a:pos x="192" y="553"/>
                </a:cxn>
                <a:cxn ang="0">
                  <a:pos x="204" y="609"/>
                </a:cxn>
                <a:cxn ang="0">
                  <a:pos x="227" y="663"/>
                </a:cxn>
                <a:cxn ang="0">
                  <a:pos x="304" y="696"/>
                </a:cxn>
                <a:cxn ang="0">
                  <a:pos x="334" y="830"/>
                </a:cxn>
                <a:cxn ang="0">
                  <a:pos x="383" y="916"/>
                </a:cxn>
                <a:cxn ang="0">
                  <a:pos x="435" y="942"/>
                </a:cxn>
                <a:cxn ang="0">
                  <a:pos x="452" y="1006"/>
                </a:cxn>
                <a:cxn ang="0">
                  <a:pos x="492" y="1052"/>
                </a:cxn>
                <a:cxn ang="0">
                  <a:pos x="559" y="1064"/>
                </a:cxn>
                <a:cxn ang="0">
                  <a:pos x="661" y="1030"/>
                </a:cxn>
                <a:cxn ang="0">
                  <a:pos x="735" y="1048"/>
                </a:cxn>
                <a:cxn ang="0">
                  <a:pos x="784" y="1121"/>
                </a:cxn>
                <a:cxn ang="0">
                  <a:pos x="924" y="1157"/>
                </a:cxn>
                <a:cxn ang="0">
                  <a:pos x="987" y="1309"/>
                </a:cxn>
                <a:cxn ang="0">
                  <a:pos x="1040" y="1346"/>
                </a:cxn>
                <a:cxn ang="0">
                  <a:pos x="1099" y="1331"/>
                </a:cxn>
                <a:cxn ang="0">
                  <a:pos x="1159" y="1338"/>
                </a:cxn>
                <a:cxn ang="0">
                  <a:pos x="1229" y="1414"/>
                </a:cxn>
                <a:cxn ang="0">
                  <a:pos x="1332" y="1399"/>
                </a:cxn>
                <a:cxn ang="0">
                  <a:pos x="1393" y="1343"/>
                </a:cxn>
                <a:cxn ang="0">
                  <a:pos x="1400" y="1270"/>
                </a:cxn>
                <a:cxn ang="0">
                  <a:pos x="1350" y="1241"/>
                </a:cxn>
                <a:cxn ang="0">
                  <a:pos x="1336" y="1206"/>
                </a:cxn>
                <a:cxn ang="0">
                  <a:pos x="1324" y="1177"/>
                </a:cxn>
                <a:cxn ang="0">
                  <a:pos x="1279" y="1156"/>
                </a:cxn>
                <a:cxn ang="0">
                  <a:pos x="1292" y="1097"/>
                </a:cxn>
                <a:cxn ang="0">
                  <a:pos x="1260" y="1064"/>
                </a:cxn>
                <a:cxn ang="0">
                  <a:pos x="1318" y="957"/>
                </a:cxn>
                <a:cxn ang="0">
                  <a:pos x="1288" y="913"/>
                </a:cxn>
                <a:cxn ang="0">
                  <a:pos x="1205" y="890"/>
                </a:cxn>
                <a:cxn ang="0">
                  <a:pos x="1157" y="885"/>
                </a:cxn>
                <a:cxn ang="0">
                  <a:pos x="1063" y="969"/>
                </a:cxn>
                <a:cxn ang="0">
                  <a:pos x="1004" y="976"/>
                </a:cxn>
                <a:cxn ang="0">
                  <a:pos x="943" y="924"/>
                </a:cxn>
                <a:cxn ang="0">
                  <a:pos x="895" y="933"/>
                </a:cxn>
                <a:cxn ang="0">
                  <a:pos x="824" y="917"/>
                </a:cxn>
                <a:cxn ang="0">
                  <a:pos x="792" y="872"/>
                </a:cxn>
                <a:cxn ang="0">
                  <a:pos x="817" y="832"/>
                </a:cxn>
                <a:cxn ang="0">
                  <a:pos x="808" y="788"/>
                </a:cxn>
                <a:cxn ang="0">
                  <a:pos x="783" y="752"/>
                </a:cxn>
                <a:cxn ang="0">
                  <a:pos x="828" y="718"/>
                </a:cxn>
                <a:cxn ang="0">
                  <a:pos x="843" y="673"/>
                </a:cxn>
                <a:cxn ang="0">
                  <a:pos x="795" y="633"/>
                </a:cxn>
                <a:cxn ang="0">
                  <a:pos x="752" y="656"/>
                </a:cxn>
                <a:cxn ang="0">
                  <a:pos x="735" y="600"/>
                </a:cxn>
                <a:cxn ang="0">
                  <a:pos x="720" y="460"/>
                </a:cxn>
                <a:cxn ang="0">
                  <a:pos x="660" y="332"/>
                </a:cxn>
                <a:cxn ang="0">
                  <a:pos x="632" y="180"/>
                </a:cxn>
                <a:cxn ang="0">
                  <a:pos x="585" y="100"/>
                </a:cxn>
                <a:cxn ang="0">
                  <a:pos x="607" y="51"/>
                </a:cxn>
                <a:cxn ang="0">
                  <a:pos x="569" y="10"/>
                </a:cxn>
                <a:cxn ang="0">
                  <a:pos x="518" y="11"/>
                </a:cxn>
                <a:cxn ang="0">
                  <a:pos x="507" y="72"/>
                </a:cxn>
                <a:cxn ang="0">
                  <a:pos x="480" y="111"/>
                </a:cxn>
                <a:cxn ang="0">
                  <a:pos x="426" y="145"/>
                </a:cxn>
                <a:cxn ang="0">
                  <a:pos x="362" y="237"/>
                </a:cxn>
                <a:cxn ang="0">
                  <a:pos x="290" y="265"/>
                </a:cxn>
                <a:cxn ang="0">
                  <a:pos x="223" y="309"/>
                </a:cxn>
                <a:cxn ang="0">
                  <a:pos x="100" y="396"/>
                </a:cxn>
                <a:cxn ang="0">
                  <a:pos x="20" y="427"/>
                </a:cxn>
              </a:cxnLst>
              <a:rect l="0" t="0" r="r" b="b"/>
              <a:pathLst>
                <a:path w="1409" h="1414">
                  <a:moveTo>
                    <a:pt x="0" y="457"/>
                  </a:moveTo>
                  <a:lnTo>
                    <a:pt x="10" y="460"/>
                  </a:lnTo>
                  <a:lnTo>
                    <a:pt x="19" y="465"/>
                  </a:lnTo>
                  <a:lnTo>
                    <a:pt x="27" y="471"/>
                  </a:lnTo>
                  <a:lnTo>
                    <a:pt x="34" y="477"/>
                  </a:lnTo>
                  <a:lnTo>
                    <a:pt x="44" y="493"/>
                  </a:lnTo>
                  <a:lnTo>
                    <a:pt x="54" y="511"/>
                  </a:lnTo>
                  <a:lnTo>
                    <a:pt x="58" y="519"/>
                  </a:lnTo>
                  <a:lnTo>
                    <a:pt x="64" y="527"/>
                  </a:lnTo>
                  <a:lnTo>
                    <a:pt x="70" y="533"/>
                  </a:lnTo>
                  <a:lnTo>
                    <a:pt x="76" y="540"/>
                  </a:lnTo>
                  <a:lnTo>
                    <a:pt x="86" y="545"/>
                  </a:lnTo>
                  <a:lnTo>
                    <a:pt x="95" y="551"/>
                  </a:lnTo>
                  <a:lnTo>
                    <a:pt x="107" y="553"/>
                  </a:lnTo>
                  <a:lnTo>
                    <a:pt x="120" y="553"/>
                  </a:lnTo>
                  <a:lnTo>
                    <a:pt x="140" y="552"/>
                  </a:lnTo>
                  <a:lnTo>
                    <a:pt x="159" y="549"/>
                  </a:lnTo>
                  <a:lnTo>
                    <a:pt x="167" y="548"/>
                  </a:lnTo>
                  <a:lnTo>
                    <a:pt x="175" y="548"/>
                  </a:lnTo>
                  <a:lnTo>
                    <a:pt x="184" y="551"/>
                  </a:lnTo>
                  <a:lnTo>
                    <a:pt x="192" y="553"/>
                  </a:lnTo>
                  <a:lnTo>
                    <a:pt x="196" y="557"/>
                  </a:lnTo>
                  <a:lnTo>
                    <a:pt x="200" y="561"/>
                  </a:lnTo>
                  <a:lnTo>
                    <a:pt x="202" y="567"/>
                  </a:lnTo>
                  <a:lnTo>
                    <a:pt x="204" y="572"/>
                  </a:lnTo>
                  <a:lnTo>
                    <a:pt x="206" y="584"/>
                  </a:lnTo>
                  <a:lnTo>
                    <a:pt x="206" y="596"/>
                  </a:lnTo>
                  <a:lnTo>
                    <a:pt x="204" y="609"/>
                  </a:lnTo>
                  <a:lnTo>
                    <a:pt x="203" y="623"/>
                  </a:lnTo>
                  <a:lnTo>
                    <a:pt x="203" y="633"/>
                  </a:lnTo>
                  <a:lnTo>
                    <a:pt x="204" y="644"/>
                  </a:lnTo>
                  <a:lnTo>
                    <a:pt x="208" y="651"/>
                  </a:lnTo>
                  <a:lnTo>
                    <a:pt x="212" y="656"/>
                  </a:lnTo>
                  <a:lnTo>
                    <a:pt x="219" y="660"/>
                  </a:lnTo>
                  <a:lnTo>
                    <a:pt x="227" y="663"/>
                  </a:lnTo>
                  <a:lnTo>
                    <a:pt x="244" y="669"/>
                  </a:lnTo>
                  <a:lnTo>
                    <a:pt x="263" y="675"/>
                  </a:lnTo>
                  <a:lnTo>
                    <a:pt x="272" y="677"/>
                  </a:lnTo>
                  <a:lnTo>
                    <a:pt x="282" y="680"/>
                  </a:lnTo>
                  <a:lnTo>
                    <a:pt x="291" y="685"/>
                  </a:lnTo>
                  <a:lnTo>
                    <a:pt x="298" y="689"/>
                  </a:lnTo>
                  <a:lnTo>
                    <a:pt x="304" y="696"/>
                  </a:lnTo>
                  <a:lnTo>
                    <a:pt x="308" y="702"/>
                  </a:lnTo>
                  <a:lnTo>
                    <a:pt x="312" y="712"/>
                  </a:lnTo>
                  <a:lnTo>
                    <a:pt x="314" y="722"/>
                  </a:lnTo>
                  <a:lnTo>
                    <a:pt x="315" y="744"/>
                  </a:lnTo>
                  <a:lnTo>
                    <a:pt x="319" y="770"/>
                  </a:lnTo>
                  <a:lnTo>
                    <a:pt x="326" y="800"/>
                  </a:lnTo>
                  <a:lnTo>
                    <a:pt x="334" y="830"/>
                  </a:lnTo>
                  <a:lnTo>
                    <a:pt x="339" y="845"/>
                  </a:lnTo>
                  <a:lnTo>
                    <a:pt x="346" y="860"/>
                  </a:lnTo>
                  <a:lnTo>
                    <a:pt x="352" y="874"/>
                  </a:lnTo>
                  <a:lnTo>
                    <a:pt x="359" y="886"/>
                  </a:lnTo>
                  <a:lnTo>
                    <a:pt x="366" y="898"/>
                  </a:lnTo>
                  <a:lnTo>
                    <a:pt x="374" y="908"/>
                  </a:lnTo>
                  <a:lnTo>
                    <a:pt x="383" y="916"/>
                  </a:lnTo>
                  <a:lnTo>
                    <a:pt x="391" y="921"/>
                  </a:lnTo>
                  <a:lnTo>
                    <a:pt x="407" y="924"/>
                  </a:lnTo>
                  <a:lnTo>
                    <a:pt x="419" y="929"/>
                  </a:lnTo>
                  <a:lnTo>
                    <a:pt x="424" y="932"/>
                  </a:lnTo>
                  <a:lnTo>
                    <a:pt x="428" y="934"/>
                  </a:lnTo>
                  <a:lnTo>
                    <a:pt x="431" y="938"/>
                  </a:lnTo>
                  <a:lnTo>
                    <a:pt x="435" y="942"/>
                  </a:lnTo>
                  <a:lnTo>
                    <a:pt x="439" y="950"/>
                  </a:lnTo>
                  <a:lnTo>
                    <a:pt x="442" y="960"/>
                  </a:lnTo>
                  <a:lnTo>
                    <a:pt x="443" y="970"/>
                  </a:lnTo>
                  <a:lnTo>
                    <a:pt x="446" y="981"/>
                  </a:lnTo>
                  <a:lnTo>
                    <a:pt x="447" y="990"/>
                  </a:lnTo>
                  <a:lnTo>
                    <a:pt x="450" y="998"/>
                  </a:lnTo>
                  <a:lnTo>
                    <a:pt x="452" y="1006"/>
                  </a:lnTo>
                  <a:lnTo>
                    <a:pt x="456" y="1014"/>
                  </a:lnTo>
                  <a:lnTo>
                    <a:pt x="460" y="1022"/>
                  </a:lnTo>
                  <a:lnTo>
                    <a:pt x="466" y="1029"/>
                  </a:lnTo>
                  <a:lnTo>
                    <a:pt x="472" y="1036"/>
                  </a:lnTo>
                  <a:lnTo>
                    <a:pt x="478" y="1041"/>
                  </a:lnTo>
                  <a:lnTo>
                    <a:pt x="484" y="1046"/>
                  </a:lnTo>
                  <a:lnTo>
                    <a:pt x="492" y="1052"/>
                  </a:lnTo>
                  <a:lnTo>
                    <a:pt x="499" y="1056"/>
                  </a:lnTo>
                  <a:lnTo>
                    <a:pt x="507" y="1060"/>
                  </a:lnTo>
                  <a:lnTo>
                    <a:pt x="516" y="1062"/>
                  </a:lnTo>
                  <a:lnTo>
                    <a:pt x="524" y="1064"/>
                  </a:lnTo>
                  <a:lnTo>
                    <a:pt x="534" y="1065"/>
                  </a:lnTo>
                  <a:lnTo>
                    <a:pt x="541" y="1065"/>
                  </a:lnTo>
                  <a:lnTo>
                    <a:pt x="559" y="1064"/>
                  </a:lnTo>
                  <a:lnTo>
                    <a:pt x="576" y="1060"/>
                  </a:lnTo>
                  <a:lnTo>
                    <a:pt x="592" y="1054"/>
                  </a:lnTo>
                  <a:lnTo>
                    <a:pt x="609" y="1048"/>
                  </a:lnTo>
                  <a:lnTo>
                    <a:pt x="625" y="1041"/>
                  </a:lnTo>
                  <a:lnTo>
                    <a:pt x="643" y="1034"/>
                  </a:lnTo>
                  <a:lnTo>
                    <a:pt x="652" y="1033"/>
                  </a:lnTo>
                  <a:lnTo>
                    <a:pt x="661" y="1030"/>
                  </a:lnTo>
                  <a:lnTo>
                    <a:pt x="671" y="1030"/>
                  </a:lnTo>
                  <a:lnTo>
                    <a:pt x="680" y="1029"/>
                  </a:lnTo>
                  <a:lnTo>
                    <a:pt x="695" y="1030"/>
                  </a:lnTo>
                  <a:lnTo>
                    <a:pt x="708" y="1033"/>
                  </a:lnTo>
                  <a:lnTo>
                    <a:pt x="719" y="1037"/>
                  </a:lnTo>
                  <a:lnTo>
                    <a:pt x="727" y="1042"/>
                  </a:lnTo>
                  <a:lnTo>
                    <a:pt x="735" y="1048"/>
                  </a:lnTo>
                  <a:lnTo>
                    <a:pt x="741" y="1056"/>
                  </a:lnTo>
                  <a:lnTo>
                    <a:pt x="747" y="1064"/>
                  </a:lnTo>
                  <a:lnTo>
                    <a:pt x="752" y="1072"/>
                  </a:lnTo>
                  <a:lnTo>
                    <a:pt x="761" y="1089"/>
                  </a:lnTo>
                  <a:lnTo>
                    <a:pt x="771" y="1105"/>
                  </a:lnTo>
                  <a:lnTo>
                    <a:pt x="777" y="1113"/>
                  </a:lnTo>
                  <a:lnTo>
                    <a:pt x="784" y="1121"/>
                  </a:lnTo>
                  <a:lnTo>
                    <a:pt x="792" y="1126"/>
                  </a:lnTo>
                  <a:lnTo>
                    <a:pt x="801" y="1132"/>
                  </a:lnTo>
                  <a:lnTo>
                    <a:pt x="903" y="1132"/>
                  </a:lnTo>
                  <a:lnTo>
                    <a:pt x="909" y="1137"/>
                  </a:lnTo>
                  <a:lnTo>
                    <a:pt x="915" y="1144"/>
                  </a:lnTo>
                  <a:lnTo>
                    <a:pt x="920" y="1149"/>
                  </a:lnTo>
                  <a:lnTo>
                    <a:pt x="924" y="1157"/>
                  </a:lnTo>
                  <a:lnTo>
                    <a:pt x="932" y="1172"/>
                  </a:lnTo>
                  <a:lnTo>
                    <a:pt x="940" y="1189"/>
                  </a:lnTo>
                  <a:lnTo>
                    <a:pt x="952" y="1224"/>
                  </a:lnTo>
                  <a:lnTo>
                    <a:pt x="964" y="1261"/>
                  </a:lnTo>
                  <a:lnTo>
                    <a:pt x="969" y="1278"/>
                  </a:lnTo>
                  <a:lnTo>
                    <a:pt x="977" y="1294"/>
                  </a:lnTo>
                  <a:lnTo>
                    <a:pt x="987" y="1309"/>
                  </a:lnTo>
                  <a:lnTo>
                    <a:pt x="996" y="1322"/>
                  </a:lnTo>
                  <a:lnTo>
                    <a:pt x="1003" y="1327"/>
                  </a:lnTo>
                  <a:lnTo>
                    <a:pt x="1008" y="1333"/>
                  </a:lnTo>
                  <a:lnTo>
                    <a:pt x="1016" y="1338"/>
                  </a:lnTo>
                  <a:lnTo>
                    <a:pt x="1023" y="1341"/>
                  </a:lnTo>
                  <a:lnTo>
                    <a:pt x="1031" y="1345"/>
                  </a:lnTo>
                  <a:lnTo>
                    <a:pt x="1040" y="1346"/>
                  </a:lnTo>
                  <a:lnTo>
                    <a:pt x="1049" y="1347"/>
                  </a:lnTo>
                  <a:lnTo>
                    <a:pt x="1060" y="1349"/>
                  </a:lnTo>
                  <a:lnTo>
                    <a:pt x="1068" y="1347"/>
                  </a:lnTo>
                  <a:lnTo>
                    <a:pt x="1076" y="1345"/>
                  </a:lnTo>
                  <a:lnTo>
                    <a:pt x="1084" y="1341"/>
                  </a:lnTo>
                  <a:lnTo>
                    <a:pt x="1091" y="1337"/>
                  </a:lnTo>
                  <a:lnTo>
                    <a:pt x="1099" y="1331"/>
                  </a:lnTo>
                  <a:lnTo>
                    <a:pt x="1107" y="1327"/>
                  </a:lnTo>
                  <a:lnTo>
                    <a:pt x="1116" y="1325"/>
                  </a:lnTo>
                  <a:lnTo>
                    <a:pt x="1127" y="1325"/>
                  </a:lnTo>
                  <a:lnTo>
                    <a:pt x="1136" y="1325"/>
                  </a:lnTo>
                  <a:lnTo>
                    <a:pt x="1144" y="1329"/>
                  </a:lnTo>
                  <a:lnTo>
                    <a:pt x="1152" y="1333"/>
                  </a:lnTo>
                  <a:lnTo>
                    <a:pt x="1159" y="1338"/>
                  </a:lnTo>
                  <a:lnTo>
                    <a:pt x="1171" y="1353"/>
                  </a:lnTo>
                  <a:lnTo>
                    <a:pt x="1181" y="1369"/>
                  </a:lnTo>
                  <a:lnTo>
                    <a:pt x="1192" y="1386"/>
                  </a:lnTo>
                  <a:lnTo>
                    <a:pt x="1205" y="1401"/>
                  </a:lnTo>
                  <a:lnTo>
                    <a:pt x="1212" y="1406"/>
                  </a:lnTo>
                  <a:lnTo>
                    <a:pt x="1220" y="1410"/>
                  </a:lnTo>
                  <a:lnTo>
                    <a:pt x="1229" y="1414"/>
                  </a:lnTo>
                  <a:lnTo>
                    <a:pt x="1240" y="1414"/>
                  </a:lnTo>
                  <a:lnTo>
                    <a:pt x="1259" y="1414"/>
                  </a:lnTo>
                  <a:lnTo>
                    <a:pt x="1276" y="1413"/>
                  </a:lnTo>
                  <a:lnTo>
                    <a:pt x="1292" y="1411"/>
                  </a:lnTo>
                  <a:lnTo>
                    <a:pt x="1306" y="1407"/>
                  </a:lnTo>
                  <a:lnTo>
                    <a:pt x="1320" y="1403"/>
                  </a:lnTo>
                  <a:lnTo>
                    <a:pt x="1332" y="1399"/>
                  </a:lnTo>
                  <a:lnTo>
                    <a:pt x="1344" y="1394"/>
                  </a:lnTo>
                  <a:lnTo>
                    <a:pt x="1354" y="1387"/>
                  </a:lnTo>
                  <a:lnTo>
                    <a:pt x="1364" y="1381"/>
                  </a:lnTo>
                  <a:lnTo>
                    <a:pt x="1372" y="1373"/>
                  </a:lnTo>
                  <a:lnTo>
                    <a:pt x="1380" y="1363"/>
                  </a:lnTo>
                  <a:lnTo>
                    <a:pt x="1386" y="1354"/>
                  </a:lnTo>
                  <a:lnTo>
                    <a:pt x="1393" y="1343"/>
                  </a:lnTo>
                  <a:lnTo>
                    <a:pt x="1398" y="1331"/>
                  </a:lnTo>
                  <a:lnTo>
                    <a:pt x="1404" y="1319"/>
                  </a:lnTo>
                  <a:lnTo>
                    <a:pt x="1409" y="1306"/>
                  </a:lnTo>
                  <a:lnTo>
                    <a:pt x="1408" y="1294"/>
                  </a:lnTo>
                  <a:lnTo>
                    <a:pt x="1406" y="1285"/>
                  </a:lnTo>
                  <a:lnTo>
                    <a:pt x="1404" y="1277"/>
                  </a:lnTo>
                  <a:lnTo>
                    <a:pt x="1400" y="1270"/>
                  </a:lnTo>
                  <a:lnTo>
                    <a:pt x="1396" y="1265"/>
                  </a:lnTo>
                  <a:lnTo>
                    <a:pt x="1390" y="1261"/>
                  </a:lnTo>
                  <a:lnTo>
                    <a:pt x="1385" y="1257"/>
                  </a:lnTo>
                  <a:lnTo>
                    <a:pt x="1380" y="1254"/>
                  </a:lnTo>
                  <a:lnTo>
                    <a:pt x="1368" y="1249"/>
                  </a:lnTo>
                  <a:lnTo>
                    <a:pt x="1356" y="1244"/>
                  </a:lnTo>
                  <a:lnTo>
                    <a:pt x="1350" y="1241"/>
                  </a:lnTo>
                  <a:lnTo>
                    <a:pt x="1345" y="1237"/>
                  </a:lnTo>
                  <a:lnTo>
                    <a:pt x="1341" y="1233"/>
                  </a:lnTo>
                  <a:lnTo>
                    <a:pt x="1337" y="1228"/>
                  </a:lnTo>
                  <a:lnTo>
                    <a:pt x="1336" y="1224"/>
                  </a:lnTo>
                  <a:lnTo>
                    <a:pt x="1334" y="1218"/>
                  </a:lnTo>
                  <a:lnTo>
                    <a:pt x="1336" y="1213"/>
                  </a:lnTo>
                  <a:lnTo>
                    <a:pt x="1336" y="1206"/>
                  </a:lnTo>
                  <a:lnTo>
                    <a:pt x="1336" y="1201"/>
                  </a:lnTo>
                  <a:lnTo>
                    <a:pt x="1336" y="1196"/>
                  </a:lnTo>
                  <a:lnTo>
                    <a:pt x="1334" y="1190"/>
                  </a:lnTo>
                  <a:lnTo>
                    <a:pt x="1330" y="1186"/>
                  </a:lnTo>
                  <a:lnTo>
                    <a:pt x="1329" y="1182"/>
                  </a:lnTo>
                  <a:lnTo>
                    <a:pt x="1326" y="1180"/>
                  </a:lnTo>
                  <a:lnTo>
                    <a:pt x="1324" y="1177"/>
                  </a:lnTo>
                  <a:lnTo>
                    <a:pt x="1320" y="1176"/>
                  </a:lnTo>
                  <a:lnTo>
                    <a:pt x="1310" y="1172"/>
                  </a:lnTo>
                  <a:lnTo>
                    <a:pt x="1301" y="1168"/>
                  </a:lnTo>
                  <a:lnTo>
                    <a:pt x="1292" y="1165"/>
                  </a:lnTo>
                  <a:lnTo>
                    <a:pt x="1284" y="1161"/>
                  </a:lnTo>
                  <a:lnTo>
                    <a:pt x="1281" y="1158"/>
                  </a:lnTo>
                  <a:lnTo>
                    <a:pt x="1279" y="1156"/>
                  </a:lnTo>
                  <a:lnTo>
                    <a:pt x="1277" y="1153"/>
                  </a:lnTo>
                  <a:lnTo>
                    <a:pt x="1276" y="1150"/>
                  </a:lnTo>
                  <a:lnTo>
                    <a:pt x="1285" y="1132"/>
                  </a:lnTo>
                  <a:lnTo>
                    <a:pt x="1295" y="1113"/>
                  </a:lnTo>
                  <a:lnTo>
                    <a:pt x="1295" y="1108"/>
                  </a:lnTo>
                  <a:lnTo>
                    <a:pt x="1293" y="1102"/>
                  </a:lnTo>
                  <a:lnTo>
                    <a:pt x="1292" y="1097"/>
                  </a:lnTo>
                  <a:lnTo>
                    <a:pt x="1289" y="1093"/>
                  </a:lnTo>
                  <a:lnTo>
                    <a:pt x="1283" y="1086"/>
                  </a:lnTo>
                  <a:lnTo>
                    <a:pt x="1276" y="1081"/>
                  </a:lnTo>
                  <a:lnTo>
                    <a:pt x="1271" y="1076"/>
                  </a:lnTo>
                  <a:lnTo>
                    <a:pt x="1264" y="1070"/>
                  </a:lnTo>
                  <a:lnTo>
                    <a:pt x="1261" y="1068"/>
                  </a:lnTo>
                  <a:lnTo>
                    <a:pt x="1260" y="1064"/>
                  </a:lnTo>
                  <a:lnTo>
                    <a:pt x="1259" y="1058"/>
                  </a:lnTo>
                  <a:lnTo>
                    <a:pt x="1259" y="1053"/>
                  </a:lnTo>
                  <a:lnTo>
                    <a:pt x="1264" y="1012"/>
                  </a:lnTo>
                  <a:lnTo>
                    <a:pt x="1279" y="998"/>
                  </a:lnTo>
                  <a:lnTo>
                    <a:pt x="1296" y="982"/>
                  </a:lnTo>
                  <a:lnTo>
                    <a:pt x="1312" y="966"/>
                  </a:lnTo>
                  <a:lnTo>
                    <a:pt x="1318" y="957"/>
                  </a:lnTo>
                  <a:lnTo>
                    <a:pt x="1317" y="949"/>
                  </a:lnTo>
                  <a:lnTo>
                    <a:pt x="1316" y="942"/>
                  </a:lnTo>
                  <a:lnTo>
                    <a:pt x="1312" y="936"/>
                  </a:lnTo>
                  <a:lnTo>
                    <a:pt x="1306" y="929"/>
                  </a:lnTo>
                  <a:lnTo>
                    <a:pt x="1301" y="922"/>
                  </a:lnTo>
                  <a:lnTo>
                    <a:pt x="1295" y="917"/>
                  </a:lnTo>
                  <a:lnTo>
                    <a:pt x="1288" y="913"/>
                  </a:lnTo>
                  <a:lnTo>
                    <a:pt x="1280" y="908"/>
                  </a:lnTo>
                  <a:lnTo>
                    <a:pt x="1265" y="901"/>
                  </a:lnTo>
                  <a:lnTo>
                    <a:pt x="1251" y="896"/>
                  </a:lnTo>
                  <a:lnTo>
                    <a:pt x="1237" y="892"/>
                  </a:lnTo>
                  <a:lnTo>
                    <a:pt x="1228" y="890"/>
                  </a:lnTo>
                  <a:lnTo>
                    <a:pt x="1216" y="890"/>
                  </a:lnTo>
                  <a:lnTo>
                    <a:pt x="1205" y="890"/>
                  </a:lnTo>
                  <a:lnTo>
                    <a:pt x="1196" y="890"/>
                  </a:lnTo>
                  <a:lnTo>
                    <a:pt x="1187" y="890"/>
                  </a:lnTo>
                  <a:lnTo>
                    <a:pt x="1173" y="892"/>
                  </a:lnTo>
                  <a:lnTo>
                    <a:pt x="1164" y="892"/>
                  </a:lnTo>
                  <a:lnTo>
                    <a:pt x="1161" y="890"/>
                  </a:lnTo>
                  <a:lnTo>
                    <a:pt x="1159" y="888"/>
                  </a:lnTo>
                  <a:lnTo>
                    <a:pt x="1157" y="885"/>
                  </a:lnTo>
                  <a:lnTo>
                    <a:pt x="1156" y="878"/>
                  </a:lnTo>
                  <a:lnTo>
                    <a:pt x="1143" y="890"/>
                  </a:lnTo>
                  <a:lnTo>
                    <a:pt x="1127" y="905"/>
                  </a:lnTo>
                  <a:lnTo>
                    <a:pt x="1112" y="922"/>
                  </a:lnTo>
                  <a:lnTo>
                    <a:pt x="1095" y="938"/>
                  </a:lnTo>
                  <a:lnTo>
                    <a:pt x="1079" y="956"/>
                  </a:lnTo>
                  <a:lnTo>
                    <a:pt x="1063" y="969"/>
                  </a:lnTo>
                  <a:lnTo>
                    <a:pt x="1053" y="974"/>
                  </a:lnTo>
                  <a:lnTo>
                    <a:pt x="1045" y="978"/>
                  </a:lnTo>
                  <a:lnTo>
                    <a:pt x="1037" y="980"/>
                  </a:lnTo>
                  <a:lnTo>
                    <a:pt x="1029" y="981"/>
                  </a:lnTo>
                  <a:lnTo>
                    <a:pt x="1020" y="981"/>
                  </a:lnTo>
                  <a:lnTo>
                    <a:pt x="1012" y="978"/>
                  </a:lnTo>
                  <a:lnTo>
                    <a:pt x="1004" y="976"/>
                  </a:lnTo>
                  <a:lnTo>
                    <a:pt x="997" y="972"/>
                  </a:lnTo>
                  <a:lnTo>
                    <a:pt x="987" y="962"/>
                  </a:lnTo>
                  <a:lnTo>
                    <a:pt x="976" y="950"/>
                  </a:lnTo>
                  <a:lnTo>
                    <a:pt x="967" y="940"/>
                  </a:lnTo>
                  <a:lnTo>
                    <a:pt x="956" y="930"/>
                  </a:lnTo>
                  <a:lnTo>
                    <a:pt x="949" y="926"/>
                  </a:lnTo>
                  <a:lnTo>
                    <a:pt x="943" y="924"/>
                  </a:lnTo>
                  <a:lnTo>
                    <a:pt x="936" y="921"/>
                  </a:lnTo>
                  <a:lnTo>
                    <a:pt x="927" y="921"/>
                  </a:lnTo>
                  <a:lnTo>
                    <a:pt x="919" y="921"/>
                  </a:lnTo>
                  <a:lnTo>
                    <a:pt x="912" y="924"/>
                  </a:lnTo>
                  <a:lnTo>
                    <a:pt x="905" y="926"/>
                  </a:lnTo>
                  <a:lnTo>
                    <a:pt x="900" y="930"/>
                  </a:lnTo>
                  <a:lnTo>
                    <a:pt x="895" y="933"/>
                  </a:lnTo>
                  <a:lnTo>
                    <a:pt x="888" y="936"/>
                  </a:lnTo>
                  <a:lnTo>
                    <a:pt x="881" y="938"/>
                  </a:lnTo>
                  <a:lnTo>
                    <a:pt x="873" y="938"/>
                  </a:lnTo>
                  <a:lnTo>
                    <a:pt x="864" y="937"/>
                  </a:lnTo>
                  <a:lnTo>
                    <a:pt x="852" y="932"/>
                  </a:lnTo>
                  <a:lnTo>
                    <a:pt x="839" y="925"/>
                  </a:lnTo>
                  <a:lnTo>
                    <a:pt x="824" y="917"/>
                  </a:lnTo>
                  <a:lnTo>
                    <a:pt x="811" y="909"/>
                  </a:lnTo>
                  <a:lnTo>
                    <a:pt x="799" y="901"/>
                  </a:lnTo>
                  <a:lnTo>
                    <a:pt x="792" y="894"/>
                  </a:lnTo>
                  <a:lnTo>
                    <a:pt x="789" y="890"/>
                  </a:lnTo>
                  <a:lnTo>
                    <a:pt x="789" y="884"/>
                  </a:lnTo>
                  <a:lnTo>
                    <a:pt x="789" y="877"/>
                  </a:lnTo>
                  <a:lnTo>
                    <a:pt x="792" y="872"/>
                  </a:lnTo>
                  <a:lnTo>
                    <a:pt x="793" y="868"/>
                  </a:lnTo>
                  <a:lnTo>
                    <a:pt x="799" y="861"/>
                  </a:lnTo>
                  <a:lnTo>
                    <a:pt x="804" y="854"/>
                  </a:lnTo>
                  <a:lnTo>
                    <a:pt x="809" y="849"/>
                  </a:lnTo>
                  <a:lnTo>
                    <a:pt x="815" y="841"/>
                  </a:lnTo>
                  <a:lnTo>
                    <a:pt x="816" y="837"/>
                  </a:lnTo>
                  <a:lnTo>
                    <a:pt x="817" y="832"/>
                  </a:lnTo>
                  <a:lnTo>
                    <a:pt x="819" y="826"/>
                  </a:lnTo>
                  <a:lnTo>
                    <a:pt x="819" y="818"/>
                  </a:lnTo>
                  <a:lnTo>
                    <a:pt x="819" y="812"/>
                  </a:lnTo>
                  <a:lnTo>
                    <a:pt x="817" y="806"/>
                  </a:lnTo>
                  <a:lnTo>
                    <a:pt x="816" y="801"/>
                  </a:lnTo>
                  <a:lnTo>
                    <a:pt x="813" y="796"/>
                  </a:lnTo>
                  <a:lnTo>
                    <a:pt x="808" y="788"/>
                  </a:lnTo>
                  <a:lnTo>
                    <a:pt x="801" y="781"/>
                  </a:lnTo>
                  <a:lnTo>
                    <a:pt x="795" y="774"/>
                  </a:lnTo>
                  <a:lnTo>
                    <a:pt x="788" y="768"/>
                  </a:lnTo>
                  <a:lnTo>
                    <a:pt x="785" y="764"/>
                  </a:lnTo>
                  <a:lnTo>
                    <a:pt x="784" y="761"/>
                  </a:lnTo>
                  <a:lnTo>
                    <a:pt x="783" y="757"/>
                  </a:lnTo>
                  <a:lnTo>
                    <a:pt x="783" y="752"/>
                  </a:lnTo>
                  <a:lnTo>
                    <a:pt x="784" y="746"/>
                  </a:lnTo>
                  <a:lnTo>
                    <a:pt x="785" y="742"/>
                  </a:lnTo>
                  <a:lnTo>
                    <a:pt x="789" y="738"/>
                  </a:lnTo>
                  <a:lnTo>
                    <a:pt x="793" y="736"/>
                  </a:lnTo>
                  <a:lnTo>
                    <a:pt x="804" y="729"/>
                  </a:lnTo>
                  <a:lnTo>
                    <a:pt x="816" y="724"/>
                  </a:lnTo>
                  <a:lnTo>
                    <a:pt x="828" y="718"/>
                  </a:lnTo>
                  <a:lnTo>
                    <a:pt x="839" y="713"/>
                  </a:lnTo>
                  <a:lnTo>
                    <a:pt x="843" y="708"/>
                  </a:lnTo>
                  <a:lnTo>
                    <a:pt x="847" y="704"/>
                  </a:lnTo>
                  <a:lnTo>
                    <a:pt x="848" y="698"/>
                  </a:lnTo>
                  <a:lnTo>
                    <a:pt x="849" y="692"/>
                  </a:lnTo>
                  <a:lnTo>
                    <a:pt x="848" y="683"/>
                  </a:lnTo>
                  <a:lnTo>
                    <a:pt x="843" y="673"/>
                  </a:lnTo>
                  <a:lnTo>
                    <a:pt x="837" y="663"/>
                  </a:lnTo>
                  <a:lnTo>
                    <a:pt x="829" y="653"/>
                  </a:lnTo>
                  <a:lnTo>
                    <a:pt x="821" y="645"/>
                  </a:lnTo>
                  <a:lnTo>
                    <a:pt x="813" y="639"/>
                  </a:lnTo>
                  <a:lnTo>
                    <a:pt x="807" y="633"/>
                  </a:lnTo>
                  <a:lnTo>
                    <a:pt x="801" y="632"/>
                  </a:lnTo>
                  <a:lnTo>
                    <a:pt x="795" y="633"/>
                  </a:lnTo>
                  <a:lnTo>
                    <a:pt x="789" y="636"/>
                  </a:lnTo>
                  <a:lnTo>
                    <a:pt x="784" y="640"/>
                  </a:lnTo>
                  <a:lnTo>
                    <a:pt x="779" y="644"/>
                  </a:lnTo>
                  <a:lnTo>
                    <a:pt x="773" y="648"/>
                  </a:lnTo>
                  <a:lnTo>
                    <a:pt x="768" y="652"/>
                  </a:lnTo>
                  <a:lnTo>
                    <a:pt x="761" y="655"/>
                  </a:lnTo>
                  <a:lnTo>
                    <a:pt x="752" y="656"/>
                  </a:lnTo>
                  <a:lnTo>
                    <a:pt x="747" y="655"/>
                  </a:lnTo>
                  <a:lnTo>
                    <a:pt x="743" y="652"/>
                  </a:lnTo>
                  <a:lnTo>
                    <a:pt x="739" y="647"/>
                  </a:lnTo>
                  <a:lnTo>
                    <a:pt x="737" y="641"/>
                  </a:lnTo>
                  <a:lnTo>
                    <a:pt x="735" y="625"/>
                  </a:lnTo>
                  <a:lnTo>
                    <a:pt x="735" y="608"/>
                  </a:lnTo>
                  <a:lnTo>
                    <a:pt x="735" y="600"/>
                  </a:lnTo>
                  <a:lnTo>
                    <a:pt x="735" y="585"/>
                  </a:lnTo>
                  <a:lnTo>
                    <a:pt x="735" y="569"/>
                  </a:lnTo>
                  <a:lnTo>
                    <a:pt x="735" y="553"/>
                  </a:lnTo>
                  <a:lnTo>
                    <a:pt x="733" y="527"/>
                  </a:lnTo>
                  <a:lnTo>
                    <a:pt x="731" y="503"/>
                  </a:lnTo>
                  <a:lnTo>
                    <a:pt x="725" y="480"/>
                  </a:lnTo>
                  <a:lnTo>
                    <a:pt x="720" y="460"/>
                  </a:lnTo>
                  <a:lnTo>
                    <a:pt x="712" y="440"/>
                  </a:lnTo>
                  <a:lnTo>
                    <a:pt x="704" y="421"/>
                  </a:lnTo>
                  <a:lnTo>
                    <a:pt x="695" y="404"/>
                  </a:lnTo>
                  <a:lnTo>
                    <a:pt x="687" y="387"/>
                  </a:lnTo>
                  <a:lnTo>
                    <a:pt x="677" y="369"/>
                  </a:lnTo>
                  <a:lnTo>
                    <a:pt x="668" y="351"/>
                  </a:lnTo>
                  <a:lnTo>
                    <a:pt x="660" y="332"/>
                  </a:lnTo>
                  <a:lnTo>
                    <a:pt x="653" y="312"/>
                  </a:lnTo>
                  <a:lnTo>
                    <a:pt x="647" y="289"/>
                  </a:lnTo>
                  <a:lnTo>
                    <a:pt x="643" y="265"/>
                  </a:lnTo>
                  <a:lnTo>
                    <a:pt x="639" y="239"/>
                  </a:lnTo>
                  <a:lnTo>
                    <a:pt x="639" y="211"/>
                  </a:lnTo>
                  <a:lnTo>
                    <a:pt x="636" y="196"/>
                  </a:lnTo>
                  <a:lnTo>
                    <a:pt x="632" y="180"/>
                  </a:lnTo>
                  <a:lnTo>
                    <a:pt x="628" y="164"/>
                  </a:lnTo>
                  <a:lnTo>
                    <a:pt x="627" y="151"/>
                  </a:lnTo>
                  <a:lnTo>
                    <a:pt x="615" y="137"/>
                  </a:lnTo>
                  <a:lnTo>
                    <a:pt x="600" y="124"/>
                  </a:lnTo>
                  <a:lnTo>
                    <a:pt x="595" y="117"/>
                  </a:lnTo>
                  <a:lnTo>
                    <a:pt x="589" y="109"/>
                  </a:lnTo>
                  <a:lnTo>
                    <a:pt x="585" y="100"/>
                  </a:lnTo>
                  <a:lnTo>
                    <a:pt x="584" y="90"/>
                  </a:lnTo>
                  <a:lnTo>
                    <a:pt x="585" y="82"/>
                  </a:lnTo>
                  <a:lnTo>
                    <a:pt x="588" y="75"/>
                  </a:lnTo>
                  <a:lnTo>
                    <a:pt x="592" y="68"/>
                  </a:lnTo>
                  <a:lnTo>
                    <a:pt x="597" y="63"/>
                  </a:lnTo>
                  <a:lnTo>
                    <a:pt x="601" y="58"/>
                  </a:lnTo>
                  <a:lnTo>
                    <a:pt x="607" y="51"/>
                  </a:lnTo>
                  <a:lnTo>
                    <a:pt x="611" y="44"/>
                  </a:lnTo>
                  <a:lnTo>
                    <a:pt x="615" y="36"/>
                  </a:lnTo>
                  <a:lnTo>
                    <a:pt x="604" y="32"/>
                  </a:lnTo>
                  <a:lnTo>
                    <a:pt x="595" y="28"/>
                  </a:lnTo>
                  <a:lnTo>
                    <a:pt x="585" y="22"/>
                  </a:lnTo>
                  <a:lnTo>
                    <a:pt x="577" y="15"/>
                  </a:lnTo>
                  <a:lnTo>
                    <a:pt x="569" y="10"/>
                  </a:lnTo>
                  <a:lnTo>
                    <a:pt x="561" y="4"/>
                  </a:lnTo>
                  <a:lnTo>
                    <a:pt x="552" y="2"/>
                  </a:lnTo>
                  <a:lnTo>
                    <a:pt x="541" y="0"/>
                  </a:lnTo>
                  <a:lnTo>
                    <a:pt x="534" y="0"/>
                  </a:lnTo>
                  <a:lnTo>
                    <a:pt x="527" y="3"/>
                  </a:lnTo>
                  <a:lnTo>
                    <a:pt x="522" y="6"/>
                  </a:lnTo>
                  <a:lnTo>
                    <a:pt x="518" y="11"/>
                  </a:lnTo>
                  <a:lnTo>
                    <a:pt x="515" y="16"/>
                  </a:lnTo>
                  <a:lnTo>
                    <a:pt x="512" y="22"/>
                  </a:lnTo>
                  <a:lnTo>
                    <a:pt x="511" y="28"/>
                  </a:lnTo>
                  <a:lnTo>
                    <a:pt x="510" y="36"/>
                  </a:lnTo>
                  <a:lnTo>
                    <a:pt x="508" y="51"/>
                  </a:lnTo>
                  <a:lnTo>
                    <a:pt x="507" y="66"/>
                  </a:lnTo>
                  <a:lnTo>
                    <a:pt x="507" y="72"/>
                  </a:lnTo>
                  <a:lnTo>
                    <a:pt x="504" y="79"/>
                  </a:lnTo>
                  <a:lnTo>
                    <a:pt x="503" y="86"/>
                  </a:lnTo>
                  <a:lnTo>
                    <a:pt x="500" y="90"/>
                  </a:lnTo>
                  <a:lnTo>
                    <a:pt x="495" y="96"/>
                  </a:lnTo>
                  <a:lnTo>
                    <a:pt x="490" y="102"/>
                  </a:lnTo>
                  <a:lnTo>
                    <a:pt x="486" y="107"/>
                  </a:lnTo>
                  <a:lnTo>
                    <a:pt x="480" y="111"/>
                  </a:lnTo>
                  <a:lnTo>
                    <a:pt x="470" y="117"/>
                  </a:lnTo>
                  <a:lnTo>
                    <a:pt x="459" y="123"/>
                  </a:lnTo>
                  <a:lnTo>
                    <a:pt x="448" y="127"/>
                  </a:lnTo>
                  <a:lnTo>
                    <a:pt x="438" y="133"/>
                  </a:lnTo>
                  <a:lnTo>
                    <a:pt x="434" y="136"/>
                  </a:lnTo>
                  <a:lnTo>
                    <a:pt x="430" y="140"/>
                  </a:lnTo>
                  <a:lnTo>
                    <a:pt x="426" y="145"/>
                  </a:lnTo>
                  <a:lnTo>
                    <a:pt x="422" y="151"/>
                  </a:lnTo>
                  <a:lnTo>
                    <a:pt x="408" y="165"/>
                  </a:lnTo>
                  <a:lnTo>
                    <a:pt x="398" y="183"/>
                  </a:lnTo>
                  <a:lnTo>
                    <a:pt x="387" y="203"/>
                  </a:lnTo>
                  <a:lnTo>
                    <a:pt x="375" y="221"/>
                  </a:lnTo>
                  <a:lnTo>
                    <a:pt x="368" y="229"/>
                  </a:lnTo>
                  <a:lnTo>
                    <a:pt x="362" y="237"/>
                  </a:lnTo>
                  <a:lnTo>
                    <a:pt x="354" y="245"/>
                  </a:lnTo>
                  <a:lnTo>
                    <a:pt x="346" y="252"/>
                  </a:lnTo>
                  <a:lnTo>
                    <a:pt x="336" y="257"/>
                  </a:lnTo>
                  <a:lnTo>
                    <a:pt x="326" y="261"/>
                  </a:lnTo>
                  <a:lnTo>
                    <a:pt x="314" y="264"/>
                  </a:lnTo>
                  <a:lnTo>
                    <a:pt x="302" y="264"/>
                  </a:lnTo>
                  <a:lnTo>
                    <a:pt x="290" y="265"/>
                  </a:lnTo>
                  <a:lnTo>
                    <a:pt x="279" y="268"/>
                  </a:lnTo>
                  <a:lnTo>
                    <a:pt x="270" y="272"/>
                  </a:lnTo>
                  <a:lnTo>
                    <a:pt x="259" y="279"/>
                  </a:lnTo>
                  <a:lnTo>
                    <a:pt x="250" y="285"/>
                  </a:lnTo>
                  <a:lnTo>
                    <a:pt x="240" y="292"/>
                  </a:lnTo>
                  <a:lnTo>
                    <a:pt x="232" y="301"/>
                  </a:lnTo>
                  <a:lnTo>
                    <a:pt x="223" y="309"/>
                  </a:lnTo>
                  <a:lnTo>
                    <a:pt x="194" y="345"/>
                  </a:lnTo>
                  <a:lnTo>
                    <a:pt x="168" y="373"/>
                  </a:lnTo>
                  <a:lnTo>
                    <a:pt x="159" y="379"/>
                  </a:lnTo>
                  <a:lnTo>
                    <a:pt x="148" y="384"/>
                  </a:lnTo>
                  <a:lnTo>
                    <a:pt x="138" y="388"/>
                  </a:lnTo>
                  <a:lnTo>
                    <a:pt x="126" y="391"/>
                  </a:lnTo>
                  <a:lnTo>
                    <a:pt x="100" y="396"/>
                  </a:lnTo>
                  <a:lnTo>
                    <a:pt x="76" y="400"/>
                  </a:lnTo>
                  <a:lnTo>
                    <a:pt x="66" y="403"/>
                  </a:lnTo>
                  <a:lnTo>
                    <a:pt x="54" y="405"/>
                  </a:lnTo>
                  <a:lnTo>
                    <a:pt x="44" y="409"/>
                  </a:lnTo>
                  <a:lnTo>
                    <a:pt x="35" y="413"/>
                  </a:lnTo>
                  <a:lnTo>
                    <a:pt x="27" y="419"/>
                  </a:lnTo>
                  <a:lnTo>
                    <a:pt x="20" y="427"/>
                  </a:lnTo>
                  <a:lnTo>
                    <a:pt x="15" y="435"/>
                  </a:lnTo>
                  <a:lnTo>
                    <a:pt x="12" y="445"/>
                  </a:lnTo>
                  <a:lnTo>
                    <a:pt x="0" y="45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8" name="Freeform 54"/>
            <p:cNvSpPr>
              <a:spLocks/>
            </p:cNvSpPr>
            <p:nvPr/>
          </p:nvSpPr>
          <p:spPr bwMode="auto">
            <a:xfrm>
              <a:off x="1465584" y="4195763"/>
              <a:ext cx="496888" cy="349250"/>
            </a:xfrm>
            <a:custGeom>
              <a:avLst/>
              <a:gdLst/>
              <a:ahLst/>
              <a:cxnLst>
                <a:cxn ang="0">
                  <a:pos x="465" y="681"/>
                </a:cxn>
                <a:cxn ang="0">
                  <a:pos x="534" y="641"/>
                </a:cxn>
                <a:cxn ang="0">
                  <a:pos x="556" y="603"/>
                </a:cxn>
                <a:cxn ang="0">
                  <a:pos x="568" y="538"/>
                </a:cxn>
                <a:cxn ang="0">
                  <a:pos x="602" y="513"/>
                </a:cxn>
                <a:cxn ang="0">
                  <a:pos x="612" y="446"/>
                </a:cxn>
                <a:cxn ang="0">
                  <a:pos x="618" y="389"/>
                </a:cxn>
                <a:cxn ang="0">
                  <a:pos x="654" y="350"/>
                </a:cxn>
                <a:cxn ang="0">
                  <a:pos x="706" y="331"/>
                </a:cxn>
                <a:cxn ang="0">
                  <a:pos x="758" y="338"/>
                </a:cxn>
                <a:cxn ang="0">
                  <a:pos x="801" y="354"/>
                </a:cxn>
                <a:cxn ang="0">
                  <a:pos x="833" y="303"/>
                </a:cxn>
                <a:cxn ang="0">
                  <a:pos x="873" y="276"/>
                </a:cxn>
                <a:cxn ang="0">
                  <a:pos x="913" y="274"/>
                </a:cxn>
                <a:cxn ang="0">
                  <a:pos x="944" y="293"/>
                </a:cxn>
                <a:cxn ang="0">
                  <a:pos x="984" y="280"/>
                </a:cxn>
                <a:cxn ang="0">
                  <a:pos x="1024" y="234"/>
                </a:cxn>
                <a:cxn ang="0">
                  <a:pos x="925" y="110"/>
                </a:cxn>
                <a:cxn ang="0">
                  <a:pos x="844" y="86"/>
                </a:cxn>
                <a:cxn ang="0">
                  <a:pos x="816" y="66"/>
                </a:cxn>
                <a:cxn ang="0">
                  <a:pos x="802" y="21"/>
                </a:cxn>
                <a:cxn ang="0">
                  <a:pos x="778" y="0"/>
                </a:cxn>
                <a:cxn ang="0">
                  <a:pos x="746" y="9"/>
                </a:cxn>
                <a:cxn ang="0">
                  <a:pos x="689" y="54"/>
                </a:cxn>
                <a:cxn ang="0">
                  <a:pos x="609" y="56"/>
                </a:cxn>
                <a:cxn ang="0">
                  <a:pos x="489" y="82"/>
                </a:cxn>
                <a:cxn ang="0">
                  <a:pos x="470" y="112"/>
                </a:cxn>
                <a:cxn ang="0">
                  <a:pos x="421" y="125"/>
                </a:cxn>
                <a:cxn ang="0">
                  <a:pos x="400" y="112"/>
                </a:cxn>
                <a:cxn ang="0">
                  <a:pos x="376" y="85"/>
                </a:cxn>
                <a:cxn ang="0">
                  <a:pos x="354" y="88"/>
                </a:cxn>
                <a:cxn ang="0">
                  <a:pos x="319" y="124"/>
                </a:cxn>
                <a:cxn ang="0">
                  <a:pos x="293" y="145"/>
                </a:cxn>
                <a:cxn ang="0">
                  <a:pos x="261" y="197"/>
                </a:cxn>
                <a:cxn ang="0">
                  <a:pos x="207" y="225"/>
                </a:cxn>
                <a:cxn ang="0">
                  <a:pos x="88" y="250"/>
                </a:cxn>
                <a:cxn ang="0">
                  <a:pos x="19" y="282"/>
                </a:cxn>
                <a:cxn ang="0">
                  <a:pos x="0" y="330"/>
                </a:cxn>
                <a:cxn ang="0">
                  <a:pos x="20" y="375"/>
                </a:cxn>
                <a:cxn ang="0">
                  <a:pos x="43" y="417"/>
                </a:cxn>
                <a:cxn ang="0">
                  <a:pos x="31" y="438"/>
                </a:cxn>
                <a:cxn ang="0">
                  <a:pos x="48" y="470"/>
                </a:cxn>
                <a:cxn ang="0">
                  <a:pos x="101" y="490"/>
                </a:cxn>
                <a:cxn ang="0">
                  <a:pos x="152" y="503"/>
                </a:cxn>
                <a:cxn ang="0">
                  <a:pos x="173" y="551"/>
                </a:cxn>
                <a:cxn ang="0">
                  <a:pos x="183" y="653"/>
                </a:cxn>
                <a:cxn ang="0">
                  <a:pos x="211" y="706"/>
                </a:cxn>
                <a:cxn ang="0">
                  <a:pos x="240" y="721"/>
                </a:cxn>
                <a:cxn ang="0">
                  <a:pos x="281" y="711"/>
                </a:cxn>
                <a:cxn ang="0">
                  <a:pos x="372" y="662"/>
                </a:cxn>
                <a:cxn ang="0">
                  <a:pos x="410" y="669"/>
                </a:cxn>
                <a:cxn ang="0">
                  <a:pos x="452" y="703"/>
                </a:cxn>
              </a:cxnLst>
              <a:rect l="0" t="0" r="r" b="b"/>
              <a:pathLst>
                <a:path w="1024" h="722">
                  <a:moveTo>
                    <a:pt x="452" y="703"/>
                  </a:moveTo>
                  <a:lnTo>
                    <a:pt x="453" y="697"/>
                  </a:lnTo>
                  <a:lnTo>
                    <a:pt x="456" y="691"/>
                  </a:lnTo>
                  <a:lnTo>
                    <a:pt x="460" y="686"/>
                  </a:lnTo>
                  <a:lnTo>
                    <a:pt x="465" y="681"/>
                  </a:lnTo>
                  <a:lnTo>
                    <a:pt x="478" y="671"/>
                  </a:lnTo>
                  <a:lnTo>
                    <a:pt x="496" y="662"/>
                  </a:lnTo>
                  <a:lnTo>
                    <a:pt x="512" y="654"/>
                  </a:lnTo>
                  <a:lnTo>
                    <a:pt x="528" y="645"/>
                  </a:lnTo>
                  <a:lnTo>
                    <a:pt x="534" y="641"/>
                  </a:lnTo>
                  <a:lnTo>
                    <a:pt x="540" y="635"/>
                  </a:lnTo>
                  <a:lnTo>
                    <a:pt x="545" y="631"/>
                  </a:lnTo>
                  <a:lnTo>
                    <a:pt x="548" y="625"/>
                  </a:lnTo>
                  <a:lnTo>
                    <a:pt x="553" y="614"/>
                  </a:lnTo>
                  <a:lnTo>
                    <a:pt x="556" y="603"/>
                  </a:lnTo>
                  <a:lnTo>
                    <a:pt x="558" y="593"/>
                  </a:lnTo>
                  <a:lnTo>
                    <a:pt x="560" y="582"/>
                  </a:lnTo>
                  <a:lnTo>
                    <a:pt x="562" y="562"/>
                  </a:lnTo>
                  <a:lnTo>
                    <a:pt x="565" y="546"/>
                  </a:lnTo>
                  <a:lnTo>
                    <a:pt x="568" y="538"/>
                  </a:lnTo>
                  <a:lnTo>
                    <a:pt x="572" y="531"/>
                  </a:lnTo>
                  <a:lnTo>
                    <a:pt x="576" y="525"/>
                  </a:lnTo>
                  <a:lnTo>
                    <a:pt x="582" y="521"/>
                  </a:lnTo>
                  <a:lnTo>
                    <a:pt x="592" y="517"/>
                  </a:lnTo>
                  <a:lnTo>
                    <a:pt x="602" y="513"/>
                  </a:lnTo>
                  <a:lnTo>
                    <a:pt x="616" y="511"/>
                  </a:lnTo>
                  <a:lnTo>
                    <a:pt x="632" y="511"/>
                  </a:lnTo>
                  <a:lnTo>
                    <a:pt x="629" y="497"/>
                  </a:lnTo>
                  <a:lnTo>
                    <a:pt x="620" y="471"/>
                  </a:lnTo>
                  <a:lnTo>
                    <a:pt x="612" y="446"/>
                  </a:lnTo>
                  <a:lnTo>
                    <a:pt x="608" y="433"/>
                  </a:lnTo>
                  <a:lnTo>
                    <a:pt x="609" y="421"/>
                  </a:lnTo>
                  <a:lnTo>
                    <a:pt x="610" y="409"/>
                  </a:lnTo>
                  <a:lnTo>
                    <a:pt x="614" y="398"/>
                  </a:lnTo>
                  <a:lnTo>
                    <a:pt x="618" y="389"/>
                  </a:lnTo>
                  <a:lnTo>
                    <a:pt x="624" y="379"/>
                  </a:lnTo>
                  <a:lnTo>
                    <a:pt x="630" y="371"/>
                  </a:lnTo>
                  <a:lnTo>
                    <a:pt x="637" y="363"/>
                  </a:lnTo>
                  <a:lnTo>
                    <a:pt x="646" y="357"/>
                  </a:lnTo>
                  <a:lnTo>
                    <a:pt x="654" y="350"/>
                  </a:lnTo>
                  <a:lnTo>
                    <a:pt x="664" y="345"/>
                  </a:lnTo>
                  <a:lnTo>
                    <a:pt x="674" y="341"/>
                  </a:lnTo>
                  <a:lnTo>
                    <a:pt x="684" y="337"/>
                  </a:lnTo>
                  <a:lnTo>
                    <a:pt x="696" y="334"/>
                  </a:lnTo>
                  <a:lnTo>
                    <a:pt x="706" y="331"/>
                  </a:lnTo>
                  <a:lnTo>
                    <a:pt x="717" y="330"/>
                  </a:lnTo>
                  <a:lnTo>
                    <a:pt x="729" y="330"/>
                  </a:lnTo>
                  <a:lnTo>
                    <a:pt x="740" y="331"/>
                  </a:lnTo>
                  <a:lnTo>
                    <a:pt x="749" y="334"/>
                  </a:lnTo>
                  <a:lnTo>
                    <a:pt x="758" y="338"/>
                  </a:lnTo>
                  <a:lnTo>
                    <a:pt x="766" y="343"/>
                  </a:lnTo>
                  <a:lnTo>
                    <a:pt x="784" y="355"/>
                  </a:lnTo>
                  <a:lnTo>
                    <a:pt x="801" y="366"/>
                  </a:lnTo>
                  <a:lnTo>
                    <a:pt x="801" y="361"/>
                  </a:lnTo>
                  <a:lnTo>
                    <a:pt x="801" y="354"/>
                  </a:lnTo>
                  <a:lnTo>
                    <a:pt x="804" y="347"/>
                  </a:lnTo>
                  <a:lnTo>
                    <a:pt x="806" y="341"/>
                  </a:lnTo>
                  <a:lnTo>
                    <a:pt x="810" y="334"/>
                  </a:lnTo>
                  <a:lnTo>
                    <a:pt x="820" y="318"/>
                  </a:lnTo>
                  <a:lnTo>
                    <a:pt x="833" y="303"/>
                  </a:lnTo>
                  <a:lnTo>
                    <a:pt x="841" y="297"/>
                  </a:lnTo>
                  <a:lnTo>
                    <a:pt x="848" y="290"/>
                  </a:lnTo>
                  <a:lnTo>
                    <a:pt x="856" y="285"/>
                  </a:lnTo>
                  <a:lnTo>
                    <a:pt x="865" y="280"/>
                  </a:lnTo>
                  <a:lnTo>
                    <a:pt x="873" y="276"/>
                  </a:lnTo>
                  <a:lnTo>
                    <a:pt x="881" y="273"/>
                  </a:lnTo>
                  <a:lnTo>
                    <a:pt x="889" y="270"/>
                  </a:lnTo>
                  <a:lnTo>
                    <a:pt x="897" y="270"/>
                  </a:lnTo>
                  <a:lnTo>
                    <a:pt x="905" y="272"/>
                  </a:lnTo>
                  <a:lnTo>
                    <a:pt x="913" y="274"/>
                  </a:lnTo>
                  <a:lnTo>
                    <a:pt x="918" y="278"/>
                  </a:lnTo>
                  <a:lnTo>
                    <a:pt x="924" y="282"/>
                  </a:lnTo>
                  <a:lnTo>
                    <a:pt x="930" y="286"/>
                  </a:lnTo>
                  <a:lnTo>
                    <a:pt x="936" y="290"/>
                  </a:lnTo>
                  <a:lnTo>
                    <a:pt x="944" y="293"/>
                  </a:lnTo>
                  <a:lnTo>
                    <a:pt x="952" y="294"/>
                  </a:lnTo>
                  <a:lnTo>
                    <a:pt x="960" y="293"/>
                  </a:lnTo>
                  <a:lnTo>
                    <a:pt x="968" y="289"/>
                  </a:lnTo>
                  <a:lnTo>
                    <a:pt x="976" y="285"/>
                  </a:lnTo>
                  <a:lnTo>
                    <a:pt x="984" y="280"/>
                  </a:lnTo>
                  <a:lnTo>
                    <a:pt x="992" y="273"/>
                  </a:lnTo>
                  <a:lnTo>
                    <a:pt x="1001" y="269"/>
                  </a:lnTo>
                  <a:lnTo>
                    <a:pt x="1012" y="265"/>
                  </a:lnTo>
                  <a:lnTo>
                    <a:pt x="1024" y="264"/>
                  </a:lnTo>
                  <a:lnTo>
                    <a:pt x="1024" y="234"/>
                  </a:lnTo>
                  <a:lnTo>
                    <a:pt x="1000" y="208"/>
                  </a:lnTo>
                  <a:lnTo>
                    <a:pt x="966" y="165"/>
                  </a:lnTo>
                  <a:lnTo>
                    <a:pt x="949" y="144"/>
                  </a:lnTo>
                  <a:lnTo>
                    <a:pt x="934" y="125"/>
                  </a:lnTo>
                  <a:lnTo>
                    <a:pt x="925" y="110"/>
                  </a:lnTo>
                  <a:lnTo>
                    <a:pt x="921" y="101"/>
                  </a:lnTo>
                  <a:lnTo>
                    <a:pt x="898" y="100"/>
                  </a:lnTo>
                  <a:lnTo>
                    <a:pt x="870" y="94"/>
                  </a:lnTo>
                  <a:lnTo>
                    <a:pt x="857" y="90"/>
                  </a:lnTo>
                  <a:lnTo>
                    <a:pt x="844" y="86"/>
                  </a:lnTo>
                  <a:lnTo>
                    <a:pt x="833" y="82"/>
                  </a:lnTo>
                  <a:lnTo>
                    <a:pt x="825" y="77"/>
                  </a:lnTo>
                  <a:lnTo>
                    <a:pt x="821" y="74"/>
                  </a:lnTo>
                  <a:lnTo>
                    <a:pt x="817" y="70"/>
                  </a:lnTo>
                  <a:lnTo>
                    <a:pt x="816" y="66"/>
                  </a:lnTo>
                  <a:lnTo>
                    <a:pt x="813" y="60"/>
                  </a:lnTo>
                  <a:lnTo>
                    <a:pt x="810" y="48"/>
                  </a:lnTo>
                  <a:lnTo>
                    <a:pt x="806" y="34"/>
                  </a:lnTo>
                  <a:lnTo>
                    <a:pt x="805" y="28"/>
                  </a:lnTo>
                  <a:lnTo>
                    <a:pt x="802" y="21"/>
                  </a:lnTo>
                  <a:lnTo>
                    <a:pt x="800" y="14"/>
                  </a:lnTo>
                  <a:lnTo>
                    <a:pt x="796" y="9"/>
                  </a:lnTo>
                  <a:lnTo>
                    <a:pt x="792" y="5"/>
                  </a:lnTo>
                  <a:lnTo>
                    <a:pt x="786" y="2"/>
                  </a:lnTo>
                  <a:lnTo>
                    <a:pt x="778" y="0"/>
                  </a:lnTo>
                  <a:lnTo>
                    <a:pt x="770" y="0"/>
                  </a:lnTo>
                  <a:lnTo>
                    <a:pt x="764" y="0"/>
                  </a:lnTo>
                  <a:lnTo>
                    <a:pt x="758" y="1"/>
                  </a:lnTo>
                  <a:lnTo>
                    <a:pt x="752" y="5"/>
                  </a:lnTo>
                  <a:lnTo>
                    <a:pt x="746" y="9"/>
                  </a:lnTo>
                  <a:lnTo>
                    <a:pt x="734" y="18"/>
                  </a:lnTo>
                  <a:lnTo>
                    <a:pt x="724" y="29"/>
                  </a:lnTo>
                  <a:lnTo>
                    <a:pt x="710" y="40"/>
                  </a:lnTo>
                  <a:lnTo>
                    <a:pt x="697" y="50"/>
                  </a:lnTo>
                  <a:lnTo>
                    <a:pt x="689" y="54"/>
                  </a:lnTo>
                  <a:lnTo>
                    <a:pt x="681" y="57"/>
                  </a:lnTo>
                  <a:lnTo>
                    <a:pt x="672" y="58"/>
                  </a:lnTo>
                  <a:lnTo>
                    <a:pt x="662" y="60"/>
                  </a:lnTo>
                  <a:lnTo>
                    <a:pt x="637" y="58"/>
                  </a:lnTo>
                  <a:lnTo>
                    <a:pt x="609" y="56"/>
                  </a:lnTo>
                  <a:lnTo>
                    <a:pt x="582" y="52"/>
                  </a:lnTo>
                  <a:lnTo>
                    <a:pt x="560" y="48"/>
                  </a:lnTo>
                  <a:lnTo>
                    <a:pt x="493" y="48"/>
                  </a:lnTo>
                  <a:lnTo>
                    <a:pt x="493" y="66"/>
                  </a:lnTo>
                  <a:lnTo>
                    <a:pt x="489" y="82"/>
                  </a:lnTo>
                  <a:lnTo>
                    <a:pt x="486" y="89"/>
                  </a:lnTo>
                  <a:lnTo>
                    <a:pt x="484" y="96"/>
                  </a:lnTo>
                  <a:lnTo>
                    <a:pt x="480" y="101"/>
                  </a:lnTo>
                  <a:lnTo>
                    <a:pt x="476" y="106"/>
                  </a:lnTo>
                  <a:lnTo>
                    <a:pt x="470" y="112"/>
                  </a:lnTo>
                  <a:lnTo>
                    <a:pt x="465" y="116"/>
                  </a:lnTo>
                  <a:lnTo>
                    <a:pt x="460" y="118"/>
                  </a:lnTo>
                  <a:lnTo>
                    <a:pt x="453" y="121"/>
                  </a:lnTo>
                  <a:lnTo>
                    <a:pt x="438" y="125"/>
                  </a:lnTo>
                  <a:lnTo>
                    <a:pt x="421" y="125"/>
                  </a:lnTo>
                  <a:lnTo>
                    <a:pt x="417" y="125"/>
                  </a:lnTo>
                  <a:lnTo>
                    <a:pt x="413" y="124"/>
                  </a:lnTo>
                  <a:lnTo>
                    <a:pt x="409" y="122"/>
                  </a:lnTo>
                  <a:lnTo>
                    <a:pt x="406" y="118"/>
                  </a:lnTo>
                  <a:lnTo>
                    <a:pt x="400" y="112"/>
                  </a:lnTo>
                  <a:lnTo>
                    <a:pt x="394" y="105"/>
                  </a:lnTo>
                  <a:lnTo>
                    <a:pt x="389" y="97"/>
                  </a:lnTo>
                  <a:lnTo>
                    <a:pt x="382" y="90"/>
                  </a:lnTo>
                  <a:lnTo>
                    <a:pt x="378" y="88"/>
                  </a:lnTo>
                  <a:lnTo>
                    <a:pt x="376" y="85"/>
                  </a:lnTo>
                  <a:lnTo>
                    <a:pt x="372" y="84"/>
                  </a:lnTo>
                  <a:lnTo>
                    <a:pt x="368" y="84"/>
                  </a:lnTo>
                  <a:lnTo>
                    <a:pt x="362" y="84"/>
                  </a:lnTo>
                  <a:lnTo>
                    <a:pt x="358" y="85"/>
                  </a:lnTo>
                  <a:lnTo>
                    <a:pt x="354" y="88"/>
                  </a:lnTo>
                  <a:lnTo>
                    <a:pt x="350" y="90"/>
                  </a:lnTo>
                  <a:lnTo>
                    <a:pt x="344" y="98"/>
                  </a:lnTo>
                  <a:lnTo>
                    <a:pt x="336" y="108"/>
                  </a:lnTo>
                  <a:lnTo>
                    <a:pt x="328" y="117"/>
                  </a:lnTo>
                  <a:lnTo>
                    <a:pt x="319" y="124"/>
                  </a:lnTo>
                  <a:lnTo>
                    <a:pt x="313" y="128"/>
                  </a:lnTo>
                  <a:lnTo>
                    <a:pt x="308" y="129"/>
                  </a:lnTo>
                  <a:lnTo>
                    <a:pt x="301" y="132"/>
                  </a:lnTo>
                  <a:lnTo>
                    <a:pt x="295" y="132"/>
                  </a:lnTo>
                  <a:lnTo>
                    <a:pt x="293" y="145"/>
                  </a:lnTo>
                  <a:lnTo>
                    <a:pt x="289" y="158"/>
                  </a:lnTo>
                  <a:lnTo>
                    <a:pt x="284" y="169"/>
                  </a:lnTo>
                  <a:lnTo>
                    <a:pt x="277" y="180"/>
                  </a:lnTo>
                  <a:lnTo>
                    <a:pt x="269" y="189"/>
                  </a:lnTo>
                  <a:lnTo>
                    <a:pt x="261" y="197"/>
                  </a:lnTo>
                  <a:lnTo>
                    <a:pt x="252" y="204"/>
                  </a:lnTo>
                  <a:lnTo>
                    <a:pt x="241" y="210"/>
                  </a:lnTo>
                  <a:lnTo>
                    <a:pt x="231" y="216"/>
                  </a:lnTo>
                  <a:lnTo>
                    <a:pt x="219" y="221"/>
                  </a:lnTo>
                  <a:lnTo>
                    <a:pt x="207" y="225"/>
                  </a:lnTo>
                  <a:lnTo>
                    <a:pt x="193" y="229"/>
                  </a:lnTo>
                  <a:lnTo>
                    <a:pt x="168" y="234"/>
                  </a:lnTo>
                  <a:lnTo>
                    <a:pt x="141" y="240"/>
                  </a:lnTo>
                  <a:lnTo>
                    <a:pt x="115" y="245"/>
                  </a:lnTo>
                  <a:lnTo>
                    <a:pt x="88" y="250"/>
                  </a:lnTo>
                  <a:lnTo>
                    <a:pt x="65" y="257"/>
                  </a:lnTo>
                  <a:lnTo>
                    <a:pt x="44" y="265"/>
                  </a:lnTo>
                  <a:lnTo>
                    <a:pt x="35" y="270"/>
                  </a:lnTo>
                  <a:lnTo>
                    <a:pt x="25" y="276"/>
                  </a:lnTo>
                  <a:lnTo>
                    <a:pt x="19" y="282"/>
                  </a:lnTo>
                  <a:lnTo>
                    <a:pt x="12" y="290"/>
                  </a:lnTo>
                  <a:lnTo>
                    <a:pt x="7" y="298"/>
                  </a:lnTo>
                  <a:lnTo>
                    <a:pt x="3" y="307"/>
                  </a:lnTo>
                  <a:lnTo>
                    <a:pt x="1" y="318"/>
                  </a:lnTo>
                  <a:lnTo>
                    <a:pt x="0" y="330"/>
                  </a:lnTo>
                  <a:lnTo>
                    <a:pt x="1" y="345"/>
                  </a:lnTo>
                  <a:lnTo>
                    <a:pt x="3" y="355"/>
                  </a:lnTo>
                  <a:lnTo>
                    <a:pt x="7" y="365"/>
                  </a:lnTo>
                  <a:lnTo>
                    <a:pt x="13" y="371"/>
                  </a:lnTo>
                  <a:lnTo>
                    <a:pt x="20" y="375"/>
                  </a:lnTo>
                  <a:lnTo>
                    <a:pt x="28" y="379"/>
                  </a:lnTo>
                  <a:lnTo>
                    <a:pt x="37" y="382"/>
                  </a:lnTo>
                  <a:lnTo>
                    <a:pt x="48" y="385"/>
                  </a:lnTo>
                  <a:lnTo>
                    <a:pt x="48" y="409"/>
                  </a:lnTo>
                  <a:lnTo>
                    <a:pt x="43" y="417"/>
                  </a:lnTo>
                  <a:lnTo>
                    <a:pt x="37" y="423"/>
                  </a:lnTo>
                  <a:lnTo>
                    <a:pt x="35" y="427"/>
                  </a:lnTo>
                  <a:lnTo>
                    <a:pt x="32" y="430"/>
                  </a:lnTo>
                  <a:lnTo>
                    <a:pt x="31" y="434"/>
                  </a:lnTo>
                  <a:lnTo>
                    <a:pt x="31" y="438"/>
                  </a:lnTo>
                  <a:lnTo>
                    <a:pt x="31" y="446"/>
                  </a:lnTo>
                  <a:lnTo>
                    <a:pt x="33" y="453"/>
                  </a:lnTo>
                  <a:lnTo>
                    <a:pt x="37" y="459"/>
                  </a:lnTo>
                  <a:lnTo>
                    <a:pt x="41" y="465"/>
                  </a:lnTo>
                  <a:lnTo>
                    <a:pt x="48" y="470"/>
                  </a:lnTo>
                  <a:lnTo>
                    <a:pt x="55" y="474"/>
                  </a:lnTo>
                  <a:lnTo>
                    <a:pt x="61" y="478"/>
                  </a:lnTo>
                  <a:lnTo>
                    <a:pt x="69" y="482"/>
                  </a:lnTo>
                  <a:lnTo>
                    <a:pt x="85" y="487"/>
                  </a:lnTo>
                  <a:lnTo>
                    <a:pt x="101" y="490"/>
                  </a:lnTo>
                  <a:lnTo>
                    <a:pt x="116" y="493"/>
                  </a:lnTo>
                  <a:lnTo>
                    <a:pt x="127" y="493"/>
                  </a:lnTo>
                  <a:lnTo>
                    <a:pt x="136" y="494"/>
                  </a:lnTo>
                  <a:lnTo>
                    <a:pt x="144" y="498"/>
                  </a:lnTo>
                  <a:lnTo>
                    <a:pt x="152" y="503"/>
                  </a:lnTo>
                  <a:lnTo>
                    <a:pt x="157" y="510"/>
                  </a:lnTo>
                  <a:lnTo>
                    <a:pt x="163" y="519"/>
                  </a:lnTo>
                  <a:lnTo>
                    <a:pt x="168" y="529"/>
                  </a:lnTo>
                  <a:lnTo>
                    <a:pt x="171" y="539"/>
                  </a:lnTo>
                  <a:lnTo>
                    <a:pt x="173" y="551"/>
                  </a:lnTo>
                  <a:lnTo>
                    <a:pt x="177" y="575"/>
                  </a:lnTo>
                  <a:lnTo>
                    <a:pt x="180" y="599"/>
                  </a:lnTo>
                  <a:lnTo>
                    <a:pt x="180" y="621"/>
                  </a:lnTo>
                  <a:lnTo>
                    <a:pt x="181" y="637"/>
                  </a:lnTo>
                  <a:lnTo>
                    <a:pt x="183" y="653"/>
                  </a:lnTo>
                  <a:lnTo>
                    <a:pt x="185" y="669"/>
                  </a:lnTo>
                  <a:lnTo>
                    <a:pt x="192" y="682"/>
                  </a:lnTo>
                  <a:lnTo>
                    <a:pt x="200" y="695"/>
                  </a:lnTo>
                  <a:lnTo>
                    <a:pt x="205" y="701"/>
                  </a:lnTo>
                  <a:lnTo>
                    <a:pt x="211" y="706"/>
                  </a:lnTo>
                  <a:lnTo>
                    <a:pt x="216" y="710"/>
                  </a:lnTo>
                  <a:lnTo>
                    <a:pt x="221" y="714"/>
                  </a:lnTo>
                  <a:lnTo>
                    <a:pt x="228" y="718"/>
                  </a:lnTo>
                  <a:lnTo>
                    <a:pt x="233" y="719"/>
                  </a:lnTo>
                  <a:lnTo>
                    <a:pt x="240" y="721"/>
                  </a:lnTo>
                  <a:lnTo>
                    <a:pt x="247" y="722"/>
                  </a:lnTo>
                  <a:lnTo>
                    <a:pt x="255" y="721"/>
                  </a:lnTo>
                  <a:lnTo>
                    <a:pt x="264" y="719"/>
                  </a:lnTo>
                  <a:lnTo>
                    <a:pt x="272" y="715"/>
                  </a:lnTo>
                  <a:lnTo>
                    <a:pt x="281" y="711"/>
                  </a:lnTo>
                  <a:lnTo>
                    <a:pt x="301" y="701"/>
                  </a:lnTo>
                  <a:lnTo>
                    <a:pt x="321" y="689"/>
                  </a:lnTo>
                  <a:lnTo>
                    <a:pt x="341" y="677"/>
                  </a:lnTo>
                  <a:lnTo>
                    <a:pt x="362" y="666"/>
                  </a:lnTo>
                  <a:lnTo>
                    <a:pt x="372" y="662"/>
                  </a:lnTo>
                  <a:lnTo>
                    <a:pt x="382" y="658"/>
                  </a:lnTo>
                  <a:lnTo>
                    <a:pt x="393" y="657"/>
                  </a:lnTo>
                  <a:lnTo>
                    <a:pt x="404" y="655"/>
                  </a:lnTo>
                  <a:lnTo>
                    <a:pt x="405" y="661"/>
                  </a:lnTo>
                  <a:lnTo>
                    <a:pt x="410" y="669"/>
                  </a:lnTo>
                  <a:lnTo>
                    <a:pt x="418" y="678"/>
                  </a:lnTo>
                  <a:lnTo>
                    <a:pt x="428" y="687"/>
                  </a:lnTo>
                  <a:lnTo>
                    <a:pt x="444" y="703"/>
                  </a:lnTo>
                  <a:lnTo>
                    <a:pt x="452" y="710"/>
                  </a:lnTo>
                  <a:lnTo>
                    <a:pt x="452" y="70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59" name="Freeform 55"/>
            <p:cNvSpPr>
              <a:spLocks/>
            </p:cNvSpPr>
            <p:nvPr/>
          </p:nvSpPr>
          <p:spPr bwMode="auto">
            <a:xfrm>
              <a:off x="1562422" y="3960813"/>
              <a:ext cx="503238" cy="284162"/>
            </a:xfrm>
            <a:custGeom>
              <a:avLst/>
              <a:gdLst/>
              <a:ahLst/>
              <a:cxnLst>
                <a:cxn ang="0">
                  <a:pos x="982" y="273"/>
                </a:cxn>
                <a:cxn ang="0">
                  <a:pos x="920" y="316"/>
                </a:cxn>
                <a:cxn ang="0">
                  <a:pos x="877" y="328"/>
                </a:cxn>
                <a:cxn ang="0">
                  <a:pos x="819" y="324"/>
                </a:cxn>
                <a:cxn ang="0">
                  <a:pos x="763" y="300"/>
                </a:cxn>
                <a:cxn ang="0">
                  <a:pos x="719" y="265"/>
                </a:cxn>
                <a:cxn ang="0">
                  <a:pos x="674" y="212"/>
                </a:cxn>
                <a:cxn ang="0">
                  <a:pos x="575" y="142"/>
                </a:cxn>
                <a:cxn ang="0">
                  <a:pos x="517" y="87"/>
                </a:cxn>
                <a:cxn ang="0">
                  <a:pos x="494" y="46"/>
                </a:cxn>
                <a:cxn ang="0">
                  <a:pos x="483" y="10"/>
                </a:cxn>
                <a:cxn ang="0">
                  <a:pos x="461" y="22"/>
                </a:cxn>
                <a:cxn ang="0">
                  <a:pos x="445" y="46"/>
                </a:cxn>
                <a:cxn ang="0">
                  <a:pos x="422" y="47"/>
                </a:cxn>
                <a:cxn ang="0">
                  <a:pos x="381" y="28"/>
                </a:cxn>
                <a:cxn ang="0">
                  <a:pos x="341" y="19"/>
                </a:cxn>
                <a:cxn ang="0">
                  <a:pos x="313" y="30"/>
                </a:cxn>
                <a:cxn ang="0">
                  <a:pos x="275" y="51"/>
                </a:cxn>
                <a:cxn ang="0">
                  <a:pos x="249" y="66"/>
                </a:cxn>
                <a:cxn ang="0">
                  <a:pos x="225" y="104"/>
                </a:cxn>
                <a:cxn ang="0">
                  <a:pos x="187" y="131"/>
                </a:cxn>
                <a:cxn ang="0">
                  <a:pos x="141" y="147"/>
                </a:cxn>
                <a:cxn ang="0">
                  <a:pos x="100" y="166"/>
                </a:cxn>
                <a:cxn ang="0">
                  <a:pos x="76" y="200"/>
                </a:cxn>
                <a:cxn ang="0">
                  <a:pos x="30" y="216"/>
                </a:cxn>
                <a:cxn ang="0">
                  <a:pos x="1" y="243"/>
                </a:cxn>
                <a:cxn ang="0">
                  <a:pos x="8" y="268"/>
                </a:cxn>
                <a:cxn ang="0">
                  <a:pos x="65" y="301"/>
                </a:cxn>
                <a:cxn ang="0">
                  <a:pos x="122" y="313"/>
                </a:cxn>
                <a:cxn ang="0">
                  <a:pos x="149" y="303"/>
                </a:cxn>
                <a:cxn ang="0">
                  <a:pos x="187" y="285"/>
                </a:cxn>
                <a:cxn ang="0">
                  <a:pos x="201" y="336"/>
                </a:cxn>
                <a:cxn ang="0">
                  <a:pos x="238" y="368"/>
                </a:cxn>
                <a:cxn ang="0">
                  <a:pos x="282" y="393"/>
                </a:cxn>
                <a:cxn ang="0">
                  <a:pos x="286" y="415"/>
                </a:cxn>
                <a:cxn ang="0">
                  <a:pos x="269" y="413"/>
                </a:cxn>
                <a:cxn ang="0">
                  <a:pos x="281" y="460"/>
                </a:cxn>
                <a:cxn ang="0">
                  <a:pos x="337" y="477"/>
                </a:cxn>
                <a:cxn ang="0">
                  <a:pos x="367" y="491"/>
                </a:cxn>
                <a:cxn ang="0">
                  <a:pos x="385" y="531"/>
                </a:cxn>
                <a:cxn ang="0">
                  <a:pos x="463" y="543"/>
                </a:cxn>
                <a:cxn ang="0">
                  <a:pos x="498" y="533"/>
                </a:cxn>
                <a:cxn ang="0">
                  <a:pos x="547" y="492"/>
                </a:cxn>
                <a:cxn ang="0">
                  <a:pos x="571" y="483"/>
                </a:cxn>
                <a:cxn ang="0">
                  <a:pos x="597" y="492"/>
                </a:cxn>
                <a:cxn ang="0">
                  <a:pos x="607" y="517"/>
                </a:cxn>
                <a:cxn ang="0">
                  <a:pos x="618" y="553"/>
                </a:cxn>
                <a:cxn ang="0">
                  <a:pos x="645" y="569"/>
                </a:cxn>
                <a:cxn ang="0">
                  <a:pos x="722" y="584"/>
                </a:cxn>
                <a:cxn ang="0">
                  <a:pos x="753" y="560"/>
                </a:cxn>
                <a:cxn ang="0">
                  <a:pos x="771" y="535"/>
                </a:cxn>
                <a:cxn ang="0">
                  <a:pos x="794" y="512"/>
                </a:cxn>
                <a:cxn ang="0">
                  <a:pos x="931" y="517"/>
                </a:cxn>
                <a:cxn ang="0">
                  <a:pos x="967" y="505"/>
                </a:cxn>
                <a:cxn ang="0">
                  <a:pos x="979" y="488"/>
                </a:cxn>
                <a:cxn ang="0">
                  <a:pos x="983" y="437"/>
                </a:cxn>
                <a:cxn ang="0">
                  <a:pos x="1003" y="344"/>
                </a:cxn>
                <a:cxn ang="0">
                  <a:pos x="1030" y="249"/>
                </a:cxn>
              </a:cxnLst>
              <a:rect l="0" t="0" r="r" b="b"/>
              <a:pathLst>
                <a:path w="1035" h="584">
                  <a:moveTo>
                    <a:pt x="1030" y="223"/>
                  </a:moveTo>
                  <a:lnTo>
                    <a:pt x="1014" y="241"/>
                  </a:lnTo>
                  <a:lnTo>
                    <a:pt x="998" y="257"/>
                  </a:lnTo>
                  <a:lnTo>
                    <a:pt x="982" y="273"/>
                  </a:lnTo>
                  <a:lnTo>
                    <a:pt x="964" y="288"/>
                  </a:lnTo>
                  <a:lnTo>
                    <a:pt x="947" y="300"/>
                  </a:lnTo>
                  <a:lnTo>
                    <a:pt x="930" y="311"/>
                  </a:lnTo>
                  <a:lnTo>
                    <a:pt x="920" y="316"/>
                  </a:lnTo>
                  <a:lnTo>
                    <a:pt x="911" y="320"/>
                  </a:lnTo>
                  <a:lnTo>
                    <a:pt x="901" y="323"/>
                  </a:lnTo>
                  <a:lnTo>
                    <a:pt x="891" y="325"/>
                  </a:lnTo>
                  <a:lnTo>
                    <a:pt x="877" y="328"/>
                  </a:lnTo>
                  <a:lnTo>
                    <a:pt x="863" y="329"/>
                  </a:lnTo>
                  <a:lnTo>
                    <a:pt x="849" y="328"/>
                  </a:lnTo>
                  <a:lnTo>
                    <a:pt x="834" y="327"/>
                  </a:lnTo>
                  <a:lnTo>
                    <a:pt x="819" y="324"/>
                  </a:lnTo>
                  <a:lnTo>
                    <a:pt x="805" y="319"/>
                  </a:lnTo>
                  <a:lnTo>
                    <a:pt x="790" y="313"/>
                  </a:lnTo>
                  <a:lnTo>
                    <a:pt x="777" y="308"/>
                  </a:lnTo>
                  <a:lnTo>
                    <a:pt x="763" y="300"/>
                  </a:lnTo>
                  <a:lnTo>
                    <a:pt x="751" y="292"/>
                  </a:lnTo>
                  <a:lnTo>
                    <a:pt x="739" y="284"/>
                  </a:lnTo>
                  <a:lnTo>
                    <a:pt x="729" y="275"/>
                  </a:lnTo>
                  <a:lnTo>
                    <a:pt x="719" y="265"/>
                  </a:lnTo>
                  <a:lnTo>
                    <a:pt x="710" y="255"/>
                  </a:lnTo>
                  <a:lnTo>
                    <a:pt x="703" y="245"/>
                  </a:lnTo>
                  <a:lnTo>
                    <a:pt x="698" y="235"/>
                  </a:lnTo>
                  <a:lnTo>
                    <a:pt x="674" y="212"/>
                  </a:lnTo>
                  <a:lnTo>
                    <a:pt x="649" y="193"/>
                  </a:lnTo>
                  <a:lnTo>
                    <a:pt x="623" y="175"/>
                  </a:lnTo>
                  <a:lnTo>
                    <a:pt x="599" y="159"/>
                  </a:lnTo>
                  <a:lnTo>
                    <a:pt x="575" y="142"/>
                  </a:lnTo>
                  <a:lnTo>
                    <a:pt x="551" y="122"/>
                  </a:lnTo>
                  <a:lnTo>
                    <a:pt x="539" y="111"/>
                  </a:lnTo>
                  <a:lnTo>
                    <a:pt x="529" y="99"/>
                  </a:lnTo>
                  <a:lnTo>
                    <a:pt x="517" y="87"/>
                  </a:lnTo>
                  <a:lnTo>
                    <a:pt x="506" y="72"/>
                  </a:lnTo>
                  <a:lnTo>
                    <a:pt x="499" y="64"/>
                  </a:lnTo>
                  <a:lnTo>
                    <a:pt x="497" y="55"/>
                  </a:lnTo>
                  <a:lnTo>
                    <a:pt x="494" y="46"/>
                  </a:lnTo>
                  <a:lnTo>
                    <a:pt x="493" y="36"/>
                  </a:lnTo>
                  <a:lnTo>
                    <a:pt x="490" y="27"/>
                  </a:lnTo>
                  <a:lnTo>
                    <a:pt x="487" y="19"/>
                  </a:lnTo>
                  <a:lnTo>
                    <a:pt x="483" y="10"/>
                  </a:lnTo>
                  <a:lnTo>
                    <a:pt x="475" y="0"/>
                  </a:lnTo>
                  <a:lnTo>
                    <a:pt x="469" y="6"/>
                  </a:lnTo>
                  <a:lnTo>
                    <a:pt x="465" y="14"/>
                  </a:lnTo>
                  <a:lnTo>
                    <a:pt x="461" y="22"/>
                  </a:lnTo>
                  <a:lnTo>
                    <a:pt x="457" y="30"/>
                  </a:lnTo>
                  <a:lnTo>
                    <a:pt x="453" y="36"/>
                  </a:lnTo>
                  <a:lnTo>
                    <a:pt x="447" y="43"/>
                  </a:lnTo>
                  <a:lnTo>
                    <a:pt x="445" y="46"/>
                  </a:lnTo>
                  <a:lnTo>
                    <a:pt x="441" y="47"/>
                  </a:lnTo>
                  <a:lnTo>
                    <a:pt x="438" y="48"/>
                  </a:lnTo>
                  <a:lnTo>
                    <a:pt x="433" y="48"/>
                  </a:lnTo>
                  <a:lnTo>
                    <a:pt x="422" y="47"/>
                  </a:lnTo>
                  <a:lnTo>
                    <a:pt x="411" y="44"/>
                  </a:lnTo>
                  <a:lnTo>
                    <a:pt x="401" y="39"/>
                  </a:lnTo>
                  <a:lnTo>
                    <a:pt x="391" y="34"/>
                  </a:lnTo>
                  <a:lnTo>
                    <a:pt x="381" y="28"/>
                  </a:lnTo>
                  <a:lnTo>
                    <a:pt x="370" y="23"/>
                  </a:lnTo>
                  <a:lnTo>
                    <a:pt x="359" y="20"/>
                  </a:lnTo>
                  <a:lnTo>
                    <a:pt x="349" y="19"/>
                  </a:lnTo>
                  <a:lnTo>
                    <a:pt x="341" y="19"/>
                  </a:lnTo>
                  <a:lnTo>
                    <a:pt x="334" y="20"/>
                  </a:lnTo>
                  <a:lnTo>
                    <a:pt x="329" y="22"/>
                  </a:lnTo>
                  <a:lnTo>
                    <a:pt x="323" y="24"/>
                  </a:lnTo>
                  <a:lnTo>
                    <a:pt x="313" y="30"/>
                  </a:lnTo>
                  <a:lnTo>
                    <a:pt x="303" y="36"/>
                  </a:lnTo>
                  <a:lnTo>
                    <a:pt x="293" y="43"/>
                  </a:lnTo>
                  <a:lnTo>
                    <a:pt x="282" y="50"/>
                  </a:lnTo>
                  <a:lnTo>
                    <a:pt x="275" y="51"/>
                  </a:lnTo>
                  <a:lnTo>
                    <a:pt x="269" y="54"/>
                  </a:lnTo>
                  <a:lnTo>
                    <a:pt x="261" y="54"/>
                  </a:lnTo>
                  <a:lnTo>
                    <a:pt x="253" y="55"/>
                  </a:lnTo>
                  <a:lnTo>
                    <a:pt x="249" y="66"/>
                  </a:lnTo>
                  <a:lnTo>
                    <a:pt x="243" y="76"/>
                  </a:lnTo>
                  <a:lnTo>
                    <a:pt x="238" y="86"/>
                  </a:lnTo>
                  <a:lnTo>
                    <a:pt x="231" y="95"/>
                  </a:lnTo>
                  <a:lnTo>
                    <a:pt x="225" y="104"/>
                  </a:lnTo>
                  <a:lnTo>
                    <a:pt x="215" y="111"/>
                  </a:lnTo>
                  <a:lnTo>
                    <a:pt x="207" y="119"/>
                  </a:lnTo>
                  <a:lnTo>
                    <a:pt x="198" y="126"/>
                  </a:lnTo>
                  <a:lnTo>
                    <a:pt x="187" y="131"/>
                  </a:lnTo>
                  <a:lnTo>
                    <a:pt x="177" y="136"/>
                  </a:lnTo>
                  <a:lnTo>
                    <a:pt x="165" y="140"/>
                  </a:lnTo>
                  <a:lnTo>
                    <a:pt x="153" y="144"/>
                  </a:lnTo>
                  <a:lnTo>
                    <a:pt x="141" y="147"/>
                  </a:lnTo>
                  <a:lnTo>
                    <a:pt x="129" y="150"/>
                  </a:lnTo>
                  <a:lnTo>
                    <a:pt x="116" y="151"/>
                  </a:lnTo>
                  <a:lnTo>
                    <a:pt x="102" y="151"/>
                  </a:lnTo>
                  <a:lnTo>
                    <a:pt x="100" y="166"/>
                  </a:lnTo>
                  <a:lnTo>
                    <a:pt x="96" y="178"/>
                  </a:lnTo>
                  <a:lnTo>
                    <a:pt x="90" y="187"/>
                  </a:lnTo>
                  <a:lnTo>
                    <a:pt x="84" y="193"/>
                  </a:lnTo>
                  <a:lnTo>
                    <a:pt x="76" y="200"/>
                  </a:lnTo>
                  <a:lnTo>
                    <a:pt x="68" y="204"/>
                  </a:lnTo>
                  <a:lnTo>
                    <a:pt x="58" y="208"/>
                  </a:lnTo>
                  <a:lnTo>
                    <a:pt x="49" y="211"/>
                  </a:lnTo>
                  <a:lnTo>
                    <a:pt x="30" y="216"/>
                  </a:lnTo>
                  <a:lnTo>
                    <a:pt x="14" y="224"/>
                  </a:lnTo>
                  <a:lnTo>
                    <a:pt x="9" y="228"/>
                  </a:lnTo>
                  <a:lnTo>
                    <a:pt x="4" y="235"/>
                  </a:lnTo>
                  <a:lnTo>
                    <a:pt x="1" y="243"/>
                  </a:lnTo>
                  <a:lnTo>
                    <a:pt x="0" y="253"/>
                  </a:lnTo>
                  <a:lnTo>
                    <a:pt x="1" y="257"/>
                  </a:lnTo>
                  <a:lnTo>
                    <a:pt x="4" y="263"/>
                  </a:lnTo>
                  <a:lnTo>
                    <a:pt x="8" y="268"/>
                  </a:lnTo>
                  <a:lnTo>
                    <a:pt x="13" y="273"/>
                  </a:lnTo>
                  <a:lnTo>
                    <a:pt x="28" y="283"/>
                  </a:lnTo>
                  <a:lnTo>
                    <a:pt x="46" y="292"/>
                  </a:lnTo>
                  <a:lnTo>
                    <a:pt x="65" y="301"/>
                  </a:lnTo>
                  <a:lnTo>
                    <a:pt x="84" y="308"/>
                  </a:lnTo>
                  <a:lnTo>
                    <a:pt x="101" y="312"/>
                  </a:lnTo>
                  <a:lnTo>
                    <a:pt x="114" y="313"/>
                  </a:lnTo>
                  <a:lnTo>
                    <a:pt x="122" y="313"/>
                  </a:lnTo>
                  <a:lnTo>
                    <a:pt x="129" y="312"/>
                  </a:lnTo>
                  <a:lnTo>
                    <a:pt x="134" y="311"/>
                  </a:lnTo>
                  <a:lnTo>
                    <a:pt x="140" y="308"/>
                  </a:lnTo>
                  <a:lnTo>
                    <a:pt x="149" y="303"/>
                  </a:lnTo>
                  <a:lnTo>
                    <a:pt x="157" y="296"/>
                  </a:lnTo>
                  <a:lnTo>
                    <a:pt x="169" y="280"/>
                  </a:lnTo>
                  <a:lnTo>
                    <a:pt x="181" y="265"/>
                  </a:lnTo>
                  <a:lnTo>
                    <a:pt x="187" y="285"/>
                  </a:lnTo>
                  <a:lnTo>
                    <a:pt x="193" y="307"/>
                  </a:lnTo>
                  <a:lnTo>
                    <a:pt x="194" y="317"/>
                  </a:lnTo>
                  <a:lnTo>
                    <a:pt x="197" y="327"/>
                  </a:lnTo>
                  <a:lnTo>
                    <a:pt x="201" y="336"/>
                  </a:lnTo>
                  <a:lnTo>
                    <a:pt x="205" y="344"/>
                  </a:lnTo>
                  <a:lnTo>
                    <a:pt x="214" y="353"/>
                  </a:lnTo>
                  <a:lnTo>
                    <a:pt x="226" y="361"/>
                  </a:lnTo>
                  <a:lnTo>
                    <a:pt x="238" y="368"/>
                  </a:lnTo>
                  <a:lnTo>
                    <a:pt x="251" y="375"/>
                  </a:lnTo>
                  <a:lnTo>
                    <a:pt x="265" y="381"/>
                  </a:lnTo>
                  <a:lnTo>
                    <a:pt x="277" y="388"/>
                  </a:lnTo>
                  <a:lnTo>
                    <a:pt x="282" y="393"/>
                  </a:lnTo>
                  <a:lnTo>
                    <a:pt x="286" y="397"/>
                  </a:lnTo>
                  <a:lnTo>
                    <a:pt x="291" y="404"/>
                  </a:lnTo>
                  <a:lnTo>
                    <a:pt x="294" y="409"/>
                  </a:lnTo>
                  <a:lnTo>
                    <a:pt x="286" y="415"/>
                  </a:lnTo>
                  <a:lnTo>
                    <a:pt x="279" y="416"/>
                  </a:lnTo>
                  <a:lnTo>
                    <a:pt x="277" y="416"/>
                  </a:lnTo>
                  <a:lnTo>
                    <a:pt x="273" y="416"/>
                  </a:lnTo>
                  <a:lnTo>
                    <a:pt x="269" y="413"/>
                  </a:lnTo>
                  <a:lnTo>
                    <a:pt x="265" y="409"/>
                  </a:lnTo>
                  <a:lnTo>
                    <a:pt x="265" y="445"/>
                  </a:lnTo>
                  <a:lnTo>
                    <a:pt x="273" y="453"/>
                  </a:lnTo>
                  <a:lnTo>
                    <a:pt x="281" y="460"/>
                  </a:lnTo>
                  <a:lnTo>
                    <a:pt x="290" y="465"/>
                  </a:lnTo>
                  <a:lnTo>
                    <a:pt x="299" y="468"/>
                  </a:lnTo>
                  <a:lnTo>
                    <a:pt x="318" y="473"/>
                  </a:lnTo>
                  <a:lnTo>
                    <a:pt x="337" y="477"/>
                  </a:lnTo>
                  <a:lnTo>
                    <a:pt x="345" y="479"/>
                  </a:lnTo>
                  <a:lnTo>
                    <a:pt x="353" y="481"/>
                  </a:lnTo>
                  <a:lnTo>
                    <a:pt x="361" y="485"/>
                  </a:lnTo>
                  <a:lnTo>
                    <a:pt x="367" y="491"/>
                  </a:lnTo>
                  <a:lnTo>
                    <a:pt x="373" y="497"/>
                  </a:lnTo>
                  <a:lnTo>
                    <a:pt x="378" y="507"/>
                  </a:lnTo>
                  <a:lnTo>
                    <a:pt x="382" y="517"/>
                  </a:lnTo>
                  <a:lnTo>
                    <a:pt x="385" y="531"/>
                  </a:lnTo>
                  <a:lnTo>
                    <a:pt x="403" y="535"/>
                  </a:lnTo>
                  <a:lnTo>
                    <a:pt x="425" y="539"/>
                  </a:lnTo>
                  <a:lnTo>
                    <a:pt x="445" y="541"/>
                  </a:lnTo>
                  <a:lnTo>
                    <a:pt x="463" y="543"/>
                  </a:lnTo>
                  <a:lnTo>
                    <a:pt x="473" y="541"/>
                  </a:lnTo>
                  <a:lnTo>
                    <a:pt x="482" y="540"/>
                  </a:lnTo>
                  <a:lnTo>
                    <a:pt x="490" y="537"/>
                  </a:lnTo>
                  <a:lnTo>
                    <a:pt x="498" y="533"/>
                  </a:lnTo>
                  <a:lnTo>
                    <a:pt x="511" y="523"/>
                  </a:lnTo>
                  <a:lnTo>
                    <a:pt x="525" y="512"/>
                  </a:lnTo>
                  <a:lnTo>
                    <a:pt x="535" y="501"/>
                  </a:lnTo>
                  <a:lnTo>
                    <a:pt x="547" y="492"/>
                  </a:lnTo>
                  <a:lnTo>
                    <a:pt x="553" y="488"/>
                  </a:lnTo>
                  <a:lnTo>
                    <a:pt x="559" y="484"/>
                  </a:lnTo>
                  <a:lnTo>
                    <a:pt x="565" y="483"/>
                  </a:lnTo>
                  <a:lnTo>
                    <a:pt x="571" y="483"/>
                  </a:lnTo>
                  <a:lnTo>
                    <a:pt x="579" y="483"/>
                  </a:lnTo>
                  <a:lnTo>
                    <a:pt x="587" y="485"/>
                  </a:lnTo>
                  <a:lnTo>
                    <a:pt x="593" y="488"/>
                  </a:lnTo>
                  <a:lnTo>
                    <a:pt x="597" y="492"/>
                  </a:lnTo>
                  <a:lnTo>
                    <a:pt x="601" y="497"/>
                  </a:lnTo>
                  <a:lnTo>
                    <a:pt x="603" y="504"/>
                  </a:lnTo>
                  <a:lnTo>
                    <a:pt x="606" y="511"/>
                  </a:lnTo>
                  <a:lnTo>
                    <a:pt x="607" y="517"/>
                  </a:lnTo>
                  <a:lnTo>
                    <a:pt x="611" y="531"/>
                  </a:lnTo>
                  <a:lnTo>
                    <a:pt x="614" y="543"/>
                  </a:lnTo>
                  <a:lnTo>
                    <a:pt x="617" y="549"/>
                  </a:lnTo>
                  <a:lnTo>
                    <a:pt x="618" y="553"/>
                  </a:lnTo>
                  <a:lnTo>
                    <a:pt x="622" y="557"/>
                  </a:lnTo>
                  <a:lnTo>
                    <a:pt x="626" y="560"/>
                  </a:lnTo>
                  <a:lnTo>
                    <a:pt x="634" y="565"/>
                  </a:lnTo>
                  <a:lnTo>
                    <a:pt x="645" y="569"/>
                  </a:lnTo>
                  <a:lnTo>
                    <a:pt x="658" y="573"/>
                  </a:lnTo>
                  <a:lnTo>
                    <a:pt x="671" y="577"/>
                  </a:lnTo>
                  <a:lnTo>
                    <a:pt x="699" y="583"/>
                  </a:lnTo>
                  <a:lnTo>
                    <a:pt x="722" y="584"/>
                  </a:lnTo>
                  <a:lnTo>
                    <a:pt x="725" y="579"/>
                  </a:lnTo>
                  <a:lnTo>
                    <a:pt x="733" y="572"/>
                  </a:lnTo>
                  <a:lnTo>
                    <a:pt x="742" y="565"/>
                  </a:lnTo>
                  <a:lnTo>
                    <a:pt x="753" y="560"/>
                  </a:lnTo>
                  <a:lnTo>
                    <a:pt x="758" y="555"/>
                  </a:lnTo>
                  <a:lnTo>
                    <a:pt x="763" y="548"/>
                  </a:lnTo>
                  <a:lnTo>
                    <a:pt x="767" y="541"/>
                  </a:lnTo>
                  <a:lnTo>
                    <a:pt x="771" y="535"/>
                  </a:lnTo>
                  <a:lnTo>
                    <a:pt x="775" y="527"/>
                  </a:lnTo>
                  <a:lnTo>
                    <a:pt x="781" y="520"/>
                  </a:lnTo>
                  <a:lnTo>
                    <a:pt x="786" y="516"/>
                  </a:lnTo>
                  <a:lnTo>
                    <a:pt x="794" y="512"/>
                  </a:lnTo>
                  <a:lnTo>
                    <a:pt x="839" y="515"/>
                  </a:lnTo>
                  <a:lnTo>
                    <a:pt x="902" y="519"/>
                  </a:lnTo>
                  <a:lnTo>
                    <a:pt x="916" y="519"/>
                  </a:lnTo>
                  <a:lnTo>
                    <a:pt x="931" y="517"/>
                  </a:lnTo>
                  <a:lnTo>
                    <a:pt x="944" y="515"/>
                  </a:lnTo>
                  <a:lnTo>
                    <a:pt x="956" y="511"/>
                  </a:lnTo>
                  <a:lnTo>
                    <a:pt x="962" y="509"/>
                  </a:lnTo>
                  <a:lnTo>
                    <a:pt x="967" y="505"/>
                  </a:lnTo>
                  <a:lnTo>
                    <a:pt x="971" y="503"/>
                  </a:lnTo>
                  <a:lnTo>
                    <a:pt x="975" y="499"/>
                  </a:lnTo>
                  <a:lnTo>
                    <a:pt x="978" y="493"/>
                  </a:lnTo>
                  <a:lnTo>
                    <a:pt x="979" y="488"/>
                  </a:lnTo>
                  <a:lnTo>
                    <a:pt x="980" y="483"/>
                  </a:lnTo>
                  <a:lnTo>
                    <a:pt x="982" y="476"/>
                  </a:lnTo>
                  <a:lnTo>
                    <a:pt x="982" y="456"/>
                  </a:lnTo>
                  <a:lnTo>
                    <a:pt x="983" y="437"/>
                  </a:lnTo>
                  <a:lnTo>
                    <a:pt x="984" y="420"/>
                  </a:lnTo>
                  <a:lnTo>
                    <a:pt x="988" y="404"/>
                  </a:lnTo>
                  <a:lnTo>
                    <a:pt x="995" y="373"/>
                  </a:lnTo>
                  <a:lnTo>
                    <a:pt x="1003" y="344"/>
                  </a:lnTo>
                  <a:lnTo>
                    <a:pt x="1012" y="313"/>
                  </a:lnTo>
                  <a:lnTo>
                    <a:pt x="1022" y="283"/>
                  </a:lnTo>
                  <a:lnTo>
                    <a:pt x="1026" y="267"/>
                  </a:lnTo>
                  <a:lnTo>
                    <a:pt x="1030" y="249"/>
                  </a:lnTo>
                  <a:lnTo>
                    <a:pt x="1032" y="231"/>
                  </a:lnTo>
                  <a:lnTo>
                    <a:pt x="1035" y="211"/>
                  </a:lnTo>
                  <a:lnTo>
                    <a:pt x="1030" y="22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0" name="Freeform 56"/>
            <p:cNvSpPr>
              <a:spLocks/>
            </p:cNvSpPr>
            <p:nvPr/>
          </p:nvSpPr>
          <p:spPr bwMode="auto">
            <a:xfrm>
              <a:off x="1413197" y="3856038"/>
              <a:ext cx="271463" cy="246062"/>
            </a:xfrm>
            <a:custGeom>
              <a:avLst/>
              <a:gdLst/>
              <a:ahLst/>
              <a:cxnLst>
                <a:cxn ang="0">
                  <a:pos x="311" y="452"/>
                </a:cxn>
                <a:cxn ang="0">
                  <a:pos x="337" y="433"/>
                </a:cxn>
                <a:cxn ang="0">
                  <a:pos x="375" y="421"/>
                </a:cxn>
                <a:cxn ang="0">
                  <a:pos x="397" y="404"/>
                </a:cxn>
                <a:cxn ang="0">
                  <a:pos x="409" y="368"/>
                </a:cxn>
                <a:cxn ang="0">
                  <a:pos x="448" y="364"/>
                </a:cxn>
                <a:cxn ang="0">
                  <a:pos x="484" y="353"/>
                </a:cxn>
                <a:cxn ang="0">
                  <a:pos x="514" y="336"/>
                </a:cxn>
                <a:cxn ang="0">
                  <a:pos x="538" y="312"/>
                </a:cxn>
                <a:cxn ang="0">
                  <a:pos x="556" y="283"/>
                </a:cxn>
                <a:cxn ang="0">
                  <a:pos x="541" y="269"/>
                </a:cxn>
                <a:cxn ang="0">
                  <a:pos x="520" y="256"/>
                </a:cxn>
                <a:cxn ang="0">
                  <a:pos x="504" y="236"/>
                </a:cxn>
                <a:cxn ang="0">
                  <a:pos x="484" y="179"/>
                </a:cxn>
                <a:cxn ang="0">
                  <a:pos x="469" y="115"/>
                </a:cxn>
                <a:cxn ang="0">
                  <a:pos x="450" y="71"/>
                </a:cxn>
                <a:cxn ang="0">
                  <a:pos x="435" y="52"/>
                </a:cxn>
                <a:cxn ang="0">
                  <a:pos x="412" y="44"/>
                </a:cxn>
                <a:cxn ang="0">
                  <a:pos x="395" y="47"/>
                </a:cxn>
                <a:cxn ang="0">
                  <a:pos x="384" y="63"/>
                </a:cxn>
                <a:cxn ang="0">
                  <a:pos x="363" y="64"/>
                </a:cxn>
                <a:cxn ang="0">
                  <a:pos x="339" y="45"/>
                </a:cxn>
                <a:cxn ang="0">
                  <a:pos x="307" y="11"/>
                </a:cxn>
                <a:cxn ang="0">
                  <a:pos x="285" y="1"/>
                </a:cxn>
                <a:cxn ang="0">
                  <a:pos x="251" y="5"/>
                </a:cxn>
                <a:cxn ang="0">
                  <a:pos x="237" y="4"/>
                </a:cxn>
                <a:cxn ang="0">
                  <a:pos x="217" y="15"/>
                </a:cxn>
                <a:cxn ang="0">
                  <a:pos x="191" y="19"/>
                </a:cxn>
                <a:cxn ang="0">
                  <a:pos x="156" y="19"/>
                </a:cxn>
                <a:cxn ang="0">
                  <a:pos x="151" y="56"/>
                </a:cxn>
                <a:cxn ang="0">
                  <a:pos x="137" y="80"/>
                </a:cxn>
                <a:cxn ang="0">
                  <a:pos x="115" y="101"/>
                </a:cxn>
                <a:cxn ang="0">
                  <a:pos x="99" y="125"/>
                </a:cxn>
                <a:cxn ang="0">
                  <a:pos x="97" y="156"/>
                </a:cxn>
                <a:cxn ang="0">
                  <a:pos x="108" y="177"/>
                </a:cxn>
                <a:cxn ang="0">
                  <a:pos x="129" y="187"/>
                </a:cxn>
                <a:cxn ang="0">
                  <a:pos x="139" y="217"/>
                </a:cxn>
                <a:cxn ang="0">
                  <a:pos x="135" y="239"/>
                </a:cxn>
                <a:cxn ang="0">
                  <a:pos x="116" y="268"/>
                </a:cxn>
                <a:cxn ang="0">
                  <a:pos x="81" y="296"/>
                </a:cxn>
                <a:cxn ang="0">
                  <a:pos x="44" y="324"/>
                </a:cxn>
                <a:cxn ang="0">
                  <a:pos x="12" y="360"/>
                </a:cxn>
                <a:cxn ang="0">
                  <a:pos x="1" y="391"/>
                </a:cxn>
                <a:cxn ang="0">
                  <a:pos x="1" y="425"/>
                </a:cxn>
                <a:cxn ang="0">
                  <a:pos x="19" y="472"/>
                </a:cxn>
                <a:cxn ang="0">
                  <a:pos x="35" y="492"/>
                </a:cxn>
                <a:cxn ang="0">
                  <a:pos x="52" y="504"/>
                </a:cxn>
                <a:cxn ang="0">
                  <a:pos x="75" y="506"/>
                </a:cxn>
                <a:cxn ang="0">
                  <a:pos x="96" y="498"/>
                </a:cxn>
                <a:cxn ang="0">
                  <a:pos x="129" y="469"/>
                </a:cxn>
                <a:cxn ang="0">
                  <a:pos x="153" y="454"/>
                </a:cxn>
                <a:cxn ang="0">
                  <a:pos x="185" y="453"/>
                </a:cxn>
                <a:cxn ang="0">
                  <a:pos x="235" y="461"/>
                </a:cxn>
                <a:cxn ang="0">
                  <a:pos x="283" y="469"/>
                </a:cxn>
              </a:cxnLst>
              <a:rect l="0" t="0" r="r" b="b"/>
              <a:pathLst>
                <a:path w="560" h="506">
                  <a:moveTo>
                    <a:pt x="307" y="470"/>
                  </a:moveTo>
                  <a:lnTo>
                    <a:pt x="308" y="460"/>
                  </a:lnTo>
                  <a:lnTo>
                    <a:pt x="311" y="452"/>
                  </a:lnTo>
                  <a:lnTo>
                    <a:pt x="316" y="445"/>
                  </a:lnTo>
                  <a:lnTo>
                    <a:pt x="321" y="441"/>
                  </a:lnTo>
                  <a:lnTo>
                    <a:pt x="337" y="433"/>
                  </a:lnTo>
                  <a:lnTo>
                    <a:pt x="356" y="428"/>
                  </a:lnTo>
                  <a:lnTo>
                    <a:pt x="365" y="425"/>
                  </a:lnTo>
                  <a:lnTo>
                    <a:pt x="375" y="421"/>
                  </a:lnTo>
                  <a:lnTo>
                    <a:pt x="383" y="417"/>
                  </a:lnTo>
                  <a:lnTo>
                    <a:pt x="391" y="410"/>
                  </a:lnTo>
                  <a:lnTo>
                    <a:pt x="397" y="404"/>
                  </a:lnTo>
                  <a:lnTo>
                    <a:pt x="403" y="395"/>
                  </a:lnTo>
                  <a:lnTo>
                    <a:pt x="407" y="383"/>
                  </a:lnTo>
                  <a:lnTo>
                    <a:pt x="409" y="368"/>
                  </a:lnTo>
                  <a:lnTo>
                    <a:pt x="423" y="368"/>
                  </a:lnTo>
                  <a:lnTo>
                    <a:pt x="436" y="367"/>
                  </a:lnTo>
                  <a:lnTo>
                    <a:pt x="448" y="364"/>
                  </a:lnTo>
                  <a:lnTo>
                    <a:pt x="460" y="361"/>
                  </a:lnTo>
                  <a:lnTo>
                    <a:pt x="472" y="357"/>
                  </a:lnTo>
                  <a:lnTo>
                    <a:pt x="484" y="353"/>
                  </a:lnTo>
                  <a:lnTo>
                    <a:pt x="494" y="348"/>
                  </a:lnTo>
                  <a:lnTo>
                    <a:pt x="505" y="343"/>
                  </a:lnTo>
                  <a:lnTo>
                    <a:pt x="514" y="336"/>
                  </a:lnTo>
                  <a:lnTo>
                    <a:pt x="522" y="328"/>
                  </a:lnTo>
                  <a:lnTo>
                    <a:pt x="532" y="321"/>
                  </a:lnTo>
                  <a:lnTo>
                    <a:pt x="538" y="312"/>
                  </a:lnTo>
                  <a:lnTo>
                    <a:pt x="545" y="303"/>
                  </a:lnTo>
                  <a:lnTo>
                    <a:pt x="550" y="293"/>
                  </a:lnTo>
                  <a:lnTo>
                    <a:pt x="556" y="283"/>
                  </a:lnTo>
                  <a:lnTo>
                    <a:pt x="560" y="272"/>
                  </a:lnTo>
                  <a:lnTo>
                    <a:pt x="550" y="271"/>
                  </a:lnTo>
                  <a:lnTo>
                    <a:pt x="541" y="269"/>
                  </a:lnTo>
                  <a:lnTo>
                    <a:pt x="533" y="267"/>
                  </a:lnTo>
                  <a:lnTo>
                    <a:pt x="526" y="261"/>
                  </a:lnTo>
                  <a:lnTo>
                    <a:pt x="520" y="256"/>
                  </a:lnTo>
                  <a:lnTo>
                    <a:pt x="513" y="251"/>
                  </a:lnTo>
                  <a:lnTo>
                    <a:pt x="508" y="244"/>
                  </a:lnTo>
                  <a:lnTo>
                    <a:pt x="504" y="236"/>
                  </a:lnTo>
                  <a:lnTo>
                    <a:pt x="496" y="219"/>
                  </a:lnTo>
                  <a:lnTo>
                    <a:pt x="489" y="199"/>
                  </a:lnTo>
                  <a:lnTo>
                    <a:pt x="484" y="179"/>
                  </a:lnTo>
                  <a:lnTo>
                    <a:pt x="478" y="157"/>
                  </a:lnTo>
                  <a:lnTo>
                    <a:pt x="474" y="136"/>
                  </a:lnTo>
                  <a:lnTo>
                    <a:pt x="469" y="115"/>
                  </a:lnTo>
                  <a:lnTo>
                    <a:pt x="462" y="96"/>
                  </a:lnTo>
                  <a:lnTo>
                    <a:pt x="456" y="79"/>
                  </a:lnTo>
                  <a:lnTo>
                    <a:pt x="450" y="71"/>
                  </a:lnTo>
                  <a:lnTo>
                    <a:pt x="447" y="64"/>
                  </a:lnTo>
                  <a:lnTo>
                    <a:pt x="441" y="57"/>
                  </a:lnTo>
                  <a:lnTo>
                    <a:pt x="435" y="52"/>
                  </a:lnTo>
                  <a:lnTo>
                    <a:pt x="428" y="48"/>
                  </a:lnTo>
                  <a:lnTo>
                    <a:pt x="420" y="45"/>
                  </a:lnTo>
                  <a:lnTo>
                    <a:pt x="412" y="44"/>
                  </a:lnTo>
                  <a:lnTo>
                    <a:pt x="403" y="43"/>
                  </a:lnTo>
                  <a:lnTo>
                    <a:pt x="399" y="44"/>
                  </a:lnTo>
                  <a:lnTo>
                    <a:pt x="395" y="47"/>
                  </a:lnTo>
                  <a:lnTo>
                    <a:pt x="392" y="51"/>
                  </a:lnTo>
                  <a:lnTo>
                    <a:pt x="389" y="55"/>
                  </a:lnTo>
                  <a:lnTo>
                    <a:pt x="384" y="63"/>
                  </a:lnTo>
                  <a:lnTo>
                    <a:pt x="379" y="67"/>
                  </a:lnTo>
                  <a:lnTo>
                    <a:pt x="371" y="67"/>
                  </a:lnTo>
                  <a:lnTo>
                    <a:pt x="363" y="64"/>
                  </a:lnTo>
                  <a:lnTo>
                    <a:pt x="356" y="61"/>
                  </a:lnTo>
                  <a:lnTo>
                    <a:pt x="349" y="56"/>
                  </a:lnTo>
                  <a:lnTo>
                    <a:pt x="339" y="45"/>
                  </a:lnTo>
                  <a:lnTo>
                    <a:pt x="328" y="33"/>
                  </a:lnTo>
                  <a:lnTo>
                    <a:pt x="317" y="21"/>
                  </a:lnTo>
                  <a:lnTo>
                    <a:pt x="307" y="11"/>
                  </a:lnTo>
                  <a:lnTo>
                    <a:pt x="300" y="7"/>
                  </a:lnTo>
                  <a:lnTo>
                    <a:pt x="293" y="4"/>
                  </a:lnTo>
                  <a:lnTo>
                    <a:pt x="285" y="1"/>
                  </a:lnTo>
                  <a:lnTo>
                    <a:pt x="276" y="0"/>
                  </a:lnTo>
                  <a:lnTo>
                    <a:pt x="263" y="3"/>
                  </a:lnTo>
                  <a:lnTo>
                    <a:pt x="251" y="5"/>
                  </a:lnTo>
                  <a:lnTo>
                    <a:pt x="245" y="5"/>
                  </a:lnTo>
                  <a:lnTo>
                    <a:pt x="241" y="5"/>
                  </a:lnTo>
                  <a:lnTo>
                    <a:pt x="237" y="4"/>
                  </a:lnTo>
                  <a:lnTo>
                    <a:pt x="235" y="0"/>
                  </a:lnTo>
                  <a:lnTo>
                    <a:pt x="225" y="8"/>
                  </a:lnTo>
                  <a:lnTo>
                    <a:pt x="217" y="15"/>
                  </a:lnTo>
                  <a:lnTo>
                    <a:pt x="209" y="17"/>
                  </a:lnTo>
                  <a:lnTo>
                    <a:pt x="204" y="19"/>
                  </a:lnTo>
                  <a:lnTo>
                    <a:pt x="191" y="19"/>
                  </a:lnTo>
                  <a:lnTo>
                    <a:pt x="177" y="19"/>
                  </a:lnTo>
                  <a:lnTo>
                    <a:pt x="167" y="19"/>
                  </a:lnTo>
                  <a:lnTo>
                    <a:pt x="156" y="19"/>
                  </a:lnTo>
                  <a:lnTo>
                    <a:pt x="156" y="33"/>
                  </a:lnTo>
                  <a:lnTo>
                    <a:pt x="153" y="45"/>
                  </a:lnTo>
                  <a:lnTo>
                    <a:pt x="151" y="56"/>
                  </a:lnTo>
                  <a:lnTo>
                    <a:pt x="147" y="65"/>
                  </a:lnTo>
                  <a:lnTo>
                    <a:pt x="143" y="73"/>
                  </a:lnTo>
                  <a:lnTo>
                    <a:pt x="137" y="80"/>
                  </a:lnTo>
                  <a:lnTo>
                    <a:pt x="132" y="85"/>
                  </a:lnTo>
                  <a:lnTo>
                    <a:pt x="127" y="91"/>
                  </a:lnTo>
                  <a:lnTo>
                    <a:pt x="115" y="101"/>
                  </a:lnTo>
                  <a:lnTo>
                    <a:pt x="105" y="112"/>
                  </a:lnTo>
                  <a:lnTo>
                    <a:pt x="101" y="119"/>
                  </a:lnTo>
                  <a:lnTo>
                    <a:pt x="99" y="125"/>
                  </a:lnTo>
                  <a:lnTo>
                    <a:pt x="96" y="135"/>
                  </a:lnTo>
                  <a:lnTo>
                    <a:pt x="96" y="145"/>
                  </a:lnTo>
                  <a:lnTo>
                    <a:pt x="97" y="156"/>
                  </a:lnTo>
                  <a:lnTo>
                    <a:pt x="99" y="164"/>
                  </a:lnTo>
                  <a:lnTo>
                    <a:pt x="103" y="172"/>
                  </a:lnTo>
                  <a:lnTo>
                    <a:pt x="108" y="177"/>
                  </a:lnTo>
                  <a:lnTo>
                    <a:pt x="115" y="181"/>
                  </a:lnTo>
                  <a:lnTo>
                    <a:pt x="121" y="185"/>
                  </a:lnTo>
                  <a:lnTo>
                    <a:pt x="129" y="187"/>
                  </a:lnTo>
                  <a:lnTo>
                    <a:pt x="139" y="187"/>
                  </a:lnTo>
                  <a:lnTo>
                    <a:pt x="139" y="207"/>
                  </a:lnTo>
                  <a:lnTo>
                    <a:pt x="139" y="217"/>
                  </a:lnTo>
                  <a:lnTo>
                    <a:pt x="137" y="225"/>
                  </a:lnTo>
                  <a:lnTo>
                    <a:pt x="136" y="232"/>
                  </a:lnTo>
                  <a:lnTo>
                    <a:pt x="135" y="239"/>
                  </a:lnTo>
                  <a:lnTo>
                    <a:pt x="132" y="245"/>
                  </a:lnTo>
                  <a:lnTo>
                    <a:pt x="125" y="257"/>
                  </a:lnTo>
                  <a:lnTo>
                    <a:pt x="116" y="268"/>
                  </a:lnTo>
                  <a:lnTo>
                    <a:pt x="105" y="277"/>
                  </a:lnTo>
                  <a:lnTo>
                    <a:pt x="95" y="287"/>
                  </a:lnTo>
                  <a:lnTo>
                    <a:pt x="81" y="296"/>
                  </a:lnTo>
                  <a:lnTo>
                    <a:pt x="69" y="305"/>
                  </a:lnTo>
                  <a:lnTo>
                    <a:pt x="56" y="315"/>
                  </a:lnTo>
                  <a:lnTo>
                    <a:pt x="44" y="324"/>
                  </a:lnTo>
                  <a:lnTo>
                    <a:pt x="32" y="335"/>
                  </a:lnTo>
                  <a:lnTo>
                    <a:pt x="21" y="347"/>
                  </a:lnTo>
                  <a:lnTo>
                    <a:pt x="12" y="360"/>
                  </a:lnTo>
                  <a:lnTo>
                    <a:pt x="5" y="375"/>
                  </a:lnTo>
                  <a:lnTo>
                    <a:pt x="3" y="383"/>
                  </a:lnTo>
                  <a:lnTo>
                    <a:pt x="1" y="391"/>
                  </a:lnTo>
                  <a:lnTo>
                    <a:pt x="0" y="400"/>
                  </a:lnTo>
                  <a:lnTo>
                    <a:pt x="0" y="410"/>
                  </a:lnTo>
                  <a:lnTo>
                    <a:pt x="1" y="425"/>
                  </a:lnTo>
                  <a:lnTo>
                    <a:pt x="5" y="440"/>
                  </a:lnTo>
                  <a:lnTo>
                    <a:pt x="11" y="456"/>
                  </a:lnTo>
                  <a:lnTo>
                    <a:pt x="19" y="472"/>
                  </a:lnTo>
                  <a:lnTo>
                    <a:pt x="24" y="478"/>
                  </a:lnTo>
                  <a:lnTo>
                    <a:pt x="29" y="485"/>
                  </a:lnTo>
                  <a:lnTo>
                    <a:pt x="35" y="492"/>
                  </a:lnTo>
                  <a:lnTo>
                    <a:pt x="40" y="496"/>
                  </a:lnTo>
                  <a:lnTo>
                    <a:pt x="47" y="501"/>
                  </a:lnTo>
                  <a:lnTo>
                    <a:pt x="52" y="504"/>
                  </a:lnTo>
                  <a:lnTo>
                    <a:pt x="59" y="505"/>
                  </a:lnTo>
                  <a:lnTo>
                    <a:pt x="65" y="506"/>
                  </a:lnTo>
                  <a:lnTo>
                    <a:pt x="75" y="506"/>
                  </a:lnTo>
                  <a:lnTo>
                    <a:pt x="83" y="504"/>
                  </a:lnTo>
                  <a:lnTo>
                    <a:pt x="89" y="501"/>
                  </a:lnTo>
                  <a:lnTo>
                    <a:pt x="96" y="498"/>
                  </a:lnTo>
                  <a:lnTo>
                    <a:pt x="108" y="489"/>
                  </a:lnTo>
                  <a:lnTo>
                    <a:pt x="119" y="480"/>
                  </a:lnTo>
                  <a:lnTo>
                    <a:pt x="129" y="469"/>
                  </a:lnTo>
                  <a:lnTo>
                    <a:pt x="141" y="461"/>
                  </a:lnTo>
                  <a:lnTo>
                    <a:pt x="147" y="457"/>
                  </a:lnTo>
                  <a:lnTo>
                    <a:pt x="153" y="454"/>
                  </a:lnTo>
                  <a:lnTo>
                    <a:pt x="160" y="453"/>
                  </a:lnTo>
                  <a:lnTo>
                    <a:pt x="168" y="452"/>
                  </a:lnTo>
                  <a:lnTo>
                    <a:pt x="185" y="453"/>
                  </a:lnTo>
                  <a:lnTo>
                    <a:pt x="203" y="454"/>
                  </a:lnTo>
                  <a:lnTo>
                    <a:pt x="219" y="458"/>
                  </a:lnTo>
                  <a:lnTo>
                    <a:pt x="235" y="461"/>
                  </a:lnTo>
                  <a:lnTo>
                    <a:pt x="251" y="465"/>
                  </a:lnTo>
                  <a:lnTo>
                    <a:pt x="267" y="468"/>
                  </a:lnTo>
                  <a:lnTo>
                    <a:pt x="283" y="469"/>
                  </a:lnTo>
                  <a:lnTo>
                    <a:pt x="301" y="470"/>
                  </a:lnTo>
                  <a:lnTo>
                    <a:pt x="307" y="47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1" name="Freeform 57"/>
            <p:cNvSpPr>
              <a:spLocks/>
            </p:cNvSpPr>
            <p:nvPr/>
          </p:nvSpPr>
          <p:spPr bwMode="auto">
            <a:xfrm>
              <a:off x="1014734" y="3686175"/>
              <a:ext cx="512763" cy="352425"/>
            </a:xfrm>
            <a:custGeom>
              <a:avLst/>
              <a:gdLst/>
              <a:ahLst/>
              <a:cxnLst>
                <a:cxn ang="0">
                  <a:pos x="31" y="221"/>
                </a:cxn>
                <a:cxn ang="0">
                  <a:pos x="107" y="156"/>
                </a:cxn>
                <a:cxn ang="0">
                  <a:pos x="115" y="115"/>
                </a:cxn>
                <a:cxn ang="0">
                  <a:pos x="127" y="30"/>
                </a:cxn>
                <a:cxn ang="0">
                  <a:pos x="159" y="0"/>
                </a:cxn>
                <a:cxn ang="0">
                  <a:pos x="184" y="12"/>
                </a:cxn>
                <a:cxn ang="0">
                  <a:pos x="209" y="48"/>
                </a:cxn>
                <a:cxn ang="0">
                  <a:pos x="256" y="67"/>
                </a:cxn>
                <a:cxn ang="0">
                  <a:pos x="371" y="80"/>
                </a:cxn>
                <a:cxn ang="0">
                  <a:pos x="429" y="99"/>
                </a:cxn>
                <a:cxn ang="0">
                  <a:pos x="460" y="131"/>
                </a:cxn>
                <a:cxn ang="0">
                  <a:pos x="511" y="131"/>
                </a:cxn>
                <a:cxn ang="0">
                  <a:pos x="598" y="86"/>
                </a:cxn>
                <a:cxn ang="0">
                  <a:pos x="644" y="76"/>
                </a:cxn>
                <a:cxn ang="0">
                  <a:pos x="681" y="104"/>
                </a:cxn>
                <a:cxn ang="0">
                  <a:pos x="701" y="158"/>
                </a:cxn>
                <a:cxn ang="0">
                  <a:pos x="726" y="163"/>
                </a:cxn>
                <a:cxn ang="0">
                  <a:pos x="761" y="156"/>
                </a:cxn>
                <a:cxn ang="0">
                  <a:pos x="782" y="187"/>
                </a:cxn>
                <a:cxn ang="0">
                  <a:pos x="830" y="172"/>
                </a:cxn>
                <a:cxn ang="0">
                  <a:pos x="869" y="196"/>
                </a:cxn>
                <a:cxn ang="0">
                  <a:pos x="918" y="220"/>
                </a:cxn>
                <a:cxn ang="0">
                  <a:pos x="936" y="249"/>
                </a:cxn>
                <a:cxn ang="0">
                  <a:pos x="952" y="263"/>
                </a:cxn>
                <a:cxn ang="0">
                  <a:pos x="993" y="241"/>
                </a:cxn>
                <a:cxn ang="0">
                  <a:pos x="1030" y="235"/>
                </a:cxn>
                <a:cxn ang="0">
                  <a:pos x="1045" y="261"/>
                </a:cxn>
                <a:cxn ang="0">
                  <a:pos x="1052" y="345"/>
                </a:cxn>
                <a:cxn ang="0">
                  <a:pos x="1050" y="360"/>
                </a:cxn>
                <a:cxn ang="0">
                  <a:pos x="1002" y="371"/>
                </a:cxn>
                <a:cxn ang="0">
                  <a:pos x="976" y="408"/>
                </a:cxn>
                <a:cxn ang="0">
                  <a:pos x="952" y="443"/>
                </a:cxn>
                <a:cxn ang="0">
                  <a:pos x="921" y="487"/>
                </a:cxn>
                <a:cxn ang="0">
                  <a:pos x="933" y="529"/>
                </a:cxn>
                <a:cxn ang="0">
                  <a:pos x="964" y="559"/>
                </a:cxn>
                <a:cxn ang="0">
                  <a:pos x="946" y="613"/>
                </a:cxn>
                <a:cxn ang="0">
                  <a:pos x="884" y="661"/>
                </a:cxn>
                <a:cxn ang="0">
                  <a:pos x="830" y="727"/>
                </a:cxn>
                <a:cxn ang="0">
                  <a:pos x="796" y="663"/>
                </a:cxn>
                <a:cxn ang="0">
                  <a:pos x="757" y="644"/>
                </a:cxn>
                <a:cxn ang="0">
                  <a:pos x="709" y="649"/>
                </a:cxn>
                <a:cxn ang="0">
                  <a:pos x="674" y="665"/>
                </a:cxn>
                <a:cxn ang="0">
                  <a:pos x="646" y="647"/>
                </a:cxn>
                <a:cxn ang="0">
                  <a:pos x="609" y="620"/>
                </a:cxn>
                <a:cxn ang="0">
                  <a:pos x="553" y="607"/>
                </a:cxn>
                <a:cxn ang="0">
                  <a:pos x="526" y="571"/>
                </a:cxn>
                <a:cxn ang="0">
                  <a:pos x="496" y="553"/>
                </a:cxn>
                <a:cxn ang="0">
                  <a:pos x="469" y="576"/>
                </a:cxn>
                <a:cxn ang="0">
                  <a:pos x="407" y="575"/>
                </a:cxn>
                <a:cxn ang="0">
                  <a:pos x="367" y="556"/>
                </a:cxn>
                <a:cxn ang="0">
                  <a:pos x="336" y="500"/>
                </a:cxn>
                <a:cxn ang="0">
                  <a:pos x="303" y="460"/>
                </a:cxn>
                <a:cxn ang="0">
                  <a:pos x="268" y="449"/>
                </a:cxn>
                <a:cxn ang="0">
                  <a:pos x="211" y="449"/>
                </a:cxn>
                <a:cxn ang="0">
                  <a:pos x="163" y="435"/>
                </a:cxn>
                <a:cxn ang="0">
                  <a:pos x="99" y="380"/>
                </a:cxn>
                <a:cxn ang="0">
                  <a:pos x="4" y="241"/>
                </a:cxn>
              </a:cxnLst>
              <a:rect l="0" t="0" r="r" b="b"/>
              <a:pathLst>
                <a:path w="1060" h="727">
                  <a:moveTo>
                    <a:pt x="0" y="232"/>
                  </a:moveTo>
                  <a:lnTo>
                    <a:pt x="5" y="232"/>
                  </a:lnTo>
                  <a:lnTo>
                    <a:pt x="13" y="229"/>
                  </a:lnTo>
                  <a:lnTo>
                    <a:pt x="21" y="225"/>
                  </a:lnTo>
                  <a:lnTo>
                    <a:pt x="31" y="221"/>
                  </a:lnTo>
                  <a:lnTo>
                    <a:pt x="49" y="209"/>
                  </a:lnTo>
                  <a:lnTo>
                    <a:pt x="68" y="195"/>
                  </a:lnTo>
                  <a:lnTo>
                    <a:pt x="85" y="180"/>
                  </a:lnTo>
                  <a:lnTo>
                    <a:pt x="100" y="164"/>
                  </a:lnTo>
                  <a:lnTo>
                    <a:pt x="107" y="156"/>
                  </a:lnTo>
                  <a:lnTo>
                    <a:pt x="111" y="148"/>
                  </a:lnTo>
                  <a:lnTo>
                    <a:pt x="113" y="142"/>
                  </a:lnTo>
                  <a:lnTo>
                    <a:pt x="115" y="136"/>
                  </a:lnTo>
                  <a:lnTo>
                    <a:pt x="115" y="124"/>
                  </a:lnTo>
                  <a:lnTo>
                    <a:pt x="115" y="115"/>
                  </a:lnTo>
                  <a:lnTo>
                    <a:pt x="115" y="106"/>
                  </a:lnTo>
                  <a:lnTo>
                    <a:pt x="115" y="94"/>
                  </a:lnTo>
                  <a:lnTo>
                    <a:pt x="116" y="75"/>
                  </a:lnTo>
                  <a:lnTo>
                    <a:pt x="121" y="54"/>
                  </a:lnTo>
                  <a:lnTo>
                    <a:pt x="127" y="30"/>
                  </a:lnTo>
                  <a:lnTo>
                    <a:pt x="132" y="3"/>
                  </a:lnTo>
                  <a:lnTo>
                    <a:pt x="141" y="3"/>
                  </a:lnTo>
                  <a:lnTo>
                    <a:pt x="151" y="2"/>
                  </a:lnTo>
                  <a:lnTo>
                    <a:pt x="155" y="0"/>
                  </a:lnTo>
                  <a:lnTo>
                    <a:pt x="159" y="0"/>
                  </a:lnTo>
                  <a:lnTo>
                    <a:pt x="164" y="2"/>
                  </a:lnTo>
                  <a:lnTo>
                    <a:pt x="168" y="3"/>
                  </a:lnTo>
                  <a:lnTo>
                    <a:pt x="175" y="6"/>
                  </a:lnTo>
                  <a:lnTo>
                    <a:pt x="180" y="10"/>
                  </a:lnTo>
                  <a:lnTo>
                    <a:pt x="184" y="12"/>
                  </a:lnTo>
                  <a:lnTo>
                    <a:pt x="188" y="16"/>
                  </a:lnTo>
                  <a:lnTo>
                    <a:pt x="195" y="24"/>
                  </a:lnTo>
                  <a:lnTo>
                    <a:pt x="200" y="32"/>
                  </a:lnTo>
                  <a:lnTo>
                    <a:pt x="204" y="42"/>
                  </a:lnTo>
                  <a:lnTo>
                    <a:pt x="209" y="48"/>
                  </a:lnTo>
                  <a:lnTo>
                    <a:pt x="212" y="51"/>
                  </a:lnTo>
                  <a:lnTo>
                    <a:pt x="215" y="54"/>
                  </a:lnTo>
                  <a:lnTo>
                    <a:pt x="219" y="56"/>
                  </a:lnTo>
                  <a:lnTo>
                    <a:pt x="223" y="58"/>
                  </a:lnTo>
                  <a:lnTo>
                    <a:pt x="256" y="67"/>
                  </a:lnTo>
                  <a:lnTo>
                    <a:pt x="283" y="72"/>
                  </a:lnTo>
                  <a:lnTo>
                    <a:pt x="307" y="75"/>
                  </a:lnTo>
                  <a:lnTo>
                    <a:pt x="328" y="76"/>
                  </a:lnTo>
                  <a:lnTo>
                    <a:pt x="349" y="78"/>
                  </a:lnTo>
                  <a:lnTo>
                    <a:pt x="371" y="80"/>
                  </a:lnTo>
                  <a:lnTo>
                    <a:pt x="383" y="82"/>
                  </a:lnTo>
                  <a:lnTo>
                    <a:pt x="395" y="84"/>
                  </a:lnTo>
                  <a:lnTo>
                    <a:pt x="407" y="88"/>
                  </a:lnTo>
                  <a:lnTo>
                    <a:pt x="421" y="94"/>
                  </a:lnTo>
                  <a:lnTo>
                    <a:pt x="429" y="99"/>
                  </a:lnTo>
                  <a:lnTo>
                    <a:pt x="436" y="106"/>
                  </a:lnTo>
                  <a:lnTo>
                    <a:pt x="443" y="112"/>
                  </a:lnTo>
                  <a:lnTo>
                    <a:pt x="448" y="119"/>
                  </a:lnTo>
                  <a:lnTo>
                    <a:pt x="455" y="126"/>
                  </a:lnTo>
                  <a:lnTo>
                    <a:pt x="460" y="131"/>
                  </a:lnTo>
                  <a:lnTo>
                    <a:pt x="467" y="135"/>
                  </a:lnTo>
                  <a:lnTo>
                    <a:pt x="476" y="136"/>
                  </a:lnTo>
                  <a:lnTo>
                    <a:pt x="488" y="135"/>
                  </a:lnTo>
                  <a:lnTo>
                    <a:pt x="500" y="134"/>
                  </a:lnTo>
                  <a:lnTo>
                    <a:pt x="511" y="131"/>
                  </a:lnTo>
                  <a:lnTo>
                    <a:pt x="521" y="127"/>
                  </a:lnTo>
                  <a:lnTo>
                    <a:pt x="542" y="116"/>
                  </a:lnTo>
                  <a:lnTo>
                    <a:pt x="562" y="106"/>
                  </a:lnTo>
                  <a:lnTo>
                    <a:pt x="581" y="95"/>
                  </a:lnTo>
                  <a:lnTo>
                    <a:pt x="598" y="86"/>
                  </a:lnTo>
                  <a:lnTo>
                    <a:pt x="608" y="82"/>
                  </a:lnTo>
                  <a:lnTo>
                    <a:pt x="616" y="79"/>
                  </a:lnTo>
                  <a:lnTo>
                    <a:pt x="624" y="76"/>
                  </a:lnTo>
                  <a:lnTo>
                    <a:pt x="632" y="76"/>
                  </a:lnTo>
                  <a:lnTo>
                    <a:pt x="644" y="76"/>
                  </a:lnTo>
                  <a:lnTo>
                    <a:pt x="654" y="80"/>
                  </a:lnTo>
                  <a:lnTo>
                    <a:pt x="664" y="84"/>
                  </a:lnTo>
                  <a:lnTo>
                    <a:pt x="670" y="90"/>
                  </a:lnTo>
                  <a:lnTo>
                    <a:pt x="676" y="96"/>
                  </a:lnTo>
                  <a:lnTo>
                    <a:pt x="681" y="104"/>
                  </a:lnTo>
                  <a:lnTo>
                    <a:pt x="685" y="112"/>
                  </a:lnTo>
                  <a:lnTo>
                    <a:pt x="688" y="120"/>
                  </a:lnTo>
                  <a:lnTo>
                    <a:pt x="693" y="138"/>
                  </a:lnTo>
                  <a:lnTo>
                    <a:pt x="698" y="152"/>
                  </a:lnTo>
                  <a:lnTo>
                    <a:pt x="701" y="158"/>
                  </a:lnTo>
                  <a:lnTo>
                    <a:pt x="705" y="162"/>
                  </a:lnTo>
                  <a:lnTo>
                    <a:pt x="710" y="166"/>
                  </a:lnTo>
                  <a:lnTo>
                    <a:pt x="716" y="166"/>
                  </a:lnTo>
                  <a:lnTo>
                    <a:pt x="721" y="166"/>
                  </a:lnTo>
                  <a:lnTo>
                    <a:pt x="726" y="163"/>
                  </a:lnTo>
                  <a:lnTo>
                    <a:pt x="732" y="160"/>
                  </a:lnTo>
                  <a:lnTo>
                    <a:pt x="737" y="158"/>
                  </a:lnTo>
                  <a:lnTo>
                    <a:pt x="748" y="151"/>
                  </a:lnTo>
                  <a:lnTo>
                    <a:pt x="758" y="148"/>
                  </a:lnTo>
                  <a:lnTo>
                    <a:pt x="761" y="156"/>
                  </a:lnTo>
                  <a:lnTo>
                    <a:pt x="764" y="164"/>
                  </a:lnTo>
                  <a:lnTo>
                    <a:pt x="768" y="172"/>
                  </a:lnTo>
                  <a:lnTo>
                    <a:pt x="772" y="177"/>
                  </a:lnTo>
                  <a:lnTo>
                    <a:pt x="777" y="183"/>
                  </a:lnTo>
                  <a:lnTo>
                    <a:pt x="782" y="187"/>
                  </a:lnTo>
                  <a:lnTo>
                    <a:pt x="788" y="189"/>
                  </a:lnTo>
                  <a:lnTo>
                    <a:pt x="794" y="189"/>
                  </a:lnTo>
                  <a:lnTo>
                    <a:pt x="809" y="181"/>
                  </a:lnTo>
                  <a:lnTo>
                    <a:pt x="825" y="172"/>
                  </a:lnTo>
                  <a:lnTo>
                    <a:pt x="830" y="172"/>
                  </a:lnTo>
                  <a:lnTo>
                    <a:pt x="836" y="173"/>
                  </a:lnTo>
                  <a:lnTo>
                    <a:pt x="841" y="176"/>
                  </a:lnTo>
                  <a:lnTo>
                    <a:pt x="846" y="180"/>
                  </a:lnTo>
                  <a:lnTo>
                    <a:pt x="857" y="187"/>
                  </a:lnTo>
                  <a:lnTo>
                    <a:pt x="869" y="196"/>
                  </a:lnTo>
                  <a:lnTo>
                    <a:pt x="881" y="205"/>
                  </a:lnTo>
                  <a:lnTo>
                    <a:pt x="894" y="212"/>
                  </a:lnTo>
                  <a:lnTo>
                    <a:pt x="902" y="216"/>
                  </a:lnTo>
                  <a:lnTo>
                    <a:pt x="910" y="217"/>
                  </a:lnTo>
                  <a:lnTo>
                    <a:pt x="918" y="220"/>
                  </a:lnTo>
                  <a:lnTo>
                    <a:pt x="926" y="220"/>
                  </a:lnTo>
                  <a:lnTo>
                    <a:pt x="933" y="232"/>
                  </a:lnTo>
                  <a:lnTo>
                    <a:pt x="933" y="239"/>
                  </a:lnTo>
                  <a:lnTo>
                    <a:pt x="934" y="244"/>
                  </a:lnTo>
                  <a:lnTo>
                    <a:pt x="936" y="249"/>
                  </a:lnTo>
                  <a:lnTo>
                    <a:pt x="937" y="253"/>
                  </a:lnTo>
                  <a:lnTo>
                    <a:pt x="940" y="257"/>
                  </a:lnTo>
                  <a:lnTo>
                    <a:pt x="944" y="260"/>
                  </a:lnTo>
                  <a:lnTo>
                    <a:pt x="946" y="261"/>
                  </a:lnTo>
                  <a:lnTo>
                    <a:pt x="952" y="263"/>
                  </a:lnTo>
                  <a:lnTo>
                    <a:pt x="961" y="261"/>
                  </a:lnTo>
                  <a:lnTo>
                    <a:pt x="970" y="257"/>
                  </a:lnTo>
                  <a:lnTo>
                    <a:pt x="978" y="253"/>
                  </a:lnTo>
                  <a:lnTo>
                    <a:pt x="986" y="247"/>
                  </a:lnTo>
                  <a:lnTo>
                    <a:pt x="993" y="241"/>
                  </a:lnTo>
                  <a:lnTo>
                    <a:pt x="1001" y="237"/>
                  </a:lnTo>
                  <a:lnTo>
                    <a:pt x="1009" y="233"/>
                  </a:lnTo>
                  <a:lnTo>
                    <a:pt x="1017" y="232"/>
                  </a:lnTo>
                  <a:lnTo>
                    <a:pt x="1025" y="233"/>
                  </a:lnTo>
                  <a:lnTo>
                    <a:pt x="1030" y="235"/>
                  </a:lnTo>
                  <a:lnTo>
                    <a:pt x="1036" y="239"/>
                  </a:lnTo>
                  <a:lnTo>
                    <a:pt x="1038" y="243"/>
                  </a:lnTo>
                  <a:lnTo>
                    <a:pt x="1042" y="248"/>
                  </a:lnTo>
                  <a:lnTo>
                    <a:pt x="1044" y="255"/>
                  </a:lnTo>
                  <a:lnTo>
                    <a:pt x="1045" y="261"/>
                  </a:lnTo>
                  <a:lnTo>
                    <a:pt x="1046" y="269"/>
                  </a:lnTo>
                  <a:lnTo>
                    <a:pt x="1046" y="301"/>
                  </a:lnTo>
                  <a:lnTo>
                    <a:pt x="1048" y="328"/>
                  </a:lnTo>
                  <a:lnTo>
                    <a:pt x="1049" y="337"/>
                  </a:lnTo>
                  <a:lnTo>
                    <a:pt x="1052" y="345"/>
                  </a:lnTo>
                  <a:lnTo>
                    <a:pt x="1053" y="348"/>
                  </a:lnTo>
                  <a:lnTo>
                    <a:pt x="1056" y="351"/>
                  </a:lnTo>
                  <a:lnTo>
                    <a:pt x="1057" y="352"/>
                  </a:lnTo>
                  <a:lnTo>
                    <a:pt x="1060" y="352"/>
                  </a:lnTo>
                  <a:lnTo>
                    <a:pt x="1050" y="360"/>
                  </a:lnTo>
                  <a:lnTo>
                    <a:pt x="1042" y="367"/>
                  </a:lnTo>
                  <a:lnTo>
                    <a:pt x="1034" y="369"/>
                  </a:lnTo>
                  <a:lnTo>
                    <a:pt x="1029" y="371"/>
                  </a:lnTo>
                  <a:lnTo>
                    <a:pt x="1016" y="371"/>
                  </a:lnTo>
                  <a:lnTo>
                    <a:pt x="1002" y="371"/>
                  </a:lnTo>
                  <a:lnTo>
                    <a:pt x="992" y="371"/>
                  </a:lnTo>
                  <a:lnTo>
                    <a:pt x="981" y="371"/>
                  </a:lnTo>
                  <a:lnTo>
                    <a:pt x="981" y="385"/>
                  </a:lnTo>
                  <a:lnTo>
                    <a:pt x="978" y="397"/>
                  </a:lnTo>
                  <a:lnTo>
                    <a:pt x="976" y="408"/>
                  </a:lnTo>
                  <a:lnTo>
                    <a:pt x="972" y="417"/>
                  </a:lnTo>
                  <a:lnTo>
                    <a:pt x="968" y="425"/>
                  </a:lnTo>
                  <a:lnTo>
                    <a:pt x="962" y="432"/>
                  </a:lnTo>
                  <a:lnTo>
                    <a:pt x="957" y="437"/>
                  </a:lnTo>
                  <a:lnTo>
                    <a:pt x="952" y="443"/>
                  </a:lnTo>
                  <a:lnTo>
                    <a:pt x="940" y="453"/>
                  </a:lnTo>
                  <a:lnTo>
                    <a:pt x="930" y="464"/>
                  </a:lnTo>
                  <a:lnTo>
                    <a:pt x="926" y="471"/>
                  </a:lnTo>
                  <a:lnTo>
                    <a:pt x="924" y="477"/>
                  </a:lnTo>
                  <a:lnTo>
                    <a:pt x="921" y="487"/>
                  </a:lnTo>
                  <a:lnTo>
                    <a:pt x="921" y="497"/>
                  </a:lnTo>
                  <a:lnTo>
                    <a:pt x="922" y="508"/>
                  </a:lnTo>
                  <a:lnTo>
                    <a:pt x="924" y="516"/>
                  </a:lnTo>
                  <a:lnTo>
                    <a:pt x="928" y="524"/>
                  </a:lnTo>
                  <a:lnTo>
                    <a:pt x="933" y="529"/>
                  </a:lnTo>
                  <a:lnTo>
                    <a:pt x="940" y="533"/>
                  </a:lnTo>
                  <a:lnTo>
                    <a:pt x="946" y="537"/>
                  </a:lnTo>
                  <a:lnTo>
                    <a:pt x="954" y="539"/>
                  </a:lnTo>
                  <a:lnTo>
                    <a:pt x="964" y="539"/>
                  </a:lnTo>
                  <a:lnTo>
                    <a:pt x="964" y="559"/>
                  </a:lnTo>
                  <a:lnTo>
                    <a:pt x="964" y="569"/>
                  </a:lnTo>
                  <a:lnTo>
                    <a:pt x="962" y="583"/>
                  </a:lnTo>
                  <a:lnTo>
                    <a:pt x="958" y="593"/>
                  </a:lnTo>
                  <a:lnTo>
                    <a:pt x="953" y="604"/>
                  </a:lnTo>
                  <a:lnTo>
                    <a:pt x="946" y="613"/>
                  </a:lnTo>
                  <a:lnTo>
                    <a:pt x="937" y="623"/>
                  </a:lnTo>
                  <a:lnTo>
                    <a:pt x="928" y="631"/>
                  </a:lnTo>
                  <a:lnTo>
                    <a:pt x="917" y="637"/>
                  </a:lnTo>
                  <a:lnTo>
                    <a:pt x="906" y="645"/>
                  </a:lnTo>
                  <a:lnTo>
                    <a:pt x="884" y="661"/>
                  </a:lnTo>
                  <a:lnTo>
                    <a:pt x="861" y="679"/>
                  </a:lnTo>
                  <a:lnTo>
                    <a:pt x="852" y="689"/>
                  </a:lnTo>
                  <a:lnTo>
                    <a:pt x="844" y="700"/>
                  </a:lnTo>
                  <a:lnTo>
                    <a:pt x="836" y="712"/>
                  </a:lnTo>
                  <a:lnTo>
                    <a:pt x="830" y="727"/>
                  </a:lnTo>
                  <a:lnTo>
                    <a:pt x="824" y="711"/>
                  </a:lnTo>
                  <a:lnTo>
                    <a:pt x="817" y="695"/>
                  </a:lnTo>
                  <a:lnTo>
                    <a:pt x="809" y="681"/>
                  </a:lnTo>
                  <a:lnTo>
                    <a:pt x="801" y="668"/>
                  </a:lnTo>
                  <a:lnTo>
                    <a:pt x="796" y="663"/>
                  </a:lnTo>
                  <a:lnTo>
                    <a:pt x="789" y="657"/>
                  </a:lnTo>
                  <a:lnTo>
                    <a:pt x="782" y="653"/>
                  </a:lnTo>
                  <a:lnTo>
                    <a:pt x="774" y="649"/>
                  </a:lnTo>
                  <a:lnTo>
                    <a:pt x="766" y="645"/>
                  </a:lnTo>
                  <a:lnTo>
                    <a:pt x="757" y="644"/>
                  </a:lnTo>
                  <a:lnTo>
                    <a:pt x="746" y="643"/>
                  </a:lnTo>
                  <a:lnTo>
                    <a:pt x="734" y="641"/>
                  </a:lnTo>
                  <a:lnTo>
                    <a:pt x="725" y="643"/>
                  </a:lnTo>
                  <a:lnTo>
                    <a:pt x="717" y="645"/>
                  </a:lnTo>
                  <a:lnTo>
                    <a:pt x="709" y="649"/>
                  </a:lnTo>
                  <a:lnTo>
                    <a:pt x="702" y="653"/>
                  </a:lnTo>
                  <a:lnTo>
                    <a:pt x="694" y="659"/>
                  </a:lnTo>
                  <a:lnTo>
                    <a:pt x="688" y="663"/>
                  </a:lnTo>
                  <a:lnTo>
                    <a:pt x="681" y="665"/>
                  </a:lnTo>
                  <a:lnTo>
                    <a:pt x="674" y="665"/>
                  </a:lnTo>
                  <a:lnTo>
                    <a:pt x="666" y="665"/>
                  </a:lnTo>
                  <a:lnTo>
                    <a:pt x="660" y="661"/>
                  </a:lnTo>
                  <a:lnTo>
                    <a:pt x="654" y="657"/>
                  </a:lnTo>
                  <a:lnTo>
                    <a:pt x="650" y="652"/>
                  </a:lnTo>
                  <a:lnTo>
                    <a:pt x="646" y="647"/>
                  </a:lnTo>
                  <a:lnTo>
                    <a:pt x="642" y="640"/>
                  </a:lnTo>
                  <a:lnTo>
                    <a:pt x="638" y="635"/>
                  </a:lnTo>
                  <a:lnTo>
                    <a:pt x="632" y="629"/>
                  </a:lnTo>
                  <a:lnTo>
                    <a:pt x="620" y="624"/>
                  </a:lnTo>
                  <a:lnTo>
                    <a:pt x="609" y="620"/>
                  </a:lnTo>
                  <a:lnTo>
                    <a:pt x="598" y="617"/>
                  </a:lnTo>
                  <a:lnTo>
                    <a:pt x="589" y="615"/>
                  </a:lnTo>
                  <a:lnTo>
                    <a:pt x="573" y="612"/>
                  </a:lnTo>
                  <a:lnTo>
                    <a:pt x="558" y="609"/>
                  </a:lnTo>
                  <a:lnTo>
                    <a:pt x="553" y="607"/>
                  </a:lnTo>
                  <a:lnTo>
                    <a:pt x="546" y="604"/>
                  </a:lnTo>
                  <a:lnTo>
                    <a:pt x="541" y="599"/>
                  </a:lnTo>
                  <a:lnTo>
                    <a:pt x="536" y="592"/>
                  </a:lnTo>
                  <a:lnTo>
                    <a:pt x="532" y="583"/>
                  </a:lnTo>
                  <a:lnTo>
                    <a:pt x="526" y="571"/>
                  </a:lnTo>
                  <a:lnTo>
                    <a:pt x="522" y="557"/>
                  </a:lnTo>
                  <a:lnTo>
                    <a:pt x="517" y="539"/>
                  </a:lnTo>
                  <a:lnTo>
                    <a:pt x="509" y="543"/>
                  </a:lnTo>
                  <a:lnTo>
                    <a:pt x="503" y="548"/>
                  </a:lnTo>
                  <a:lnTo>
                    <a:pt x="496" y="553"/>
                  </a:lnTo>
                  <a:lnTo>
                    <a:pt x="491" y="560"/>
                  </a:lnTo>
                  <a:lnTo>
                    <a:pt x="487" y="565"/>
                  </a:lnTo>
                  <a:lnTo>
                    <a:pt x="481" y="571"/>
                  </a:lnTo>
                  <a:lnTo>
                    <a:pt x="476" y="575"/>
                  </a:lnTo>
                  <a:lnTo>
                    <a:pt x="469" y="576"/>
                  </a:lnTo>
                  <a:lnTo>
                    <a:pt x="456" y="576"/>
                  </a:lnTo>
                  <a:lnTo>
                    <a:pt x="443" y="576"/>
                  </a:lnTo>
                  <a:lnTo>
                    <a:pt x="429" y="576"/>
                  </a:lnTo>
                  <a:lnTo>
                    <a:pt x="415" y="576"/>
                  </a:lnTo>
                  <a:lnTo>
                    <a:pt x="407" y="575"/>
                  </a:lnTo>
                  <a:lnTo>
                    <a:pt x="400" y="575"/>
                  </a:lnTo>
                  <a:lnTo>
                    <a:pt x="393" y="572"/>
                  </a:lnTo>
                  <a:lnTo>
                    <a:pt x="387" y="571"/>
                  </a:lnTo>
                  <a:lnTo>
                    <a:pt x="376" y="564"/>
                  </a:lnTo>
                  <a:lnTo>
                    <a:pt x="367" y="556"/>
                  </a:lnTo>
                  <a:lnTo>
                    <a:pt x="360" y="547"/>
                  </a:lnTo>
                  <a:lnTo>
                    <a:pt x="353" y="536"/>
                  </a:lnTo>
                  <a:lnTo>
                    <a:pt x="347" y="524"/>
                  </a:lnTo>
                  <a:lnTo>
                    <a:pt x="341" y="512"/>
                  </a:lnTo>
                  <a:lnTo>
                    <a:pt x="336" y="500"/>
                  </a:lnTo>
                  <a:lnTo>
                    <a:pt x="329" y="489"/>
                  </a:lnTo>
                  <a:lnTo>
                    <a:pt x="323" y="479"/>
                  </a:lnTo>
                  <a:lnTo>
                    <a:pt x="313" y="469"/>
                  </a:lnTo>
                  <a:lnTo>
                    <a:pt x="309" y="464"/>
                  </a:lnTo>
                  <a:lnTo>
                    <a:pt x="303" y="460"/>
                  </a:lnTo>
                  <a:lnTo>
                    <a:pt x="297" y="457"/>
                  </a:lnTo>
                  <a:lnTo>
                    <a:pt x="291" y="455"/>
                  </a:lnTo>
                  <a:lnTo>
                    <a:pt x="284" y="452"/>
                  </a:lnTo>
                  <a:lnTo>
                    <a:pt x="276" y="451"/>
                  </a:lnTo>
                  <a:lnTo>
                    <a:pt x="268" y="449"/>
                  </a:lnTo>
                  <a:lnTo>
                    <a:pt x="259" y="449"/>
                  </a:lnTo>
                  <a:lnTo>
                    <a:pt x="252" y="449"/>
                  </a:lnTo>
                  <a:lnTo>
                    <a:pt x="241" y="449"/>
                  </a:lnTo>
                  <a:lnTo>
                    <a:pt x="227" y="449"/>
                  </a:lnTo>
                  <a:lnTo>
                    <a:pt x="211" y="449"/>
                  </a:lnTo>
                  <a:lnTo>
                    <a:pt x="201" y="448"/>
                  </a:lnTo>
                  <a:lnTo>
                    <a:pt x="191" y="447"/>
                  </a:lnTo>
                  <a:lnTo>
                    <a:pt x="181" y="444"/>
                  </a:lnTo>
                  <a:lnTo>
                    <a:pt x="172" y="440"/>
                  </a:lnTo>
                  <a:lnTo>
                    <a:pt x="163" y="435"/>
                  </a:lnTo>
                  <a:lnTo>
                    <a:pt x="153" y="429"/>
                  </a:lnTo>
                  <a:lnTo>
                    <a:pt x="144" y="423"/>
                  </a:lnTo>
                  <a:lnTo>
                    <a:pt x="135" y="415"/>
                  </a:lnTo>
                  <a:lnTo>
                    <a:pt x="116" y="399"/>
                  </a:lnTo>
                  <a:lnTo>
                    <a:pt x="99" y="380"/>
                  </a:lnTo>
                  <a:lnTo>
                    <a:pt x="83" y="361"/>
                  </a:lnTo>
                  <a:lnTo>
                    <a:pt x="67" y="340"/>
                  </a:lnTo>
                  <a:lnTo>
                    <a:pt x="39" y="301"/>
                  </a:lnTo>
                  <a:lnTo>
                    <a:pt x="19" y="265"/>
                  </a:lnTo>
                  <a:lnTo>
                    <a:pt x="4" y="241"/>
                  </a:lnTo>
                  <a:lnTo>
                    <a:pt x="0" y="23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2" name="Freeform 58"/>
            <p:cNvSpPr>
              <a:spLocks/>
            </p:cNvSpPr>
            <p:nvPr/>
          </p:nvSpPr>
          <p:spPr bwMode="auto">
            <a:xfrm>
              <a:off x="852809" y="3783013"/>
              <a:ext cx="349250" cy="280987"/>
            </a:xfrm>
            <a:custGeom>
              <a:avLst/>
              <a:gdLst/>
              <a:ahLst/>
              <a:cxnLst>
                <a:cxn ang="0">
                  <a:pos x="320" y="27"/>
                </a:cxn>
                <a:cxn ang="0">
                  <a:pos x="308" y="11"/>
                </a:cxn>
                <a:cxn ang="0">
                  <a:pos x="296" y="0"/>
                </a:cxn>
                <a:cxn ang="0">
                  <a:pos x="260" y="30"/>
                </a:cxn>
                <a:cxn ang="0">
                  <a:pos x="241" y="47"/>
                </a:cxn>
                <a:cxn ang="0">
                  <a:pos x="197" y="66"/>
                </a:cxn>
                <a:cxn ang="0">
                  <a:pos x="183" y="86"/>
                </a:cxn>
                <a:cxn ang="0">
                  <a:pos x="164" y="123"/>
                </a:cxn>
                <a:cxn ang="0">
                  <a:pos x="143" y="140"/>
                </a:cxn>
                <a:cxn ang="0">
                  <a:pos x="107" y="151"/>
                </a:cxn>
                <a:cxn ang="0">
                  <a:pos x="80" y="196"/>
                </a:cxn>
                <a:cxn ang="0">
                  <a:pos x="59" y="270"/>
                </a:cxn>
                <a:cxn ang="0">
                  <a:pos x="48" y="331"/>
                </a:cxn>
                <a:cxn ang="0">
                  <a:pos x="56" y="358"/>
                </a:cxn>
                <a:cxn ang="0">
                  <a:pos x="55" y="387"/>
                </a:cxn>
                <a:cxn ang="0">
                  <a:pos x="35" y="398"/>
                </a:cxn>
                <a:cxn ang="0">
                  <a:pos x="0" y="399"/>
                </a:cxn>
                <a:cxn ang="0">
                  <a:pos x="6" y="419"/>
                </a:cxn>
                <a:cxn ang="0">
                  <a:pos x="24" y="444"/>
                </a:cxn>
                <a:cxn ang="0">
                  <a:pos x="44" y="472"/>
                </a:cxn>
                <a:cxn ang="0">
                  <a:pos x="48" y="495"/>
                </a:cxn>
                <a:cxn ang="0">
                  <a:pos x="39" y="531"/>
                </a:cxn>
                <a:cxn ang="0">
                  <a:pos x="38" y="555"/>
                </a:cxn>
                <a:cxn ang="0">
                  <a:pos x="44" y="565"/>
                </a:cxn>
                <a:cxn ang="0">
                  <a:pos x="55" y="572"/>
                </a:cxn>
                <a:cxn ang="0">
                  <a:pos x="116" y="572"/>
                </a:cxn>
                <a:cxn ang="0">
                  <a:pos x="171" y="561"/>
                </a:cxn>
                <a:cxn ang="0">
                  <a:pos x="223" y="543"/>
                </a:cxn>
                <a:cxn ang="0">
                  <a:pos x="299" y="504"/>
                </a:cxn>
                <a:cxn ang="0">
                  <a:pos x="361" y="506"/>
                </a:cxn>
                <a:cxn ang="0">
                  <a:pos x="383" y="546"/>
                </a:cxn>
                <a:cxn ang="0">
                  <a:pos x="405" y="556"/>
                </a:cxn>
                <a:cxn ang="0">
                  <a:pos x="421" y="543"/>
                </a:cxn>
                <a:cxn ang="0">
                  <a:pos x="443" y="560"/>
                </a:cxn>
                <a:cxn ang="0">
                  <a:pos x="459" y="575"/>
                </a:cxn>
                <a:cxn ang="0">
                  <a:pos x="480" y="577"/>
                </a:cxn>
                <a:cxn ang="0">
                  <a:pos x="493" y="567"/>
                </a:cxn>
                <a:cxn ang="0">
                  <a:pos x="505" y="552"/>
                </a:cxn>
                <a:cxn ang="0">
                  <a:pos x="556" y="538"/>
                </a:cxn>
                <a:cxn ang="0">
                  <a:pos x="603" y="514"/>
                </a:cxn>
                <a:cxn ang="0">
                  <a:pos x="636" y="482"/>
                </a:cxn>
                <a:cxn ang="0">
                  <a:pos x="684" y="415"/>
                </a:cxn>
                <a:cxn ang="0">
                  <a:pos x="723" y="368"/>
                </a:cxn>
                <a:cxn ang="0">
                  <a:pos x="696" y="348"/>
                </a:cxn>
                <a:cxn ang="0">
                  <a:pos x="668" y="299"/>
                </a:cxn>
                <a:cxn ang="0">
                  <a:pos x="649" y="271"/>
                </a:cxn>
                <a:cxn ang="0">
                  <a:pos x="620" y="252"/>
                </a:cxn>
                <a:cxn ang="0">
                  <a:pos x="584" y="248"/>
                </a:cxn>
                <a:cxn ang="0">
                  <a:pos x="543" y="248"/>
                </a:cxn>
                <a:cxn ang="0">
                  <a:pos x="515" y="243"/>
                </a:cxn>
                <a:cxn ang="0">
                  <a:pos x="489" y="231"/>
                </a:cxn>
                <a:cxn ang="0">
                  <a:pos x="459" y="206"/>
                </a:cxn>
                <a:cxn ang="0">
                  <a:pos x="417" y="154"/>
                </a:cxn>
                <a:cxn ang="0">
                  <a:pos x="356" y="60"/>
                </a:cxn>
                <a:cxn ang="0">
                  <a:pos x="320" y="19"/>
                </a:cxn>
              </a:cxnLst>
              <a:rect l="0" t="0" r="r" b="b"/>
              <a:pathLst>
                <a:path w="723" h="579">
                  <a:moveTo>
                    <a:pt x="332" y="31"/>
                  </a:moveTo>
                  <a:lnTo>
                    <a:pt x="325" y="30"/>
                  </a:lnTo>
                  <a:lnTo>
                    <a:pt x="320" y="27"/>
                  </a:lnTo>
                  <a:lnTo>
                    <a:pt x="316" y="22"/>
                  </a:lnTo>
                  <a:lnTo>
                    <a:pt x="311" y="16"/>
                  </a:lnTo>
                  <a:lnTo>
                    <a:pt x="308" y="11"/>
                  </a:lnTo>
                  <a:lnTo>
                    <a:pt x="304" y="6"/>
                  </a:lnTo>
                  <a:lnTo>
                    <a:pt x="300" y="2"/>
                  </a:lnTo>
                  <a:lnTo>
                    <a:pt x="296" y="0"/>
                  </a:lnTo>
                  <a:lnTo>
                    <a:pt x="280" y="10"/>
                  </a:lnTo>
                  <a:lnTo>
                    <a:pt x="265" y="19"/>
                  </a:lnTo>
                  <a:lnTo>
                    <a:pt x="260" y="30"/>
                  </a:lnTo>
                  <a:lnTo>
                    <a:pt x="255" y="36"/>
                  </a:lnTo>
                  <a:lnTo>
                    <a:pt x="249" y="43"/>
                  </a:lnTo>
                  <a:lnTo>
                    <a:pt x="241" y="47"/>
                  </a:lnTo>
                  <a:lnTo>
                    <a:pt x="225" y="54"/>
                  </a:lnTo>
                  <a:lnTo>
                    <a:pt x="205" y="62"/>
                  </a:lnTo>
                  <a:lnTo>
                    <a:pt x="197" y="66"/>
                  </a:lnTo>
                  <a:lnTo>
                    <a:pt x="192" y="72"/>
                  </a:lnTo>
                  <a:lnTo>
                    <a:pt x="187" y="79"/>
                  </a:lnTo>
                  <a:lnTo>
                    <a:pt x="183" y="86"/>
                  </a:lnTo>
                  <a:lnTo>
                    <a:pt x="176" y="100"/>
                  </a:lnTo>
                  <a:lnTo>
                    <a:pt x="168" y="115"/>
                  </a:lnTo>
                  <a:lnTo>
                    <a:pt x="164" y="123"/>
                  </a:lnTo>
                  <a:lnTo>
                    <a:pt x="159" y="130"/>
                  </a:lnTo>
                  <a:lnTo>
                    <a:pt x="152" y="135"/>
                  </a:lnTo>
                  <a:lnTo>
                    <a:pt x="143" y="140"/>
                  </a:lnTo>
                  <a:lnTo>
                    <a:pt x="133" y="146"/>
                  </a:lnTo>
                  <a:lnTo>
                    <a:pt x="121" y="148"/>
                  </a:lnTo>
                  <a:lnTo>
                    <a:pt x="107" y="151"/>
                  </a:lnTo>
                  <a:lnTo>
                    <a:pt x="91" y="151"/>
                  </a:lnTo>
                  <a:lnTo>
                    <a:pt x="85" y="175"/>
                  </a:lnTo>
                  <a:lnTo>
                    <a:pt x="80" y="196"/>
                  </a:lnTo>
                  <a:lnTo>
                    <a:pt x="75" y="216"/>
                  </a:lnTo>
                  <a:lnTo>
                    <a:pt x="70" y="235"/>
                  </a:lnTo>
                  <a:lnTo>
                    <a:pt x="59" y="270"/>
                  </a:lnTo>
                  <a:lnTo>
                    <a:pt x="48" y="308"/>
                  </a:lnTo>
                  <a:lnTo>
                    <a:pt x="48" y="320"/>
                  </a:lnTo>
                  <a:lnTo>
                    <a:pt x="48" y="331"/>
                  </a:lnTo>
                  <a:lnTo>
                    <a:pt x="51" y="340"/>
                  </a:lnTo>
                  <a:lnTo>
                    <a:pt x="54" y="350"/>
                  </a:lnTo>
                  <a:lnTo>
                    <a:pt x="56" y="358"/>
                  </a:lnTo>
                  <a:lnTo>
                    <a:pt x="58" y="367"/>
                  </a:lnTo>
                  <a:lnTo>
                    <a:pt x="58" y="376"/>
                  </a:lnTo>
                  <a:lnTo>
                    <a:pt x="55" y="387"/>
                  </a:lnTo>
                  <a:lnTo>
                    <a:pt x="50" y="392"/>
                  </a:lnTo>
                  <a:lnTo>
                    <a:pt x="43" y="396"/>
                  </a:lnTo>
                  <a:lnTo>
                    <a:pt x="35" y="398"/>
                  </a:lnTo>
                  <a:lnTo>
                    <a:pt x="28" y="399"/>
                  </a:lnTo>
                  <a:lnTo>
                    <a:pt x="12" y="399"/>
                  </a:lnTo>
                  <a:lnTo>
                    <a:pt x="0" y="399"/>
                  </a:lnTo>
                  <a:lnTo>
                    <a:pt x="2" y="406"/>
                  </a:lnTo>
                  <a:lnTo>
                    <a:pt x="3" y="412"/>
                  </a:lnTo>
                  <a:lnTo>
                    <a:pt x="6" y="419"/>
                  </a:lnTo>
                  <a:lnTo>
                    <a:pt x="8" y="424"/>
                  </a:lnTo>
                  <a:lnTo>
                    <a:pt x="16" y="435"/>
                  </a:lnTo>
                  <a:lnTo>
                    <a:pt x="24" y="444"/>
                  </a:lnTo>
                  <a:lnTo>
                    <a:pt x="34" y="455"/>
                  </a:lnTo>
                  <a:lnTo>
                    <a:pt x="42" y="466"/>
                  </a:lnTo>
                  <a:lnTo>
                    <a:pt x="44" y="472"/>
                  </a:lnTo>
                  <a:lnTo>
                    <a:pt x="47" y="479"/>
                  </a:lnTo>
                  <a:lnTo>
                    <a:pt x="48" y="487"/>
                  </a:lnTo>
                  <a:lnTo>
                    <a:pt x="48" y="495"/>
                  </a:lnTo>
                  <a:lnTo>
                    <a:pt x="47" y="507"/>
                  </a:lnTo>
                  <a:lnTo>
                    <a:pt x="43" y="519"/>
                  </a:lnTo>
                  <a:lnTo>
                    <a:pt x="39" y="531"/>
                  </a:lnTo>
                  <a:lnTo>
                    <a:pt x="36" y="543"/>
                  </a:lnTo>
                  <a:lnTo>
                    <a:pt x="38" y="550"/>
                  </a:lnTo>
                  <a:lnTo>
                    <a:pt x="38" y="555"/>
                  </a:lnTo>
                  <a:lnTo>
                    <a:pt x="40" y="559"/>
                  </a:lnTo>
                  <a:lnTo>
                    <a:pt x="42" y="563"/>
                  </a:lnTo>
                  <a:lnTo>
                    <a:pt x="44" y="565"/>
                  </a:lnTo>
                  <a:lnTo>
                    <a:pt x="48" y="568"/>
                  </a:lnTo>
                  <a:lnTo>
                    <a:pt x="51" y="571"/>
                  </a:lnTo>
                  <a:lnTo>
                    <a:pt x="55" y="572"/>
                  </a:lnTo>
                  <a:lnTo>
                    <a:pt x="75" y="573"/>
                  </a:lnTo>
                  <a:lnTo>
                    <a:pt x="96" y="573"/>
                  </a:lnTo>
                  <a:lnTo>
                    <a:pt x="116" y="572"/>
                  </a:lnTo>
                  <a:lnTo>
                    <a:pt x="135" y="569"/>
                  </a:lnTo>
                  <a:lnTo>
                    <a:pt x="153" y="567"/>
                  </a:lnTo>
                  <a:lnTo>
                    <a:pt x="171" y="561"/>
                  </a:lnTo>
                  <a:lnTo>
                    <a:pt x="188" y="556"/>
                  </a:lnTo>
                  <a:lnTo>
                    <a:pt x="205" y="550"/>
                  </a:lnTo>
                  <a:lnTo>
                    <a:pt x="223" y="543"/>
                  </a:lnTo>
                  <a:lnTo>
                    <a:pt x="239" y="535"/>
                  </a:lnTo>
                  <a:lnTo>
                    <a:pt x="271" y="519"/>
                  </a:lnTo>
                  <a:lnTo>
                    <a:pt x="299" y="504"/>
                  </a:lnTo>
                  <a:lnTo>
                    <a:pt x="325" y="492"/>
                  </a:lnTo>
                  <a:lnTo>
                    <a:pt x="349" y="483"/>
                  </a:lnTo>
                  <a:lnTo>
                    <a:pt x="361" y="506"/>
                  </a:lnTo>
                  <a:lnTo>
                    <a:pt x="372" y="527"/>
                  </a:lnTo>
                  <a:lnTo>
                    <a:pt x="377" y="536"/>
                  </a:lnTo>
                  <a:lnTo>
                    <a:pt x="383" y="546"/>
                  </a:lnTo>
                  <a:lnTo>
                    <a:pt x="389" y="554"/>
                  </a:lnTo>
                  <a:lnTo>
                    <a:pt x="397" y="561"/>
                  </a:lnTo>
                  <a:lnTo>
                    <a:pt x="405" y="556"/>
                  </a:lnTo>
                  <a:lnTo>
                    <a:pt x="412" y="552"/>
                  </a:lnTo>
                  <a:lnTo>
                    <a:pt x="417" y="548"/>
                  </a:lnTo>
                  <a:lnTo>
                    <a:pt x="421" y="543"/>
                  </a:lnTo>
                  <a:lnTo>
                    <a:pt x="431" y="548"/>
                  </a:lnTo>
                  <a:lnTo>
                    <a:pt x="437" y="554"/>
                  </a:lnTo>
                  <a:lnTo>
                    <a:pt x="443" y="560"/>
                  </a:lnTo>
                  <a:lnTo>
                    <a:pt x="448" y="565"/>
                  </a:lnTo>
                  <a:lnTo>
                    <a:pt x="453" y="571"/>
                  </a:lnTo>
                  <a:lnTo>
                    <a:pt x="459" y="575"/>
                  </a:lnTo>
                  <a:lnTo>
                    <a:pt x="464" y="577"/>
                  </a:lnTo>
                  <a:lnTo>
                    <a:pt x="471" y="579"/>
                  </a:lnTo>
                  <a:lnTo>
                    <a:pt x="480" y="577"/>
                  </a:lnTo>
                  <a:lnTo>
                    <a:pt x="487" y="575"/>
                  </a:lnTo>
                  <a:lnTo>
                    <a:pt x="491" y="571"/>
                  </a:lnTo>
                  <a:lnTo>
                    <a:pt x="493" y="567"/>
                  </a:lnTo>
                  <a:lnTo>
                    <a:pt x="496" y="561"/>
                  </a:lnTo>
                  <a:lnTo>
                    <a:pt x="500" y="556"/>
                  </a:lnTo>
                  <a:lnTo>
                    <a:pt x="505" y="552"/>
                  </a:lnTo>
                  <a:lnTo>
                    <a:pt x="512" y="550"/>
                  </a:lnTo>
                  <a:lnTo>
                    <a:pt x="536" y="544"/>
                  </a:lnTo>
                  <a:lnTo>
                    <a:pt x="556" y="538"/>
                  </a:lnTo>
                  <a:lnTo>
                    <a:pt x="573" y="531"/>
                  </a:lnTo>
                  <a:lnTo>
                    <a:pt x="589" y="523"/>
                  </a:lnTo>
                  <a:lnTo>
                    <a:pt x="603" y="514"/>
                  </a:lnTo>
                  <a:lnTo>
                    <a:pt x="615" y="503"/>
                  </a:lnTo>
                  <a:lnTo>
                    <a:pt x="625" y="492"/>
                  </a:lnTo>
                  <a:lnTo>
                    <a:pt x="636" y="482"/>
                  </a:lnTo>
                  <a:lnTo>
                    <a:pt x="655" y="456"/>
                  </a:lnTo>
                  <a:lnTo>
                    <a:pt x="673" y="428"/>
                  </a:lnTo>
                  <a:lnTo>
                    <a:pt x="684" y="415"/>
                  </a:lnTo>
                  <a:lnTo>
                    <a:pt x="695" y="399"/>
                  </a:lnTo>
                  <a:lnTo>
                    <a:pt x="708" y="384"/>
                  </a:lnTo>
                  <a:lnTo>
                    <a:pt x="723" y="368"/>
                  </a:lnTo>
                  <a:lnTo>
                    <a:pt x="713" y="363"/>
                  </a:lnTo>
                  <a:lnTo>
                    <a:pt x="704" y="356"/>
                  </a:lnTo>
                  <a:lnTo>
                    <a:pt x="696" y="348"/>
                  </a:lnTo>
                  <a:lnTo>
                    <a:pt x="689" y="339"/>
                  </a:lnTo>
                  <a:lnTo>
                    <a:pt x="679" y="320"/>
                  </a:lnTo>
                  <a:lnTo>
                    <a:pt x="668" y="299"/>
                  </a:lnTo>
                  <a:lnTo>
                    <a:pt x="663" y="290"/>
                  </a:lnTo>
                  <a:lnTo>
                    <a:pt x="656" y="280"/>
                  </a:lnTo>
                  <a:lnTo>
                    <a:pt x="649" y="271"/>
                  </a:lnTo>
                  <a:lnTo>
                    <a:pt x="641" y="263"/>
                  </a:lnTo>
                  <a:lnTo>
                    <a:pt x="631" y="258"/>
                  </a:lnTo>
                  <a:lnTo>
                    <a:pt x="620" y="252"/>
                  </a:lnTo>
                  <a:lnTo>
                    <a:pt x="607" y="250"/>
                  </a:lnTo>
                  <a:lnTo>
                    <a:pt x="591" y="248"/>
                  </a:lnTo>
                  <a:lnTo>
                    <a:pt x="584" y="248"/>
                  </a:lnTo>
                  <a:lnTo>
                    <a:pt x="573" y="248"/>
                  </a:lnTo>
                  <a:lnTo>
                    <a:pt x="559" y="248"/>
                  </a:lnTo>
                  <a:lnTo>
                    <a:pt x="543" y="248"/>
                  </a:lnTo>
                  <a:lnTo>
                    <a:pt x="533" y="247"/>
                  </a:lnTo>
                  <a:lnTo>
                    <a:pt x="524" y="246"/>
                  </a:lnTo>
                  <a:lnTo>
                    <a:pt x="515" y="243"/>
                  </a:lnTo>
                  <a:lnTo>
                    <a:pt x="507" y="240"/>
                  </a:lnTo>
                  <a:lnTo>
                    <a:pt x="497" y="236"/>
                  </a:lnTo>
                  <a:lnTo>
                    <a:pt x="489" y="231"/>
                  </a:lnTo>
                  <a:lnTo>
                    <a:pt x="481" y="226"/>
                  </a:lnTo>
                  <a:lnTo>
                    <a:pt x="473" y="220"/>
                  </a:lnTo>
                  <a:lnTo>
                    <a:pt x="459" y="206"/>
                  </a:lnTo>
                  <a:lnTo>
                    <a:pt x="444" y="190"/>
                  </a:lnTo>
                  <a:lnTo>
                    <a:pt x="431" y="172"/>
                  </a:lnTo>
                  <a:lnTo>
                    <a:pt x="417" y="154"/>
                  </a:lnTo>
                  <a:lnTo>
                    <a:pt x="392" y="115"/>
                  </a:lnTo>
                  <a:lnTo>
                    <a:pt x="368" y="78"/>
                  </a:lnTo>
                  <a:lnTo>
                    <a:pt x="356" y="60"/>
                  </a:lnTo>
                  <a:lnTo>
                    <a:pt x="344" y="44"/>
                  </a:lnTo>
                  <a:lnTo>
                    <a:pt x="332" y="31"/>
                  </a:lnTo>
                  <a:lnTo>
                    <a:pt x="320" y="19"/>
                  </a:lnTo>
                  <a:lnTo>
                    <a:pt x="332" y="3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3" name="Freeform 59"/>
            <p:cNvSpPr>
              <a:spLocks/>
            </p:cNvSpPr>
            <p:nvPr/>
          </p:nvSpPr>
          <p:spPr bwMode="auto">
            <a:xfrm>
              <a:off x="1373509" y="4038600"/>
              <a:ext cx="236538" cy="317500"/>
            </a:xfrm>
            <a:custGeom>
              <a:avLst/>
              <a:gdLst/>
              <a:ahLst/>
              <a:cxnLst>
                <a:cxn ang="0">
                  <a:pos x="196" y="632"/>
                </a:cxn>
                <a:cxn ang="0">
                  <a:pos x="212" y="607"/>
                </a:cxn>
                <a:cxn ang="0">
                  <a:pos x="237" y="590"/>
                </a:cxn>
                <a:cxn ang="0">
                  <a:pos x="308" y="570"/>
                </a:cxn>
                <a:cxn ang="0">
                  <a:pos x="386" y="554"/>
                </a:cxn>
                <a:cxn ang="0">
                  <a:pos x="424" y="541"/>
                </a:cxn>
                <a:cxn ang="0">
                  <a:pos x="454" y="522"/>
                </a:cxn>
                <a:cxn ang="0">
                  <a:pos x="477" y="494"/>
                </a:cxn>
                <a:cxn ang="0">
                  <a:pos x="488" y="457"/>
                </a:cxn>
                <a:cxn ang="0">
                  <a:pos x="446" y="434"/>
                </a:cxn>
                <a:cxn ang="0">
                  <a:pos x="410" y="426"/>
                </a:cxn>
                <a:cxn ang="0">
                  <a:pos x="405" y="394"/>
                </a:cxn>
                <a:cxn ang="0">
                  <a:pos x="392" y="374"/>
                </a:cxn>
                <a:cxn ang="0">
                  <a:pos x="366" y="355"/>
                </a:cxn>
                <a:cxn ang="0">
                  <a:pos x="342" y="338"/>
                </a:cxn>
                <a:cxn ang="0">
                  <a:pos x="326" y="313"/>
                </a:cxn>
                <a:cxn ang="0">
                  <a:pos x="322" y="281"/>
                </a:cxn>
                <a:cxn ang="0">
                  <a:pos x="313" y="261"/>
                </a:cxn>
                <a:cxn ang="0">
                  <a:pos x="296" y="251"/>
                </a:cxn>
                <a:cxn ang="0">
                  <a:pos x="260" y="246"/>
                </a:cxn>
                <a:cxn ang="0">
                  <a:pos x="236" y="241"/>
                </a:cxn>
                <a:cxn ang="0">
                  <a:pos x="222" y="230"/>
                </a:cxn>
                <a:cxn ang="0">
                  <a:pos x="217" y="210"/>
                </a:cxn>
                <a:cxn ang="0">
                  <a:pos x="222" y="190"/>
                </a:cxn>
                <a:cxn ang="0">
                  <a:pos x="232" y="173"/>
                </a:cxn>
                <a:cxn ang="0">
                  <a:pos x="234" y="147"/>
                </a:cxn>
                <a:cxn ang="0">
                  <a:pos x="225" y="126"/>
                </a:cxn>
                <a:cxn ang="0">
                  <a:pos x="198" y="114"/>
                </a:cxn>
                <a:cxn ang="0">
                  <a:pos x="170" y="129"/>
                </a:cxn>
                <a:cxn ang="0">
                  <a:pos x="144" y="130"/>
                </a:cxn>
                <a:cxn ang="0">
                  <a:pos x="125" y="122"/>
                </a:cxn>
                <a:cxn ang="0">
                  <a:pos x="109" y="106"/>
                </a:cxn>
                <a:cxn ang="0">
                  <a:pos x="90" y="67"/>
                </a:cxn>
                <a:cxn ang="0">
                  <a:pos x="85" y="28"/>
                </a:cxn>
                <a:cxn ang="0">
                  <a:pos x="90" y="0"/>
                </a:cxn>
                <a:cxn ang="0">
                  <a:pos x="74" y="35"/>
                </a:cxn>
                <a:cxn ang="0">
                  <a:pos x="48" y="67"/>
                </a:cxn>
                <a:cxn ang="0">
                  <a:pos x="21" y="98"/>
                </a:cxn>
                <a:cxn ang="0">
                  <a:pos x="6" y="126"/>
                </a:cxn>
                <a:cxn ang="0">
                  <a:pos x="0" y="162"/>
                </a:cxn>
                <a:cxn ang="0">
                  <a:pos x="9" y="207"/>
                </a:cxn>
                <a:cxn ang="0">
                  <a:pos x="30" y="247"/>
                </a:cxn>
                <a:cxn ang="0">
                  <a:pos x="66" y="295"/>
                </a:cxn>
                <a:cxn ang="0">
                  <a:pos x="93" y="345"/>
                </a:cxn>
                <a:cxn ang="0">
                  <a:pos x="96" y="389"/>
                </a:cxn>
                <a:cxn ang="0">
                  <a:pos x="85" y="426"/>
                </a:cxn>
                <a:cxn ang="0">
                  <a:pos x="85" y="481"/>
                </a:cxn>
                <a:cxn ang="0">
                  <a:pos x="89" y="513"/>
                </a:cxn>
                <a:cxn ang="0">
                  <a:pos x="109" y="535"/>
                </a:cxn>
                <a:cxn ang="0">
                  <a:pos x="133" y="547"/>
                </a:cxn>
                <a:cxn ang="0">
                  <a:pos x="153" y="589"/>
                </a:cxn>
                <a:cxn ang="0">
                  <a:pos x="180" y="619"/>
                </a:cxn>
                <a:cxn ang="0">
                  <a:pos x="193" y="655"/>
                </a:cxn>
              </a:cxnLst>
              <a:rect l="0" t="0" r="r" b="b"/>
              <a:pathLst>
                <a:path w="488" h="655">
                  <a:moveTo>
                    <a:pt x="193" y="655"/>
                  </a:moveTo>
                  <a:lnTo>
                    <a:pt x="194" y="643"/>
                  </a:lnTo>
                  <a:lnTo>
                    <a:pt x="196" y="632"/>
                  </a:lnTo>
                  <a:lnTo>
                    <a:pt x="200" y="623"/>
                  </a:lnTo>
                  <a:lnTo>
                    <a:pt x="205" y="615"/>
                  </a:lnTo>
                  <a:lnTo>
                    <a:pt x="212" y="607"/>
                  </a:lnTo>
                  <a:lnTo>
                    <a:pt x="218" y="601"/>
                  </a:lnTo>
                  <a:lnTo>
                    <a:pt x="228" y="595"/>
                  </a:lnTo>
                  <a:lnTo>
                    <a:pt x="237" y="590"/>
                  </a:lnTo>
                  <a:lnTo>
                    <a:pt x="258" y="582"/>
                  </a:lnTo>
                  <a:lnTo>
                    <a:pt x="281" y="575"/>
                  </a:lnTo>
                  <a:lnTo>
                    <a:pt x="308" y="570"/>
                  </a:lnTo>
                  <a:lnTo>
                    <a:pt x="334" y="565"/>
                  </a:lnTo>
                  <a:lnTo>
                    <a:pt x="361" y="559"/>
                  </a:lnTo>
                  <a:lnTo>
                    <a:pt x="386" y="554"/>
                  </a:lnTo>
                  <a:lnTo>
                    <a:pt x="400" y="550"/>
                  </a:lnTo>
                  <a:lnTo>
                    <a:pt x="412" y="546"/>
                  </a:lnTo>
                  <a:lnTo>
                    <a:pt x="424" y="541"/>
                  </a:lnTo>
                  <a:lnTo>
                    <a:pt x="434" y="535"/>
                  </a:lnTo>
                  <a:lnTo>
                    <a:pt x="445" y="529"/>
                  </a:lnTo>
                  <a:lnTo>
                    <a:pt x="454" y="522"/>
                  </a:lnTo>
                  <a:lnTo>
                    <a:pt x="462" y="514"/>
                  </a:lnTo>
                  <a:lnTo>
                    <a:pt x="470" y="505"/>
                  </a:lnTo>
                  <a:lnTo>
                    <a:pt x="477" y="494"/>
                  </a:lnTo>
                  <a:lnTo>
                    <a:pt x="482" y="483"/>
                  </a:lnTo>
                  <a:lnTo>
                    <a:pt x="486" y="470"/>
                  </a:lnTo>
                  <a:lnTo>
                    <a:pt x="488" y="457"/>
                  </a:lnTo>
                  <a:lnTo>
                    <a:pt x="473" y="450"/>
                  </a:lnTo>
                  <a:lnTo>
                    <a:pt x="456" y="439"/>
                  </a:lnTo>
                  <a:lnTo>
                    <a:pt x="446" y="434"/>
                  </a:lnTo>
                  <a:lnTo>
                    <a:pt x="434" y="430"/>
                  </a:lnTo>
                  <a:lnTo>
                    <a:pt x="422" y="427"/>
                  </a:lnTo>
                  <a:lnTo>
                    <a:pt x="410" y="426"/>
                  </a:lnTo>
                  <a:lnTo>
                    <a:pt x="409" y="414"/>
                  </a:lnTo>
                  <a:lnTo>
                    <a:pt x="408" y="403"/>
                  </a:lnTo>
                  <a:lnTo>
                    <a:pt x="405" y="394"/>
                  </a:lnTo>
                  <a:lnTo>
                    <a:pt x="401" y="386"/>
                  </a:lnTo>
                  <a:lnTo>
                    <a:pt x="397" y="379"/>
                  </a:lnTo>
                  <a:lnTo>
                    <a:pt x="392" y="374"/>
                  </a:lnTo>
                  <a:lnTo>
                    <a:pt x="386" y="369"/>
                  </a:lnTo>
                  <a:lnTo>
                    <a:pt x="380" y="363"/>
                  </a:lnTo>
                  <a:lnTo>
                    <a:pt x="366" y="355"/>
                  </a:lnTo>
                  <a:lnTo>
                    <a:pt x="354" y="347"/>
                  </a:lnTo>
                  <a:lnTo>
                    <a:pt x="348" y="343"/>
                  </a:lnTo>
                  <a:lnTo>
                    <a:pt x="342" y="338"/>
                  </a:lnTo>
                  <a:lnTo>
                    <a:pt x="337" y="331"/>
                  </a:lnTo>
                  <a:lnTo>
                    <a:pt x="332" y="325"/>
                  </a:lnTo>
                  <a:lnTo>
                    <a:pt x="326" y="313"/>
                  </a:lnTo>
                  <a:lnTo>
                    <a:pt x="324" y="302"/>
                  </a:lnTo>
                  <a:lnTo>
                    <a:pt x="324" y="291"/>
                  </a:lnTo>
                  <a:lnTo>
                    <a:pt x="322" y="281"/>
                  </a:lnTo>
                  <a:lnTo>
                    <a:pt x="321" y="273"/>
                  </a:lnTo>
                  <a:lnTo>
                    <a:pt x="316" y="263"/>
                  </a:lnTo>
                  <a:lnTo>
                    <a:pt x="313" y="261"/>
                  </a:lnTo>
                  <a:lnTo>
                    <a:pt x="308" y="257"/>
                  </a:lnTo>
                  <a:lnTo>
                    <a:pt x="302" y="254"/>
                  </a:lnTo>
                  <a:lnTo>
                    <a:pt x="296" y="251"/>
                  </a:lnTo>
                  <a:lnTo>
                    <a:pt x="285" y="249"/>
                  </a:lnTo>
                  <a:lnTo>
                    <a:pt x="273" y="247"/>
                  </a:lnTo>
                  <a:lnTo>
                    <a:pt x="260" y="246"/>
                  </a:lnTo>
                  <a:lnTo>
                    <a:pt x="248" y="245"/>
                  </a:lnTo>
                  <a:lnTo>
                    <a:pt x="241" y="243"/>
                  </a:lnTo>
                  <a:lnTo>
                    <a:pt x="236" y="241"/>
                  </a:lnTo>
                  <a:lnTo>
                    <a:pt x="230" y="238"/>
                  </a:lnTo>
                  <a:lnTo>
                    <a:pt x="226" y="235"/>
                  </a:lnTo>
                  <a:lnTo>
                    <a:pt x="222" y="230"/>
                  </a:lnTo>
                  <a:lnTo>
                    <a:pt x="220" y="225"/>
                  </a:lnTo>
                  <a:lnTo>
                    <a:pt x="217" y="218"/>
                  </a:lnTo>
                  <a:lnTo>
                    <a:pt x="217" y="210"/>
                  </a:lnTo>
                  <a:lnTo>
                    <a:pt x="218" y="202"/>
                  </a:lnTo>
                  <a:lnTo>
                    <a:pt x="220" y="195"/>
                  </a:lnTo>
                  <a:lnTo>
                    <a:pt x="222" y="190"/>
                  </a:lnTo>
                  <a:lnTo>
                    <a:pt x="226" y="185"/>
                  </a:lnTo>
                  <a:lnTo>
                    <a:pt x="229" y="179"/>
                  </a:lnTo>
                  <a:lnTo>
                    <a:pt x="232" y="173"/>
                  </a:lnTo>
                  <a:lnTo>
                    <a:pt x="234" y="166"/>
                  </a:lnTo>
                  <a:lnTo>
                    <a:pt x="236" y="155"/>
                  </a:lnTo>
                  <a:lnTo>
                    <a:pt x="234" y="147"/>
                  </a:lnTo>
                  <a:lnTo>
                    <a:pt x="232" y="139"/>
                  </a:lnTo>
                  <a:lnTo>
                    <a:pt x="229" y="133"/>
                  </a:lnTo>
                  <a:lnTo>
                    <a:pt x="225" y="126"/>
                  </a:lnTo>
                  <a:lnTo>
                    <a:pt x="217" y="114"/>
                  </a:lnTo>
                  <a:lnTo>
                    <a:pt x="212" y="101"/>
                  </a:lnTo>
                  <a:lnTo>
                    <a:pt x="198" y="114"/>
                  </a:lnTo>
                  <a:lnTo>
                    <a:pt x="185" y="123"/>
                  </a:lnTo>
                  <a:lnTo>
                    <a:pt x="178" y="126"/>
                  </a:lnTo>
                  <a:lnTo>
                    <a:pt x="170" y="129"/>
                  </a:lnTo>
                  <a:lnTo>
                    <a:pt x="161" y="131"/>
                  </a:lnTo>
                  <a:lnTo>
                    <a:pt x="150" y="131"/>
                  </a:lnTo>
                  <a:lnTo>
                    <a:pt x="144" y="130"/>
                  </a:lnTo>
                  <a:lnTo>
                    <a:pt x="137" y="129"/>
                  </a:lnTo>
                  <a:lnTo>
                    <a:pt x="132" y="126"/>
                  </a:lnTo>
                  <a:lnTo>
                    <a:pt x="125" y="122"/>
                  </a:lnTo>
                  <a:lnTo>
                    <a:pt x="120" y="118"/>
                  </a:lnTo>
                  <a:lnTo>
                    <a:pt x="114" y="111"/>
                  </a:lnTo>
                  <a:lnTo>
                    <a:pt x="109" y="106"/>
                  </a:lnTo>
                  <a:lnTo>
                    <a:pt x="104" y="99"/>
                  </a:lnTo>
                  <a:lnTo>
                    <a:pt x="96" y="83"/>
                  </a:lnTo>
                  <a:lnTo>
                    <a:pt x="90" y="67"/>
                  </a:lnTo>
                  <a:lnTo>
                    <a:pt x="86" y="51"/>
                  </a:lnTo>
                  <a:lnTo>
                    <a:pt x="85" y="35"/>
                  </a:lnTo>
                  <a:lnTo>
                    <a:pt x="85" y="28"/>
                  </a:lnTo>
                  <a:lnTo>
                    <a:pt x="85" y="17"/>
                  </a:lnTo>
                  <a:lnTo>
                    <a:pt x="88" y="6"/>
                  </a:lnTo>
                  <a:lnTo>
                    <a:pt x="90" y="0"/>
                  </a:lnTo>
                  <a:lnTo>
                    <a:pt x="85" y="17"/>
                  </a:lnTo>
                  <a:lnTo>
                    <a:pt x="80" y="26"/>
                  </a:lnTo>
                  <a:lnTo>
                    <a:pt x="74" y="35"/>
                  </a:lnTo>
                  <a:lnTo>
                    <a:pt x="68" y="45"/>
                  </a:lnTo>
                  <a:lnTo>
                    <a:pt x="61" y="53"/>
                  </a:lnTo>
                  <a:lnTo>
                    <a:pt x="48" y="67"/>
                  </a:lnTo>
                  <a:lnTo>
                    <a:pt x="33" y="82"/>
                  </a:lnTo>
                  <a:lnTo>
                    <a:pt x="26" y="90"/>
                  </a:lnTo>
                  <a:lnTo>
                    <a:pt x="21" y="98"/>
                  </a:lnTo>
                  <a:lnTo>
                    <a:pt x="14" y="107"/>
                  </a:lnTo>
                  <a:lnTo>
                    <a:pt x="10" y="115"/>
                  </a:lnTo>
                  <a:lnTo>
                    <a:pt x="6" y="126"/>
                  </a:lnTo>
                  <a:lnTo>
                    <a:pt x="2" y="137"/>
                  </a:lnTo>
                  <a:lnTo>
                    <a:pt x="1" y="149"/>
                  </a:lnTo>
                  <a:lnTo>
                    <a:pt x="0" y="162"/>
                  </a:lnTo>
                  <a:lnTo>
                    <a:pt x="1" y="178"/>
                  </a:lnTo>
                  <a:lnTo>
                    <a:pt x="4" y="193"/>
                  </a:lnTo>
                  <a:lnTo>
                    <a:pt x="9" y="207"/>
                  </a:lnTo>
                  <a:lnTo>
                    <a:pt x="16" y="222"/>
                  </a:lnTo>
                  <a:lnTo>
                    <a:pt x="22" y="234"/>
                  </a:lnTo>
                  <a:lnTo>
                    <a:pt x="30" y="247"/>
                  </a:lnTo>
                  <a:lnTo>
                    <a:pt x="40" y="259"/>
                  </a:lnTo>
                  <a:lnTo>
                    <a:pt x="49" y="271"/>
                  </a:lnTo>
                  <a:lnTo>
                    <a:pt x="66" y="295"/>
                  </a:lnTo>
                  <a:lnTo>
                    <a:pt x="81" y="319"/>
                  </a:lnTo>
                  <a:lnTo>
                    <a:pt x="88" y="331"/>
                  </a:lnTo>
                  <a:lnTo>
                    <a:pt x="93" y="345"/>
                  </a:lnTo>
                  <a:lnTo>
                    <a:pt x="96" y="358"/>
                  </a:lnTo>
                  <a:lnTo>
                    <a:pt x="97" y="373"/>
                  </a:lnTo>
                  <a:lnTo>
                    <a:pt x="96" y="389"/>
                  </a:lnTo>
                  <a:lnTo>
                    <a:pt x="93" y="403"/>
                  </a:lnTo>
                  <a:lnTo>
                    <a:pt x="89" y="417"/>
                  </a:lnTo>
                  <a:lnTo>
                    <a:pt x="85" y="426"/>
                  </a:lnTo>
                  <a:lnTo>
                    <a:pt x="85" y="453"/>
                  </a:lnTo>
                  <a:lnTo>
                    <a:pt x="85" y="469"/>
                  </a:lnTo>
                  <a:lnTo>
                    <a:pt x="85" y="481"/>
                  </a:lnTo>
                  <a:lnTo>
                    <a:pt x="85" y="493"/>
                  </a:lnTo>
                  <a:lnTo>
                    <a:pt x="86" y="503"/>
                  </a:lnTo>
                  <a:lnTo>
                    <a:pt x="89" y="513"/>
                  </a:lnTo>
                  <a:lnTo>
                    <a:pt x="94" y="522"/>
                  </a:lnTo>
                  <a:lnTo>
                    <a:pt x="102" y="529"/>
                  </a:lnTo>
                  <a:lnTo>
                    <a:pt x="109" y="535"/>
                  </a:lnTo>
                  <a:lnTo>
                    <a:pt x="117" y="541"/>
                  </a:lnTo>
                  <a:lnTo>
                    <a:pt x="125" y="545"/>
                  </a:lnTo>
                  <a:lnTo>
                    <a:pt x="133" y="547"/>
                  </a:lnTo>
                  <a:lnTo>
                    <a:pt x="138" y="562"/>
                  </a:lnTo>
                  <a:lnTo>
                    <a:pt x="145" y="577"/>
                  </a:lnTo>
                  <a:lnTo>
                    <a:pt x="153" y="589"/>
                  </a:lnTo>
                  <a:lnTo>
                    <a:pt x="161" y="601"/>
                  </a:lnTo>
                  <a:lnTo>
                    <a:pt x="170" y="610"/>
                  </a:lnTo>
                  <a:lnTo>
                    <a:pt x="180" y="619"/>
                  </a:lnTo>
                  <a:lnTo>
                    <a:pt x="190" y="626"/>
                  </a:lnTo>
                  <a:lnTo>
                    <a:pt x="198" y="631"/>
                  </a:lnTo>
                  <a:lnTo>
                    <a:pt x="193" y="65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4" name="Freeform 60"/>
            <p:cNvSpPr>
              <a:spLocks/>
            </p:cNvSpPr>
            <p:nvPr/>
          </p:nvSpPr>
          <p:spPr bwMode="auto">
            <a:xfrm>
              <a:off x="1138559" y="3948113"/>
              <a:ext cx="280988" cy="334962"/>
            </a:xfrm>
            <a:custGeom>
              <a:avLst/>
              <a:gdLst/>
              <a:ahLst/>
              <a:cxnLst>
                <a:cxn ang="0">
                  <a:pos x="550" y="142"/>
                </a:cxn>
                <a:cxn ang="0">
                  <a:pos x="523" y="114"/>
                </a:cxn>
                <a:cxn ang="0">
                  <a:pos x="487" y="104"/>
                </a:cxn>
                <a:cxn ang="0">
                  <a:pos x="450" y="110"/>
                </a:cxn>
                <a:cxn ang="0">
                  <a:pos x="422" y="126"/>
                </a:cxn>
                <a:cxn ang="0">
                  <a:pos x="395" y="118"/>
                </a:cxn>
                <a:cxn ang="0">
                  <a:pos x="379" y="96"/>
                </a:cxn>
                <a:cxn ang="0">
                  <a:pos x="339" y="78"/>
                </a:cxn>
                <a:cxn ang="0">
                  <a:pos x="294" y="68"/>
                </a:cxn>
                <a:cxn ang="0">
                  <a:pos x="273" y="44"/>
                </a:cxn>
                <a:cxn ang="0">
                  <a:pos x="250" y="4"/>
                </a:cxn>
                <a:cxn ang="0">
                  <a:pos x="228" y="26"/>
                </a:cxn>
                <a:cxn ang="0">
                  <a:pos x="197" y="37"/>
                </a:cxn>
                <a:cxn ang="0">
                  <a:pos x="148" y="36"/>
                </a:cxn>
                <a:cxn ang="0">
                  <a:pos x="106" y="49"/>
                </a:cxn>
                <a:cxn ang="0">
                  <a:pos x="50" y="137"/>
                </a:cxn>
                <a:cxn ang="0">
                  <a:pos x="10" y="180"/>
                </a:cxn>
                <a:cxn ang="0">
                  <a:pos x="46" y="202"/>
                </a:cxn>
                <a:cxn ang="0">
                  <a:pos x="73" y="225"/>
                </a:cxn>
                <a:cxn ang="0">
                  <a:pos x="100" y="271"/>
                </a:cxn>
                <a:cxn ang="0">
                  <a:pos x="133" y="294"/>
                </a:cxn>
                <a:cxn ang="0">
                  <a:pos x="169" y="321"/>
                </a:cxn>
                <a:cxn ang="0">
                  <a:pos x="185" y="363"/>
                </a:cxn>
                <a:cxn ang="0">
                  <a:pos x="178" y="405"/>
                </a:cxn>
                <a:cxn ang="0">
                  <a:pos x="164" y="441"/>
                </a:cxn>
                <a:cxn ang="0">
                  <a:pos x="169" y="490"/>
                </a:cxn>
                <a:cxn ang="0">
                  <a:pos x="194" y="523"/>
                </a:cxn>
                <a:cxn ang="0">
                  <a:pos x="222" y="551"/>
                </a:cxn>
                <a:cxn ang="0">
                  <a:pos x="240" y="594"/>
                </a:cxn>
                <a:cxn ang="0">
                  <a:pos x="237" y="621"/>
                </a:cxn>
                <a:cxn ang="0">
                  <a:pos x="216" y="643"/>
                </a:cxn>
                <a:cxn ang="0">
                  <a:pos x="205" y="663"/>
                </a:cxn>
                <a:cxn ang="0">
                  <a:pos x="209" y="685"/>
                </a:cxn>
                <a:cxn ang="0">
                  <a:pos x="224" y="693"/>
                </a:cxn>
                <a:cxn ang="0">
                  <a:pos x="245" y="683"/>
                </a:cxn>
                <a:cxn ang="0">
                  <a:pos x="265" y="663"/>
                </a:cxn>
                <a:cxn ang="0">
                  <a:pos x="317" y="662"/>
                </a:cxn>
                <a:cxn ang="0">
                  <a:pos x="353" y="657"/>
                </a:cxn>
                <a:cxn ang="0">
                  <a:pos x="395" y="646"/>
                </a:cxn>
                <a:cxn ang="0">
                  <a:pos x="438" y="650"/>
                </a:cxn>
                <a:cxn ang="0">
                  <a:pos x="475" y="662"/>
                </a:cxn>
                <a:cxn ang="0">
                  <a:pos x="521" y="659"/>
                </a:cxn>
                <a:cxn ang="0">
                  <a:pos x="551" y="642"/>
                </a:cxn>
                <a:cxn ang="0">
                  <a:pos x="570" y="614"/>
                </a:cxn>
                <a:cxn ang="0">
                  <a:pos x="577" y="573"/>
                </a:cxn>
                <a:cxn ang="0">
                  <a:pos x="569" y="519"/>
                </a:cxn>
                <a:cxn ang="0">
                  <a:pos x="521" y="447"/>
                </a:cxn>
                <a:cxn ang="0">
                  <a:pos x="490" y="395"/>
                </a:cxn>
                <a:cxn ang="0">
                  <a:pos x="482" y="337"/>
                </a:cxn>
                <a:cxn ang="0">
                  <a:pos x="495" y="295"/>
                </a:cxn>
                <a:cxn ang="0">
                  <a:pos x="529" y="255"/>
                </a:cxn>
                <a:cxn ang="0">
                  <a:pos x="561" y="214"/>
                </a:cxn>
              </a:cxnLst>
              <a:rect l="0" t="0" r="r" b="b"/>
              <a:pathLst>
                <a:path w="578" h="693">
                  <a:moveTo>
                    <a:pt x="571" y="188"/>
                  </a:moveTo>
                  <a:lnTo>
                    <a:pt x="565" y="172"/>
                  </a:lnTo>
                  <a:lnTo>
                    <a:pt x="558" y="156"/>
                  </a:lnTo>
                  <a:lnTo>
                    <a:pt x="550" y="142"/>
                  </a:lnTo>
                  <a:lnTo>
                    <a:pt x="542" y="129"/>
                  </a:lnTo>
                  <a:lnTo>
                    <a:pt x="537" y="124"/>
                  </a:lnTo>
                  <a:lnTo>
                    <a:pt x="530" y="118"/>
                  </a:lnTo>
                  <a:lnTo>
                    <a:pt x="523" y="114"/>
                  </a:lnTo>
                  <a:lnTo>
                    <a:pt x="515" y="110"/>
                  </a:lnTo>
                  <a:lnTo>
                    <a:pt x="507" y="106"/>
                  </a:lnTo>
                  <a:lnTo>
                    <a:pt x="498" y="105"/>
                  </a:lnTo>
                  <a:lnTo>
                    <a:pt x="487" y="104"/>
                  </a:lnTo>
                  <a:lnTo>
                    <a:pt x="475" y="102"/>
                  </a:lnTo>
                  <a:lnTo>
                    <a:pt x="466" y="104"/>
                  </a:lnTo>
                  <a:lnTo>
                    <a:pt x="458" y="106"/>
                  </a:lnTo>
                  <a:lnTo>
                    <a:pt x="450" y="110"/>
                  </a:lnTo>
                  <a:lnTo>
                    <a:pt x="443" y="114"/>
                  </a:lnTo>
                  <a:lnTo>
                    <a:pt x="435" y="120"/>
                  </a:lnTo>
                  <a:lnTo>
                    <a:pt x="429" y="124"/>
                  </a:lnTo>
                  <a:lnTo>
                    <a:pt x="422" y="126"/>
                  </a:lnTo>
                  <a:lnTo>
                    <a:pt x="415" y="126"/>
                  </a:lnTo>
                  <a:lnTo>
                    <a:pt x="407" y="126"/>
                  </a:lnTo>
                  <a:lnTo>
                    <a:pt x="401" y="122"/>
                  </a:lnTo>
                  <a:lnTo>
                    <a:pt x="395" y="118"/>
                  </a:lnTo>
                  <a:lnTo>
                    <a:pt x="391" y="113"/>
                  </a:lnTo>
                  <a:lnTo>
                    <a:pt x="387" y="108"/>
                  </a:lnTo>
                  <a:lnTo>
                    <a:pt x="383" y="101"/>
                  </a:lnTo>
                  <a:lnTo>
                    <a:pt x="379" y="96"/>
                  </a:lnTo>
                  <a:lnTo>
                    <a:pt x="373" y="90"/>
                  </a:lnTo>
                  <a:lnTo>
                    <a:pt x="361" y="85"/>
                  </a:lnTo>
                  <a:lnTo>
                    <a:pt x="350" y="81"/>
                  </a:lnTo>
                  <a:lnTo>
                    <a:pt x="339" y="78"/>
                  </a:lnTo>
                  <a:lnTo>
                    <a:pt x="330" y="76"/>
                  </a:lnTo>
                  <a:lnTo>
                    <a:pt x="314" y="73"/>
                  </a:lnTo>
                  <a:lnTo>
                    <a:pt x="299" y="70"/>
                  </a:lnTo>
                  <a:lnTo>
                    <a:pt x="294" y="68"/>
                  </a:lnTo>
                  <a:lnTo>
                    <a:pt x="287" y="65"/>
                  </a:lnTo>
                  <a:lnTo>
                    <a:pt x="282" y="60"/>
                  </a:lnTo>
                  <a:lnTo>
                    <a:pt x="277" y="53"/>
                  </a:lnTo>
                  <a:lnTo>
                    <a:pt x="273" y="44"/>
                  </a:lnTo>
                  <a:lnTo>
                    <a:pt x="267" y="32"/>
                  </a:lnTo>
                  <a:lnTo>
                    <a:pt x="263" y="18"/>
                  </a:lnTo>
                  <a:lnTo>
                    <a:pt x="258" y="0"/>
                  </a:lnTo>
                  <a:lnTo>
                    <a:pt x="250" y="4"/>
                  </a:lnTo>
                  <a:lnTo>
                    <a:pt x="244" y="9"/>
                  </a:lnTo>
                  <a:lnTo>
                    <a:pt x="237" y="14"/>
                  </a:lnTo>
                  <a:lnTo>
                    <a:pt x="232" y="21"/>
                  </a:lnTo>
                  <a:lnTo>
                    <a:pt x="228" y="26"/>
                  </a:lnTo>
                  <a:lnTo>
                    <a:pt x="222" y="32"/>
                  </a:lnTo>
                  <a:lnTo>
                    <a:pt x="217" y="36"/>
                  </a:lnTo>
                  <a:lnTo>
                    <a:pt x="210" y="37"/>
                  </a:lnTo>
                  <a:lnTo>
                    <a:pt x="197" y="37"/>
                  </a:lnTo>
                  <a:lnTo>
                    <a:pt x="184" y="37"/>
                  </a:lnTo>
                  <a:lnTo>
                    <a:pt x="170" y="37"/>
                  </a:lnTo>
                  <a:lnTo>
                    <a:pt x="156" y="37"/>
                  </a:lnTo>
                  <a:lnTo>
                    <a:pt x="148" y="36"/>
                  </a:lnTo>
                  <a:lnTo>
                    <a:pt x="138" y="33"/>
                  </a:lnTo>
                  <a:lnTo>
                    <a:pt x="132" y="29"/>
                  </a:lnTo>
                  <a:lnTo>
                    <a:pt x="126" y="25"/>
                  </a:lnTo>
                  <a:lnTo>
                    <a:pt x="106" y="49"/>
                  </a:lnTo>
                  <a:lnTo>
                    <a:pt x="89" y="73"/>
                  </a:lnTo>
                  <a:lnTo>
                    <a:pt x="76" y="96"/>
                  </a:lnTo>
                  <a:lnTo>
                    <a:pt x="62" y="117"/>
                  </a:lnTo>
                  <a:lnTo>
                    <a:pt x="50" y="137"/>
                  </a:lnTo>
                  <a:lnTo>
                    <a:pt x="36" y="156"/>
                  </a:lnTo>
                  <a:lnTo>
                    <a:pt x="29" y="165"/>
                  </a:lnTo>
                  <a:lnTo>
                    <a:pt x="20" y="173"/>
                  </a:lnTo>
                  <a:lnTo>
                    <a:pt x="10" y="180"/>
                  </a:lnTo>
                  <a:lnTo>
                    <a:pt x="0" y="188"/>
                  </a:lnTo>
                  <a:lnTo>
                    <a:pt x="22" y="192"/>
                  </a:lnTo>
                  <a:lnTo>
                    <a:pt x="40" y="198"/>
                  </a:lnTo>
                  <a:lnTo>
                    <a:pt x="46" y="202"/>
                  </a:lnTo>
                  <a:lnTo>
                    <a:pt x="53" y="206"/>
                  </a:lnTo>
                  <a:lnTo>
                    <a:pt x="58" y="210"/>
                  </a:lnTo>
                  <a:lnTo>
                    <a:pt x="64" y="214"/>
                  </a:lnTo>
                  <a:lnTo>
                    <a:pt x="73" y="225"/>
                  </a:lnTo>
                  <a:lnTo>
                    <a:pt x="80" y="237"/>
                  </a:lnTo>
                  <a:lnTo>
                    <a:pt x="88" y="250"/>
                  </a:lnTo>
                  <a:lnTo>
                    <a:pt x="96" y="265"/>
                  </a:lnTo>
                  <a:lnTo>
                    <a:pt x="100" y="271"/>
                  </a:lnTo>
                  <a:lnTo>
                    <a:pt x="105" y="277"/>
                  </a:lnTo>
                  <a:lnTo>
                    <a:pt x="112" y="281"/>
                  </a:lnTo>
                  <a:lnTo>
                    <a:pt x="118" y="286"/>
                  </a:lnTo>
                  <a:lnTo>
                    <a:pt x="133" y="294"/>
                  </a:lnTo>
                  <a:lnTo>
                    <a:pt x="148" y="302"/>
                  </a:lnTo>
                  <a:lnTo>
                    <a:pt x="156" y="307"/>
                  </a:lnTo>
                  <a:lnTo>
                    <a:pt x="162" y="313"/>
                  </a:lnTo>
                  <a:lnTo>
                    <a:pt x="169" y="321"/>
                  </a:lnTo>
                  <a:lnTo>
                    <a:pt x="174" y="329"/>
                  </a:lnTo>
                  <a:lnTo>
                    <a:pt x="180" y="338"/>
                  </a:lnTo>
                  <a:lnTo>
                    <a:pt x="184" y="350"/>
                  </a:lnTo>
                  <a:lnTo>
                    <a:pt x="185" y="363"/>
                  </a:lnTo>
                  <a:lnTo>
                    <a:pt x="186" y="379"/>
                  </a:lnTo>
                  <a:lnTo>
                    <a:pt x="185" y="389"/>
                  </a:lnTo>
                  <a:lnTo>
                    <a:pt x="182" y="397"/>
                  </a:lnTo>
                  <a:lnTo>
                    <a:pt x="178" y="405"/>
                  </a:lnTo>
                  <a:lnTo>
                    <a:pt x="174" y="414"/>
                  </a:lnTo>
                  <a:lnTo>
                    <a:pt x="170" y="422"/>
                  </a:lnTo>
                  <a:lnTo>
                    <a:pt x="166" y="431"/>
                  </a:lnTo>
                  <a:lnTo>
                    <a:pt x="164" y="441"/>
                  </a:lnTo>
                  <a:lnTo>
                    <a:pt x="162" y="451"/>
                  </a:lnTo>
                  <a:lnTo>
                    <a:pt x="164" y="466"/>
                  </a:lnTo>
                  <a:lnTo>
                    <a:pt x="165" y="479"/>
                  </a:lnTo>
                  <a:lnTo>
                    <a:pt x="169" y="490"/>
                  </a:lnTo>
                  <a:lnTo>
                    <a:pt x="174" y="501"/>
                  </a:lnTo>
                  <a:lnTo>
                    <a:pt x="181" y="509"/>
                  </a:lnTo>
                  <a:lnTo>
                    <a:pt x="188" y="517"/>
                  </a:lnTo>
                  <a:lnTo>
                    <a:pt x="194" y="523"/>
                  </a:lnTo>
                  <a:lnTo>
                    <a:pt x="201" y="530"/>
                  </a:lnTo>
                  <a:lnTo>
                    <a:pt x="209" y="537"/>
                  </a:lnTo>
                  <a:lnTo>
                    <a:pt x="216" y="545"/>
                  </a:lnTo>
                  <a:lnTo>
                    <a:pt x="222" y="551"/>
                  </a:lnTo>
                  <a:lnTo>
                    <a:pt x="228" y="561"/>
                  </a:lnTo>
                  <a:lnTo>
                    <a:pt x="233" y="570"/>
                  </a:lnTo>
                  <a:lnTo>
                    <a:pt x="237" y="581"/>
                  </a:lnTo>
                  <a:lnTo>
                    <a:pt x="240" y="594"/>
                  </a:lnTo>
                  <a:lnTo>
                    <a:pt x="241" y="609"/>
                  </a:lnTo>
                  <a:lnTo>
                    <a:pt x="240" y="613"/>
                  </a:lnTo>
                  <a:lnTo>
                    <a:pt x="238" y="617"/>
                  </a:lnTo>
                  <a:lnTo>
                    <a:pt x="237" y="621"/>
                  </a:lnTo>
                  <a:lnTo>
                    <a:pt x="234" y="623"/>
                  </a:lnTo>
                  <a:lnTo>
                    <a:pt x="229" y="630"/>
                  </a:lnTo>
                  <a:lnTo>
                    <a:pt x="222" y="637"/>
                  </a:lnTo>
                  <a:lnTo>
                    <a:pt x="216" y="643"/>
                  </a:lnTo>
                  <a:lnTo>
                    <a:pt x="210" y="650"/>
                  </a:lnTo>
                  <a:lnTo>
                    <a:pt x="208" y="654"/>
                  </a:lnTo>
                  <a:lnTo>
                    <a:pt x="206" y="658"/>
                  </a:lnTo>
                  <a:lnTo>
                    <a:pt x="205" y="663"/>
                  </a:lnTo>
                  <a:lnTo>
                    <a:pt x="205" y="669"/>
                  </a:lnTo>
                  <a:lnTo>
                    <a:pt x="205" y="675"/>
                  </a:lnTo>
                  <a:lnTo>
                    <a:pt x="206" y="681"/>
                  </a:lnTo>
                  <a:lnTo>
                    <a:pt x="209" y="685"/>
                  </a:lnTo>
                  <a:lnTo>
                    <a:pt x="212" y="687"/>
                  </a:lnTo>
                  <a:lnTo>
                    <a:pt x="216" y="690"/>
                  </a:lnTo>
                  <a:lnTo>
                    <a:pt x="220" y="691"/>
                  </a:lnTo>
                  <a:lnTo>
                    <a:pt x="224" y="693"/>
                  </a:lnTo>
                  <a:lnTo>
                    <a:pt x="229" y="693"/>
                  </a:lnTo>
                  <a:lnTo>
                    <a:pt x="234" y="691"/>
                  </a:lnTo>
                  <a:lnTo>
                    <a:pt x="240" y="689"/>
                  </a:lnTo>
                  <a:lnTo>
                    <a:pt x="245" y="683"/>
                  </a:lnTo>
                  <a:lnTo>
                    <a:pt x="249" y="678"/>
                  </a:lnTo>
                  <a:lnTo>
                    <a:pt x="254" y="673"/>
                  </a:lnTo>
                  <a:lnTo>
                    <a:pt x="258" y="667"/>
                  </a:lnTo>
                  <a:lnTo>
                    <a:pt x="265" y="663"/>
                  </a:lnTo>
                  <a:lnTo>
                    <a:pt x="270" y="662"/>
                  </a:lnTo>
                  <a:lnTo>
                    <a:pt x="293" y="662"/>
                  </a:lnTo>
                  <a:lnTo>
                    <a:pt x="306" y="662"/>
                  </a:lnTo>
                  <a:lnTo>
                    <a:pt x="317" y="662"/>
                  </a:lnTo>
                  <a:lnTo>
                    <a:pt x="325" y="662"/>
                  </a:lnTo>
                  <a:lnTo>
                    <a:pt x="334" y="662"/>
                  </a:lnTo>
                  <a:lnTo>
                    <a:pt x="343" y="659"/>
                  </a:lnTo>
                  <a:lnTo>
                    <a:pt x="353" y="657"/>
                  </a:lnTo>
                  <a:lnTo>
                    <a:pt x="362" y="654"/>
                  </a:lnTo>
                  <a:lnTo>
                    <a:pt x="373" y="650"/>
                  </a:lnTo>
                  <a:lnTo>
                    <a:pt x="383" y="647"/>
                  </a:lnTo>
                  <a:lnTo>
                    <a:pt x="395" y="646"/>
                  </a:lnTo>
                  <a:lnTo>
                    <a:pt x="409" y="645"/>
                  </a:lnTo>
                  <a:lnTo>
                    <a:pt x="419" y="646"/>
                  </a:lnTo>
                  <a:lnTo>
                    <a:pt x="429" y="647"/>
                  </a:lnTo>
                  <a:lnTo>
                    <a:pt x="438" y="650"/>
                  </a:lnTo>
                  <a:lnTo>
                    <a:pt x="446" y="654"/>
                  </a:lnTo>
                  <a:lnTo>
                    <a:pt x="454" y="657"/>
                  </a:lnTo>
                  <a:lnTo>
                    <a:pt x="463" y="659"/>
                  </a:lnTo>
                  <a:lnTo>
                    <a:pt x="475" y="662"/>
                  </a:lnTo>
                  <a:lnTo>
                    <a:pt x="487" y="662"/>
                  </a:lnTo>
                  <a:lnTo>
                    <a:pt x="499" y="662"/>
                  </a:lnTo>
                  <a:lnTo>
                    <a:pt x="510" y="661"/>
                  </a:lnTo>
                  <a:lnTo>
                    <a:pt x="521" y="659"/>
                  </a:lnTo>
                  <a:lnTo>
                    <a:pt x="529" y="655"/>
                  </a:lnTo>
                  <a:lnTo>
                    <a:pt x="538" y="653"/>
                  </a:lnTo>
                  <a:lnTo>
                    <a:pt x="545" y="647"/>
                  </a:lnTo>
                  <a:lnTo>
                    <a:pt x="551" y="642"/>
                  </a:lnTo>
                  <a:lnTo>
                    <a:pt x="557" y="637"/>
                  </a:lnTo>
                  <a:lnTo>
                    <a:pt x="562" y="630"/>
                  </a:lnTo>
                  <a:lnTo>
                    <a:pt x="566" y="622"/>
                  </a:lnTo>
                  <a:lnTo>
                    <a:pt x="570" y="614"/>
                  </a:lnTo>
                  <a:lnTo>
                    <a:pt x="573" y="605"/>
                  </a:lnTo>
                  <a:lnTo>
                    <a:pt x="575" y="594"/>
                  </a:lnTo>
                  <a:lnTo>
                    <a:pt x="577" y="583"/>
                  </a:lnTo>
                  <a:lnTo>
                    <a:pt x="577" y="573"/>
                  </a:lnTo>
                  <a:lnTo>
                    <a:pt x="578" y="561"/>
                  </a:lnTo>
                  <a:lnTo>
                    <a:pt x="577" y="546"/>
                  </a:lnTo>
                  <a:lnTo>
                    <a:pt x="574" y="533"/>
                  </a:lnTo>
                  <a:lnTo>
                    <a:pt x="569" y="519"/>
                  </a:lnTo>
                  <a:lnTo>
                    <a:pt x="562" y="507"/>
                  </a:lnTo>
                  <a:lnTo>
                    <a:pt x="547" y="483"/>
                  </a:lnTo>
                  <a:lnTo>
                    <a:pt x="530" y="459"/>
                  </a:lnTo>
                  <a:lnTo>
                    <a:pt x="521" y="447"/>
                  </a:lnTo>
                  <a:lnTo>
                    <a:pt x="511" y="435"/>
                  </a:lnTo>
                  <a:lnTo>
                    <a:pt x="503" y="422"/>
                  </a:lnTo>
                  <a:lnTo>
                    <a:pt x="497" y="410"/>
                  </a:lnTo>
                  <a:lnTo>
                    <a:pt x="490" y="395"/>
                  </a:lnTo>
                  <a:lnTo>
                    <a:pt x="485" y="381"/>
                  </a:lnTo>
                  <a:lnTo>
                    <a:pt x="482" y="366"/>
                  </a:lnTo>
                  <a:lnTo>
                    <a:pt x="481" y="350"/>
                  </a:lnTo>
                  <a:lnTo>
                    <a:pt x="482" y="337"/>
                  </a:lnTo>
                  <a:lnTo>
                    <a:pt x="483" y="325"/>
                  </a:lnTo>
                  <a:lnTo>
                    <a:pt x="487" y="314"/>
                  </a:lnTo>
                  <a:lnTo>
                    <a:pt x="491" y="303"/>
                  </a:lnTo>
                  <a:lnTo>
                    <a:pt x="495" y="295"/>
                  </a:lnTo>
                  <a:lnTo>
                    <a:pt x="502" y="286"/>
                  </a:lnTo>
                  <a:lnTo>
                    <a:pt x="507" y="278"/>
                  </a:lnTo>
                  <a:lnTo>
                    <a:pt x="514" y="270"/>
                  </a:lnTo>
                  <a:lnTo>
                    <a:pt x="529" y="255"/>
                  </a:lnTo>
                  <a:lnTo>
                    <a:pt x="542" y="241"/>
                  </a:lnTo>
                  <a:lnTo>
                    <a:pt x="549" y="233"/>
                  </a:lnTo>
                  <a:lnTo>
                    <a:pt x="555" y="223"/>
                  </a:lnTo>
                  <a:lnTo>
                    <a:pt x="561" y="214"/>
                  </a:lnTo>
                  <a:lnTo>
                    <a:pt x="566" y="205"/>
                  </a:lnTo>
                  <a:lnTo>
                    <a:pt x="571" y="18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5" name="Freeform 61"/>
            <p:cNvSpPr>
              <a:spLocks/>
            </p:cNvSpPr>
            <p:nvPr/>
          </p:nvSpPr>
          <p:spPr bwMode="auto">
            <a:xfrm>
              <a:off x="1475109" y="4075113"/>
              <a:ext cx="274638" cy="184150"/>
            </a:xfrm>
            <a:custGeom>
              <a:avLst/>
              <a:gdLst/>
              <a:ahLst/>
              <a:cxnLst>
                <a:cxn ang="0">
                  <a:pos x="553" y="296"/>
                </a:cxn>
                <a:cxn ang="0">
                  <a:pos x="474" y="296"/>
                </a:cxn>
                <a:cxn ang="0">
                  <a:pos x="467" y="337"/>
                </a:cxn>
                <a:cxn ang="0">
                  <a:pos x="457" y="354"/>
                </a:cxn>
                <a:cxn ang="0">
                  <a:pos x="441" y="366"/>
                </a:cxn>
                <a:cxn ang="0">
                  <a:pos x="402" y="373"/>
                </a:cxn>
                <a:cxn ang="0">
                  <a:pos x="390" y="370"/>
                </a:cxn>
                <a:cxn ang="0">
                  <a:pos x="375" y="353"/>
                </a:cxn>
                <a:cxn ang="0">
                  <a:pos x="359" y="336"/>
                </a:cxn>
                <a:cxn ang="0">
                  <a:pos x="349" y="332"/>
                </a:cxn>
                <a:cxn ang="0">
                  <a:pos x="335" y="336"/>
                </a:cxn>
                <a:cxn ang="0">
                  <a:pos x="317" y="356"/>
                </a:cxn>
                <a:cxn ang="0">
                  <a:pos x="294" y="376"/>
                </a:cxn>
                <a:cxn ang="0">
                  <a:pos x="276" y="380"/>
                </a:cxn>
                <a:cxn ang="0">
                  <a:pos x="234" y="357"/>
                </a:cxn>
                <a:cxn ang="0">
                  <a:pos x="198" y="349"/>
                </a:cxn>
                <a:cxn ang="0">
                  <a:pos x="193" y="317"/>
                </a:cxn>
                <a:cxn ang="0">
                  <a:pos x="180" y="297"/>
                </a:cxn>
                <a:cxn ang="0">
                  <a:pos x="154" y="278"/>
                </a:cxn>
                <a:cxn ang="0">
                  <a:pos x="130" y="261"/>
                </a:cxn>
                <a:cxn ang="0">
                  <a:pos x="114" y="236"/>
                </a:cxn>
                <a:cxn ang="0">
                  <a:pos x="110" y="204"/>
                </a:cxn>
                <a:cxn ang="0">
                  <a:pos x="101" y="184"/>
                </a:cxn>
                <a:cxn ang="0">
                  <a:pos x="84" y="174"/>
                </a:cxn>
                <a:cxn ang="0">
                  <a:pos x="48" y="169"/>
                </a:cxn>
                <a:cxn ang="0">
                  <a:pos x="24" y="164"/>
                </a:cxn>
                <a:cxn ang="0">
                  <a:pos x="10" y="153"/>
                </a:cxn>
                <a:cxn ang="0">
                  <a:pos x="5" y="133"/>
                </a:cxn>
                <a:cxn ang="0">
                  <a:pos x="10" y="113"/>
                </a:cxn>
                <a:cxn ang="0">
                  <a:pos x="20" y="96"/>
                </a:cxn>
                <a:cxn ang="0">
                  <a:pos x="22" y="70"/>
                </a:cxn>
                <a:cxn ang="0">
                  <a:pos x="13" y="49"/>
                </a:cxn>
                <a:cxn ang="0">
                  <a:pos x="8" y="16"/>
                </a:cxn>
                <a:cxn ang="0">
                  <a:pos x="29" y="2"/>
                </a:cxn>
                <a:cxn ang="0">
                  <a:pos x="58" y="1"/>
                </a:cxn>
                <a:cxn ang="0">
                  <a:pos x="110" y="9"/>
                </a:cxn>
                <a:cxn ang="0">
                  <a:pos x="162" y="17"/>
                </a:cxn>
                <a:cxn ang="0">
                  <a:pos x="184" y="28"/>
                </a:cxn>
                <a:cxn ang="0">
                  <a:pos x="208" y="48"/>
                </a:cxn>
                <a:cxn ang="0">
                  <a:pos x="264" y="73"/>
                </a:cxn>
                <a:cxn ang="0">
                  <a:pos x="302" y="78"/>
                </a:cxn>
                <a:cxn ang="0">
                  <a:pos x="320" y="73"/>
                </a:cxn>
                <a:cxn ang="0">
                  <a:pos x="349" y="45"/>
                </a:cxn>
                <a:cxn ang="0">
                  <a:pos x="373" y="72"/>
                </a:cxn>
                <a:cxn ang="0">
                  <a:pos x="381" y="101"/>
                </a:cxn>
                <a:cxn ang="0">
                  <a:pos x="406" y="126"/>
                </a:cxn>
                <a:cxn ang="0">
                  <a:pos x="445" y="146"/>
                </a:cxn>
                <a:cxn ang="0">
                  <a:pos x="466" y="162"/>
                </a:cxn>
                <a:cxn ang="0">
                  <a:pos x="466" y="180"/>
                </a:cxn>
                <a:cxn ang="0">
                  <a:pos x="453" y="181"/>
                </a:cxn>
                <a:cxn ang="0">
                  <a:pos x="445" y="210"/>
                </a:cxn>
                <a:cxn ang="0">
                  <a:pos x="469" y="230"/>
                </a:cxn>
                <a:cxn ang="0">
                  <a:pos x="509" y="241"/>
                </a:cxn>
                <a:cxn ang="0">
                  <a:pos x="533" y="249"/>
                </a:cxn>
                <a:cxn ang="0">
                  <a:pos x="553" y="268"/>
                </a:cxn>
                <a:cxn ang="0">
                  <a:pos x="565" y="301"/>
                </a:cxn>
              </a:cxnLst>
              <a:rect l="0" t="0" r="r" b="b"/>
              <a:pathLst>
                <a:path w="565" h="380">
                  <a:moveTo>
                    <a:pt x="565" y="301"/>
                  </a:moveTo>
                  <a:lnTo>
                    <a:pt x="559" y="298"/>
                  </a:lnTo>
                  <a:lnTo>
                    <a:pt x="553" y="296"/>
                  </a:lnTo>
                  <a:lnTo>
                    <a:pt x="546" y="296"/>
                  </a:lnTo>
                  <a:lnTo>
                    <a:pt x="541" y="296"/>
                  </a:lnTo>
                  <a:lnTo>
                    <a:pt x="474" y="296"/>
                  </a:lnTo>
                  <a:lnTo>
                    <a:pt x="474" y="314"/>
                  </a:lnTo>
                  <a:lnTo>
                    <a:pt x="470" y="330"/>
                  </a:lnTo>
                  <a:lnTo>
                    <a:pt x="467" y="337"/>
                  </a:lnTo>
                  <a:lnTo>
                    <a:pt x="465" y="344"/>
                  </a:lnTo>
                  <a:lnTo>
                    <a:pt x="461" y="349"/>
                  </a:lnTo>
                  <a:lnTo>
                    <a:pt x="457" y="354"/>
                  </a:lnTo>
                  <a:lnTo>
                    <a:pt x="451" y="360"/>
                  </a:lnTo>
                  <a:lnTo>
                    <a:pt x="446" y="364"/>
                  </a:lnTo>
                  <a:lnTo>
                    <a:pt x="441" y="366"/>
                  </a:lnTo>
                  <a:lnTo>
                    <a:pt x="434" y="369"/>
                  </a:lnTo>
                  <a:lnTo>
                    <a:pt x="419" y="373"/>
                  </a:lnTo>
                  <a:lnTo>
                    <a:pt x="402" y="373"/>
                  </a:lnTo>
                  <a:lnTo>
                    <a:pt x="398" y="373"/>
                  </a:lnTo>
                  <a:lnTo>
                    <a:pt x="394" y="372"/>
                  </a:lnTo>
                  <a:lnTo>
                    <a:pt x="390" y="370"/>
                  </a:lnTo>
                  <a:lnTo>
                    <a:pt x="387" y="366"/>
                  </a:lnTo>
                  <a:lnTo>
                    <a:pt x="381" y="360"/>
                  </a:lnTo>
                  <a:lnTo>
                    <a:pt x="375" y="353"/>
                  </a:lnTo>
                  <a:lnTo>
                    <a:pt x="370" y="345"/>
                  </a:lnTo>
                  <a:lnTo>
                    <a:pt x="363" y="338"/>
                  </a:lnTo>
                  <a:lnTo>
                    <a:pt x="359" y="336"/>
                  </a:lnTo>
                  <a:lnTo>
                    <a:pt x="357" y="333"/>
                  </a:lnTo>
                  <a:lnTo>
                    <a:pt x="353" y="332"/>
                  </a:lnTo>
                  <a:lnTo>
                    <a:pt x="349" y="332"/>
                  </a:lnTo>
                  <a:lnTo>
                    <a:pt x="343" y="332"/>
                  </a:lnTo>
                  <a:lnTo>
                    <a:pt x="339" y="333"/>
                  </a:lnTo>
                  <a:lnTo>
                    <a:pt x="335" y="336"/>
                  </a:lnTo>
                  <a:lnTo>
                    <a:pt x="331" y="338"/>
                  </a:lnTo>
                  <a:lnTo>
                    <a:pt x="325" y="346"/>
                  </a:lnTo>
                  <a:lnTo>
                    <a:pt x="317" y="356"/>
                  </a:lnTo>
                  <a:lnTo>
                    <a:pt x="309" y="365"/>
                  </a:lnTo>
                  <a:lnTo>
                    <a:pt x="300" y="372"/>
                  </a:lnTo>
                  <a:lnTo>
                    <a:pt x="294" y="376"/>
                  </a:lnTo>
                  <a:lnTo>
                    <a:pt x="289" y="377"/>
                  </a:lnTo>
                  <a:lnTo>
                    <a:pt x="282" y="380"/>
                  </a:lnTo>
                  <a:lnTo>
                    <a:pt x="276" y="380"/>
                  </a:lnTo>
                  <a:lnTo>
                    <a:pt x="261" y="373"/>
                  </a:lnTo>
                  <a:lnTo>
                    <a:pt x="244" y="362"/>
                  </a:lnTo>
                  <a:lnTo>
                    <a:pt x="234" y="357"/>
                  </a:lnTo>
                  <a:lnTo>
                    <a:pt x="222" y="353"/>
                  </a:lnTo>
                  <a:lnTo>
                    <a:pt x="210" y="350"/>
                  </a:lnTo>
                  <a:lnTo>
                    <a:pt x="198" y="349"/>
                  </a:lnTo>
                  <a:lnTo>
                    <a:pt x="197" y="337"/>
                  </a:lnTo>
                  <a:lnTo>
                    <a:pt x="196" y="326"/>
                  </a:lnTo>
                  <a:lnTo>
                    <a:pt x="193" y="317"/>
                  </a:lnTo>
                  <a:lnTo>
                    <a:pt x="189" y="309"/>
                  </a:lnTo>
                  <a:lnTo>
                    <a:pt x="185" y="302"/>
                  </a:lnTo>
                  <a:lnTo>
                    <a:pt x="180" y="297"/>
                  </a:lnTo>
                  <a:lnTo>
                    <a:pt x="174" y="292"/>
                  </a:lnTo>
                  <a:lnTo>
                    <a:pt x="168" y="286"/>
                  </a:lnTo>
                  <a:lnTo>
                    <a:pt x="154" y="278"/>
                  </a:lnTo>
                  <a:lnTo>
                    <a:pt x="142" y="270"/>
                  </a:lnTo>
                  <a:lnTo>
                    <a:pt x="136" y="266"/>
                  </a:lnTo>
                  <a:lnTo>
                    <a:pt x="130" y="261"/>
                  </a:lnTo>
                  <a:lnTo>
                    <a:pt x="125" y="254"/>
                  </a:lnTo>
                  <a:lnTo>
                    <a:pt x="120" y="248"/>
                  </a:lnTo>
                  <a:lnTo>
                    <a:pt x="114" y="236"/>
                  </a:lnTo>
                  <a:lnTo>
                    <a:pt x="112" y="225"/>
                  </a:lnTo>
                  <a:lnTo>
                    <a:pt x="112" y="214"/>
                  </a:lnTo>
                  <a:lnTo>
                    <a:pt x="110" y="204"/>
                  </a:lnTo>
                  <a:lnTo>
                    <a:pt x="109" y="196"/>
                  </a:lnTo>
                  <a:lnTo>
                    <a:pt x="104" y="186"/>
                  </a:lnTo>
                  <a:lnTo>
                    <a:pt x="101" y="184"/>
                  </a:lnTo>
                  <a:lnTo>
                    <a:pt x="96" y="180"/>
                  </a:lnTo>
                  <a:lnTo>
                    <a:pt x="90" y="177"/>
                  </a:lnTo>
                  <a:lnTo>
                    <a:pt x="84" y="174"/>
                  </a:lnTo>
                  <a:lnTo>
                    <a:pt x="73" y="172"/>
                  </a:lnTo>
                  <a:lnTo>
                    <a:pt x="61" y="170"/>
                  </a:lnTo>
                  <a:lnTo>
                    <a:pt x="48" y="169"/>
                  </a:lnTo>
                  <a:lnTo>
                    <a:pt x="36" y="168"/>
                  </a:lnTo>
                  <a:lnTo>
                    <a:pt x="29" y="166"/>
                  </a:lnTo>
                  <a:lnTo>
                    <a:pt x="24" y="164"/>
                  </a:lnTo>
                  <a:lnTo>
                    <a:pt x="18" y="161"/>
                  </a:lnTo>
                  <a:lnTo>
                    <a:pt x="14" y="158"/>
                  </a:lnTo>
                  <a:lnTo>
                    <a:pt x="10" y="153"/>
                  </a:lnTo>
                  <a:lnTo>
                    <a:pt x="8" y="148"/>
                  </a:lnTo>
                  <a:lnTo>
                    <a:pt x="5" y="141"/>
                  </a:lnTo>
                  <a:lnTo>
                    <a:pt x="5" y="133"/>
                  </a:lnTo>
                  <a:lnTo>
                    <a:pt x="6" y="125"/>
                  </a:lnTo>
                  <a:lnTo>
                    <a:pt x="8" y="118"/>
                  </a:lnTo>
                  <a:lnTo>
                    <a:pt x="10" y="113"/>
                  </a:lnTo>
                  <a:lnTo>
                    <a:pt x="14" y="108"/>
                  </a:lnTo>
                  <a:lnTo>
                    <a:pt x="17" y="102"/>
                  </a:lnTo>
                  <a:lnTo>
                    <a:pt x="20" y="96"/>
                  </a:lnTo>
                  <a:lnTo>
                    <a:pt x="22" y="89"/>
                  </a:lnTo>
                  <a:lnTo>
                    <a:pt x="24" y="78"/>
                  </a:lnTo>
                  <a:lnTo>
                    <a:pt x="22" y="70"/>
                  </a:lnTo>
                  <a:lnTo>
                    <a:pt x="20" y="62"/>
                  </a:lnTo>
                  <a:lnTo>
                    <a:pt x="17" y="56"/>
                  </a:lnTo>
                  <a:lnTo>
                    <a:pt x="13" y="49"/>
                  </a:lnTo>
                  <a:lnTo>
                    <a:pt x="5" y="37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8" y="8"/>
                  </a:lnTo>
                  <a:lnTo>
                    <a:pt x="24" y="5"/>
                  </a:lnTo>
                  <a:lnTo>
                    <a:pt x="29" y="2"/>
                  </a:lnTo>
                  <a:lnTo>
                    <a:pt x="34" y="1"/>
                  </a:lnTo>
                  <a:lnTo>
                    <a:pt x="41" y="0"/>
                  </a:lnTo>
                  <a:lnTo>
                    <a:pt x="58" y="1"/>
                  </a:lnTo>
                  <a:lnTo>
                    <a:pt x="77" y="2"/>
                  </a:lnTo>
                  <a:lnTo>
                    <a:pt x="93" y="6"/>
                  </a:lnTo>
                  <a:lnTo>
                    <a:pt x="110" y="9"/>
                  </a:lnTo>
                  <a:lnTo>
                    <a:pt x="128" y="13"/>
                  </a:lnTo>
                  <a:lnTo>
                    <a:pt x="145" y="16"/>
                  </a:lnTo>
                  <a:lnTo>
                    <a:pt x="162" y="17"/>
                  </a:lnTo>
                  <a:lnTo>
                    <a:pt x="180" y="18"/>
                  </a:lnTo>
                  <a:lnTo>
                    <a:pt x="181" y="22"/>
                  </a:lnTo>
                  <a:lnTo>
                    <a:pt x="184" y="28"/>
                  </a:lnTo>
                  <a:lnTo>
                    <a:pt x="188" y="33"/>
                  </a:lnTo>
                  <a:lnTo>
                    <a:pt x="193" y="38"/>
                  </a:lnTo>
                  <a:lnTo>
                    <a:pt x="208" y="48"/>
                  </a:lnTo>
                  <a:lnTo>
                    <a:pt x="226" y="57"/>
                  </a:lnTo>
                  <a:lnTo>
                    <a:pt x="245" y="66"/>
                  </a:lnTo>
                  <a:lnTo>
                    <a:pt x="264" y="73"/>
                  </a:lnTo>
                  <a:lnTo>
                    <a:pt x="281" y="77"/>
                  </a:lnTo>
                  <a:lnTo>
                    <a:pt x="294" y="78"/>
                  </a:lnTo>
                  <a:lnTo>
                    <a:pt x="302" y="78"/>
                  </a:lnTo>
                  <a:lnTo>
                    <a:pt x="309" y="77"/>
                  </a:lnTo>
                  <a:lnTo>
                    <a:pt x="314" y="76"/>
                  </a:lnTo>
                  <a:lnTo>
                    <a:pt x="320" y="73"/>
                  </a:lnTo>
                  <a:lnTo>
                    <a:pt x="329" y="68"/>
                  </a:lnTo>
                  <a:lnTo>
                    <a:pt x="337" y="61"/>
                  </a:lnTo>
                  <a:lnTo>
                    <a:pt x="349" y="45"/>
                  </a:lnTo>
                  <a:lnTo>
                    <a:pt x="361" y="30"/>
                  </a:lnTo>
                  <a:lnTo>
                    <a:pt x="367" y="50"/>
                  </a:lnTo>
                  <a:lnTo>
                    <a:pt x="373" y="72"/>
                  </a:lnTo>
                  <a:lnTo>
                    <a:pt x="374" y="82"/>
                  </a:lnTo>
                  <a:lnTo>
                    <a:pt x="377" y="92"/>
                  </a:lnTo>
                  <a:lnTo>
                    <a:pt x="381" y="101"/>
                  </a:lnTo>
                  <a:lnTo>
                    <a:pt x="385" y="109"/>
                  </a:lnTo>
                  <a:lnTo>
                    <a:pt x="394" y="118"/>
                  </a:lnTo>
                  <a:lnTo>
                    <a:pt x="406" y="126"/>
                  </a:lnTo>
                  <a:lnTo>
                    <a:pt x="418" y="133"/>
                  </a:lnTo>
                  <a:lnTo>
                    <a:pt x="431" y="140"/>
                  </a:lnTo>
                  <a:lnTo>
                    <a:pt x="445" y="146"/>
                  </a:lnTo>
                  <a:lnTo>
                    <a:pt x="457" y="153"/>
                  </a:lnTo>
                  <a:lnTo>
                    <a:pt x="462" y="158"/>
                  </a:lnTo>
                  <a:lnTo>
                    <a:pt x="466" y="162"/>
                  </a:lnTo>
                  <a:lnTo>
                    <a:pt x="471" y="169"/>
                  </a:lnTo>
                  <a:lnTo>
                    <a:pt x="474" y="174"/>
                  </a:lnTo>
                  <a:lnTo>
                    <a:pt x="466" y="180"/>
                  </a:lnTo>
                  <a:lnTo>
                    <a:pt x="459" y="181"/>
                  </a:lnTo>
                  <a:lnTo>
                    <a:pt x="457" y="181"/>
                  </a:lnTo>
                  <a:lnTo>
                    <a:pt x="453" y="181"/>
                  </a:lnTo>
                  <a:lnTo>
                    <a:pt x="449" y="178"/>
                  </a:lnTo>
                  <a:lnTo>
                    <a:pt x="445" y="174"/>
                  </a:lnTo>
                  <a:lnTo>
                    <a:pt x="445" y="210"/>
                  </a:lnTo>
                  <a:lnTo>
                    <a:pt x="453" y="218"/>
                  </a:lnTo>
                  <a:lnTo>
                    <a:pt x="461" y="225"/>
                  </a:lnTo>
                  <a:lnTo>
                    <a:pt x="469" y="230"/>
                  </a:lnTo>
                  <a:lnTo>
                    <a:pt x="477" y="233"/>
                  </a:lnTo>
                  <a:lnTo>
                    <a:pt x="493" y="238"/>
                  </a:lnTo>
                  <a:lnTo>
                    <a:pt x="509" y="241"/>
                  </a:lnTo>
                  <a:lnTo>
                    <a:pt x="517" y="242"/>
                  </a:lnTo>
                  <a:lnTo>
                    <a:pt x="525" y="245"/>
                  </a:lnTo>
                  <a:lnTo>
                    <a:pt x="533" y="249"/>
                  </a:lnTo>
                  <a:lnTo>
                    <a:pt x="539" y="253"/>
                  </a:lnTo>
                  <a:lnTo>
                    <a:pt x="546" y="260"/>
                  </a:lnTo>
                  <a:lnTo>
                    <a:pt x="553" y="268"/>
                  </a:lnTo>
                  <a:lnTo>
                    <a:pt x="559" y="277"/>
                  </a:lnTo>
                  <a:lnTo>
                    <a:pt x="565" y="289"/>
                  </a:lnTo>
                  <a:lnTo>
                    <a:pt x="565" y="30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6" name="Freeform 62"/>
            <p:cNvSpPr>
              <a:spLocks/>
            </p:cNvSpPr>
            <p:nvPr/>
          </p:nvSpPr>
          <p:spPr bwMode="auto">
            <a:xfrm>
              <a:off x="1235397" y="4659313"/>
              <a:ext cx="525463" cy="496887"/>
            </a:xfrm>
            <a:custGeom>
              <a:avLst/>
              <a:gdLst/>
              <a:ahLst/>
              <a:cxnLst>
                <a:cxn ang="0">
                  <a:pos x="695" y="323"/>
                </a:cxn>
                <a:cxn ang="0">
                  <a:pos x="769" y="359"/>
                </a:cxn>
                <a:cxn ang="0">
                  <a:pos x="928" y="392"/>
                </a:cxn>
                <a:cxn ang="0">
                  <a:pos x="929" y="378"/>
                </a:cxn>
                <a:cxn ang="0">
                  <a:pos x="921" y="394"/>
                </a:cxn>
                <a:cxn ang="0">
                  <a:pos x="889" y="424"/>
                </a:cxn>
                <a:cxn ang="0">
                  <a:pos x="889" y="462"/>
                </a:cxn>
                <a:cxn ang="0">
                  <a:pos x="917" y="507"/>
                </a:cxn>
                <a:cxn ang="0">
                  <a:pos x="996" y="591"/>
                </a:cxn>
                <a:cxn ang="0">
                  <a:pos x="1041" y="716"/>
                </a:cxn>
                <a:cxn ang="0">
                  <a:pos x="1084" y="801"/>
                </a:cxn>
                <a:cxn ang="0">
                  <a:pos x="1058" y="825"/>
                </a:cxn>
                <a:cxn ang="0">
                  <a:pos x="980" y="848"/>
                </a:cxn>
                <a:cxn ang="0">
                  <a:pos x="889" y="872"/>
                </a:cxn>
                <a:cxn ang="0">
                  <a:pos x="834" y="864"/>
                </a:cxn>
                <a:cxn ang="0">
                  <a:pos x="792" y="856"/>
                </a:cxn>
                <a:cxn ang="0">
                  <a:pos x="725" y="881"/>
                </a:cxn>
                <a:cxn ang="0">
                  <a:pos x="667" y="889"/>
                </a:cxn>
                <a:cxn ang="0">
                  <a:pos x="636" y="907"/>
                </a:cxn>
                <a:cxn ang="0">
                  <a:pos x="605" y="968"/>
                </a:cxn>
                <a:cxn ang="0">
                  <a:pos x="580" y="1011"/>
                </a:cxn>
                <a:cxn ang="0">
                  <a:pos x="551" y="1024"/>
                </a:cxn>
                <a:cxn ang="0">
                  <a:pos x="504" y="1015"/>
                </a:cxn>
                <a:cxn ang="0">
                  <a:pos x="471" y="911"/>
                </a:cxn>
                <a:cxn ang="0">
                  <a:pos x="471" y="845"/>
                </a:cxn>
                <a:cxn ang="0">
                  <a:pos x="461" y="827"/>
                </a:cxn>
                <a:cxn ang="0">
                  <a:pos x="380" y="687"/>
                </a:cxn>
                <a:cxn ang="0">
                  <a:pos x="323" y="679"/>
                </a:cxn>
                <a:cxn ang="0">
                  <a:pos x="311" y="641"/>
                </a:cxn>
                <a:cxn ang="0">
                  <a:pos x="299" y="597"/>
                </a:cxn>
                <a:cxn ang="0">
                  <a:pos x="253" y="596"/>
                </a:cxn>
                <a:cxn ang="0">
                  <a:pos x="220" y="583"/>
                </a:cxn>
                <a:cxn ang="0">
                  <a:pos x="213" y="548"/>
                </a:cxn>
                <a:cxn ang="0">
                  <a:pos x="244" y="513"/>
                </a:cxn>
                <a:cxn ang="0">
                  <a:pos x="259" y="482"/>
                </a:cxn>
                <a:cxn ang="0">
                  <a:pos x="233" y="415"/>
                </a:cxn>
                <a:cxn ang="0">
                  <a:pos x="152" y="362"/>
                </a:cxn>
                <a:cxn ang="0">
                  <a:pos x="109" y="318"/>
                </a:cxn>
                <a:cxn ang="0">
                  <a:pos x="48" y="291"/>
                </a:cxn>
                <a:cxn ang="0">
                  <a:pos x="8" y="266"/>
                </a:cxn>
                <a:cxn ang="0">
                  <a:pos x="3" y="204"/>
                </a:cxn>
                <a:cxn ang="0">
                  <a:pos x="18" y="154"/>
                </a:cxn>
                <a:cxn ang="0">
                  <a:pos x="19" y="96"/>
                </a:cxn>
                <a:cxn ang="0">
                  <a:pos x="176" y="2"/>
                </a:cxn>
                <a:cxn ang="0">
                  <a:pos x="217" y="7"/>
                </a:cxn>
                <a:cxn ang="0">
                  <a:pos x="283" y="68"/>
                </a:cxn>
                <a:cxn ang="0">
                  <a:pos x="324" y="111"/>
                </a:cxn>
                <a:cxn ang="0">
                  <a:pos x="393" y="124"/>
                </a:cxn>
                <a:cxn ang="0">
                  <a:pos x="425" y="152"/>
                </a:cxn>
                <a:cxn ang="0">
                  <a:pos x="443" y="198"/>
                </a:cxn>
                <a:cxn ang="0">
                  <a:pos x="487" y="224"/>
                </a:cxn>
                <a:cxn ang="0">
                  <a:pos x="588" y="242"/>
                </a:cxn>
                <a:cxn ang="0">
                  <a:pos x="655" y="262"/>
                </a:cxn>
                <a:cxn ang="0">
                  <a:pos x="687" y="295"/>
                </a:cxn>
              </a:cxnLst>
              <a:rect l="0" t="0" r="r" b="b"/>
              <a:pathLst>
                <a:path w="1084" h="1024">
                  <a:moveTo>
                    <a:pt x="687" y="307"/>
                  </a:moveTo>
                  <a:lnTo>
                    <a:pt x="688" y="311"/>
                  </a:lnTo>
                  <a:lnTo>
                    <a:pt x="689" y="315"/>
                  </a:lnTo>
                  <a:lnTo>
                    <a:pt x="692" y="319"/>
                  </a:lnTo>
                  <a:lnTo>
                    <a:pt x="695" y="323"/>
                  </a:lnTo>
                  <a:lnTo>
                    <a:pt x="705" y="331"/>
                  </a:lnTo>
                  <a:lnTo>
                    <a:pt x="717" y="339"/>
                  </a:lnTo>
                  <a:lnTo>
                    <a:pt x="733" y="346"/>
                  </a:lnTo>
                  <a:lnTo>
                    <a:pt x="751" y="352"/>
                  </a:lnTo>
                  <a:lnTo>
                    <a:pt x="769" y="359"/>
                  </a:lnTo>
                  <a:lnTo>
                    <a:pt x="789" y="366"/>
                  </a:lnTo>
                  <a:lnTo>
                    <a:pt x="830" y="376"/>
                  </a:lnTo>
                  <a:lnTo>
                    <a:pt x="869" y="384"/>
                  </a:lnTo>
                  <a:lnTo>
                    <a:pt x="904" y="390"/>
                  </a:lnTo>
                  <a:lnTo>
                    <a:pt x="928" y="392"/>
                  </a:lnTo>
                  <a:lnTo>
                    <a:pt x="930" y="390"/>
                  </a:lnTo>
                  <a:lnTo>
                    <a:pt x="933" y="388"/>
                  </a:lnTo>
                  <a:lnTo>
                    <a:pt x="933" y="386"/>
                  </a:lnTo>
                  <a:lnTo>
                    <a:pt x="932" y="384"/>
                  </a:lnTo>
                  <a:lnTo>
                    <a:pt x="929" y="378"/>
                  </a:lnTo>
                  <a:lnTo>
                    <a:pt x="928" y="368"/>
                  </a:lnTo>
                  <a:lnTo>
                    <a:pt x="926" y="376"/>
                  </a:lnTo>
                  <a:lnTo>
                    <a:pt x="925" y="383"/>
                  </a:lnTo>
                  <a:lnTo>
                    <a:pt x="924" y="390"/>
                  </a:lnTo>
                  <a:lnTo>
                    <a:pt x="921" y="394"/>
                  </a:lnTo>
                  <a:lnTo>
                    <a:pt x="914" y="402"/>
                  </a:lnTo>
                  <a:lnTo>
                    <a:pt x="906" y="408"/>
                  </a:lnTo>
                  <a:lnTo>
                    <a:pt x="898" y="414"/>
                  </a:lnTo>
                  <a:lnTo>
                    <a:pt x="892" y="420"/>
                  </a:lnTo>
                  <a:lnTo>
                    <a:pt x="889" y="424"/>
                  </a:lnTo>
                  <a:lnTo>
                    <a:pt x="888" y="428"/>
                  </a:lnTo>
                  <a:lnTo>
                    <a:pt x="886" y="434"/>
                  </a:lnTo>
                  <a:lnTo>
                    <a:pt x="885" y="440"/>
                  </a:lnTo>
                  <a:lnTo>
                    <a:pt x="886" y="451"/>
                  </a:lnTo>
                  <a:lnTo>
                    <a:pt x="889" y="462"/>
                  </a:lnTo>
                  <a:lnTo>
                    <a:pt x="892" y="471"/>
                  </a:lnTo>
                  <a:lnTo>
                    <a:pt x="897" y="480"/>
                  </a:lnTo>
                  <a:lnTo>
                    <a:pt x="902" y="490"/>
                  </a:lnTo>
                  <a:lnTo>
                    <a:pt x="909" y="499"/>
                  </a:lnTo>
                  <a:lnTo>
                    <a:pt x="917" y="507"/>
                  </a:lnTo>
                  <a:lnTo>
                    <a:pt x="925" y="515"/>
                  </a:lnTo>
                  <a:lnTo>
                    <a:pt x="957" y="543"/>
                  </a:lnTo>
                  <a:lnTo>
                    <a:pt x="981" y="567"/>
                  </a:lnTo>
                  <a:lnTo>
                    <a:pt x="989" y="579"/>
                  </a:lnTo>
                  <a:lnTo>
                    <a:pt x="996" y="591"/>
                  </a:lnTo>
                  <a:lnTo>
                    <a:pt x="1002" y="605"/>
                  </a:lnTo>
                  <a:lnTo>
                    <a:pt x="1009" y="620"/>
                  </a:lnTo>
                  <a:lnTo>
                    <a:pt x="1020" y="651"/>
                  </a:lnTo>
                  <a:lnTo>
                    <a:pt x="1030" y="684"/>
                  </a:lnTo>
                  <a:lnTo>
                    <a:pt x="1041" y="716"/>
                  </a:lnTo>
                  <a:lnTo>
                    <a:pt x="1053" y="748"/>
                  </a:lnTo>
                  <a:lnTo>
                    <a:pt x="1060" y="763"/>
                  </a:lnTo>
                  <a:lnTo>
                    <a:pt x="1068" y="776"/>
                  </a:lnTo>
                  <a:lnTo>
                    <a:pt x="1076" y="789"/>
                  </a:lnTo>
                  <a:lnTo>
                    <a:pt x="1084" y="801"/>
                  </a:lnTo>
                  <a:lnTo>
                    <a:pt x="1078" y="804"/>
                  </a:lnTo>
                  <a:lnTo>
                    <a:pt x="1073" y="807"/>
                  </a:lnTo>
                  <a:lnTo>
                    <a:pt x="1068" y="811"/>
                  </a:lnTo>
                  <a:lnTo>
                    <a:pt x="1065" y="815"/>
                  </a:lnTo>
                  <a:lnTo>
                    <a:pt x="1058" y="825"/>
                  </a:lnTo>
                  <a:lnTo>
                    <a:pt x="1054" y="837"/>
                  </a:lnTo>
                  <a:lnTo>
                    <a:pt x="1038" y="840"/>
                  </a:lnTo>
                  <a:lnTo>
                    <a:pt x="1024" y="843"/>
                  </a:lnTo>
                  <a:lnTo>
                    <a:pt x="1001" y="844"/>
                  </a:lnTo>
                  <a:lnTo>
                    <a:pt x="980" y="848"/>
                  </a:lnTo>
                  <a:lnTo>
                    <a:pt x="961" y="853"/>
                  </a:lnTo>
                  <a:lnTo>
                    <a:pt x="944" y="859"/>
                  </a:lnTo>
                  <a:lnTo>
                    <a:pt x="926" y="864"/>
                  </a:lnTo>
                  <a:lnTo>
                    <a:pt x="908" y="869"/>
                  </a:lnTo>
                  <a:lnTo>
                    <a:pt x="889" y="872"/>
                  </a:lnTo>
                  <a:lnTo>
                    <a:pt x="868" y="873"/>
                  </a:lnTo>
                  <a:lnTo>
                    <a:pt x="858" y="872"/>
                  </a:lnTo>
                  <a:lnTo>
                    <a:pt x="850" y="871"/>
                  </a:lnTo>
                  <a:lnTo>
                    <a:pt x="842" y="868"/>
                  </a:lnTo>
                  <a:lnTo>
                    <a:pt x="834" y="864"/>
                  </a:lnTo>
                  <a:lnTo>
                    <a:pt x="828" y="861"/>
                  </a:lnTo>
                  <a:lnTo>
                    <a:pt x="821" y="859"/>
                  </a:lnTo>
                  <a:lnTo>
                    <a:pt x="815" y="856"/>
                  </a:lnTo>
                  <a:lnTo>
                    <a:pt x="807" y="855"/>
                  </a:lnTo>
                  <a:lnTo>
                    <a:pt x="792" y="856"/>
                  </a:lnTo>
                  <a:lnTo>
                    <a:pt x="779" y="860"/>
                  </a:lnTo>
                  <a:lnTo>
                    <a:pt x="765" y="865"/>
                  </a:lnTo>
                  <a:lnTo>
                    <a:pt x="752" y="871"/>
                  </a:lnTo>
                  <a:lnTo>
                    <a:pt x="739" y="876"/>
                  </a:lnTo>
                  <a:lnTo>
                    <a:pt x="725" y="881"/>
                  </a:lnTo>
                  <a:lnTo>
                    <a:pt x="709" y="884"/>
                  </a:lnTo>
                  <a:lnTo>
                    <a:pt x="693" y="885"/>
                  </a:lnTo>
                  <a:lnTo>
                    <a:pt x="683" y="885"/>
                  </a:lnTo>
                  <a:lnTo>
                    <a:pt x="675" y="887"/>
                  </a:lnTo>
                  <a:lnTo>
                    <a:pt x="667" y="889"/>
                  </a:lnTo>
                  <a:lnTo>
                    <a:pt x="659" y="892"/>
                  </a:lnTo>
                  <a:lnTo>
                    <a:pt x="652" y="895"/>
                  </a:lnTo>
                  <a:lnTo>
                    <a:pt x="647" y="899"/>
                  </a:lnTo>
                  <a:lnTo>
                    <a:pt x="641" y="903"/>
                  </a:lnTo>
                  <a:lnTo>
                    <a:pt x="636" y="907"/>
                  </a:lnTo>
                  <a:lnTo>
                    <a:pt x="628" y="917"/>
                  </a:lnTo>
                  <a:lnTo>
                    <a:pt x="621" y="929"/>
                  </a:lnTo>
                  <a:lnTo>
                    <a:pt x="616" y="941"/>
                  </a:lnTo>
                  <a:lnTo>
                    <a:pt x="611" y="955"/>
                  </a:lnTo>
                  <a:lnTo>
                    <a:pt x="605" y="968"/>
                  </a:lnTo>
                  <a:lnTo>
                    <a:pt x="601" y="980"/>
                  </a:lnTo>
                  <a:lnTo>
                    <a:pt x="596" y="992"/>
                  </a:lnTo>
                  <a:lnTo>
                    <a:pt x="588" y="1003"/>
                  </a:lnTo>
                  <a:lnTo>
                    <a:pt x="585" y="1007"/>
                  </a:lnTo>
                  <a:lnTo>
                    <a:pt x="580" y="1011"/>
                  </a:lnTo>
                  <a:lnTo>
                    <a:pt x="576" y="1015"/>
                  </a:lnTo>
                  <a:lnTo>
                    <a:pt x="571" y="1019"/>
                  </a:lnTo>
                  <a:lnTo>
                    <a:pt x="564" y="1020"/>
                  </a:lnTo>
                  <a:lnTo>
                    <a:pt x="557" y="1023"/>
                  </a:lnTo>
                  <a:lnTo>
                    <a:pt x="551" y="1024"/>
                  </a:lnTo>
                  <a:lnTo>
                    <a:pt x="543" y="1024"/>
                  </a:lnTo>
                  <a:lnTo>
                    <a:pt x="533" y="1023"/>
                  </a:lnTo>
                  <a:lnTo>
                    <a:pt x="524" y="1021"/>
                  </a:lnTo>
                  <a:lnTo>
                    <a:pt x="513" y="1017"/>
                  </a:lnTo>
                  <a:lnTo>
                    <a:pt x="504" y="1015"/>
                  </a:lnTo>
                  <a:lnTo>
                    <a:pt x="488" y="1007"/>
                  </a:lnTo>
                  <a:lnTo>
                    <a:pt x="476" y="1000"/>
                  </a:lnTo>
                  <a:lnTo>
                    <a:pt x="475" y="965"/>
                  </a:lnTo>
                  <a:lnTo>
                    <a:pt x="473" y="936"/>
                  </a:lnTo>
                  <a:lnTo>
                    <a:pt x="471" y="911"/>
                  </a:lnTo>
                  <a:lnTo>
                    <a:pt x="469" y="891"/>
                  </a:lnTo>
                  <a:lnTo>
                    <a:pt x="468" y="873"/>
                  </a:lnTo>
                  <a:lnTo>
                    <a:pt x="468" y="859"/>
                  </a:lnTo>
                  <a:lnTo>
                    <a:pt x="469" y="852"/>
                  </a:lnTo>
                  <a:lnTo>
                    <a:pt x="471" y="845"/>
                  </a:lnTo>
                  <a:lnTo>
                    <a:pt x="473" y="837"/>
                  </a:lnTo>
                  <a:lnTo>
                    <a:pt x="476" y="831"/>
                  </a:lnTo>
                  <a:lnTo>
                    <a:pt x="467" y="831"/>
                  </a:lnTo>
                  <a:lnTo>
                    <a:pt x="463" y="828"/>
                  </a:lnTo>
                  <a:lnTo>
                    <a:pt x="461" y="827"/>
                  </a:lnTo>
                  <a:lnTo>
                    <a:pt x="457" y="825"/>
                  </a:lnTo>
                  <a:lnTo>
                    <a:pt x="443" y="796"/>
                  </a:lnTo>
                  <a:lnTo>
                    <a:pt x="416" y="749"/>
                  </a:lnTo>
                  <a:lnTo>
                    <a:pt x="391" y="705"/>
                  </a:lnTo>
                  <a:lnTo>
                    <a:pt x="380" y="687"/>
                  </a:lnTo>
                  <a:lnTo>
                    <a:pt x="368" y="687"/>
                  </a:lnTo>
                  <a:lnTo>
                    <a:pt x="344" y="687"/>
                  </a:lnTo>
                  <a:lnTo>
                    <a:pt x="335" y="685"/>
                  </a:lnTo>
                  <a:lnTo>
                    <a:pt x="328" y="683"/>
                  </a:lnTo>
                  <a:lnTo>
                    <a:pt x="323" y="679"/>
                  </a:lnTo>
                  <a:lnTo>
                    <a:pt x="319" y="672"/>
                  </a:lnTo>
                  <a:lnTo>
                    <a:pt x="316" y="665"/>
                  </a:lnTo>
                  <a:lnTo>
                    <a:pt x="313" y="659"/>
                  </a:lnTo>
                  <a:lnTo>
                    <a:pt x="312" y="649"/>
                  </a:lnTo>
                  <a:lnTo>
                    <a:pt x="311" y="641"/>
                  </a:lnTo>
                  <a:lnTo>
                    <a:pt x="308" y="625"/>
                  </a:lnTo>
                  <a:lnTo>
                    <a:pt x="307" y="611"/>
                  </a:lnTo>
                  <a:lnTo>
                    <a:pt x="304" y="604"/>
                  </a:lnTo>
                  <a:lnTo>
                    <a:pt x="303" y="600"/>
                  </a:lnTo>
                  <a:lnTo>
                    <a:pt x="299" y="597"/>
                  </a:lnTo>
                  <a:lnTo>
                    <a:pt x="295" y="596"/>
                  </a:lnTo>
                  <a:lnTo>
                    <a:pt x="289" y="596"/>
                  </a:lnTo>
                  <a:lnTo>
                    <a:pt x="281" y="596"/>
                  </a:lnTo>
                  <a:lnTo>
                    <a:pt x="269" y="596"/>
                  </a:lnTo>
                  <a:lnTo>
                    <a:pt x="253" y="596"/>
                  </a:lnTo>
                  <a:lnTo>
                    <a:pt x="247" y="596"/>
                  </a:lnTo>
                  <a:lnTo>
                    <a:pt x="239" y="595"/>
                  </a:lnTo>
                  <a:lnTo>
                    <a:pt x="232" y="591"/>
                  </a:lnTo>
                  <a:lnTo>
                    <a:pt x="225" y="587"/>
                  </a:lnTo>
                  <a:lnTo>
                    <a:pt x="220" y="583"/>
                  </a:lnTo>
                  <a:lnTo>
                    <a:pt x="215" y="576"/>
                  </a:lnTo>
                  <a:lnTo>
                    <a:pt x="212" y="568"/>
                  </a:lnTo>
                  <a:lnTo>
                    <a:pt x="211" y="560"/>
                  </a:lnTo>
                  <a:lnTo>
                    <a:pt x="212" y="553"/>
                  </a:lnTo>
                  <a:lnTo>
                    <a:pt x="213" y="548"/>
                  </a:lnTo>
                  <a:lnTo>
                    <a:pt x="216" y="543"/>
                  </a:lnTo>
                  <a:lnTo>
                    <a:pt x="219" y="537"/>
                  </a:lnTo>
                  <a:lnTo>
                    <a:pt x="227" y="529"/>
                  </a:lnTo>
                  <a:lnTo>
                    <a:pt x="235" y="521"/>
                  </a:lnTo>
                  <a:lnTo>
                    <a:pt x="244" y="513"/>
                  </a:lnTo>
                  <a:lnTo>
                    <a:pt x="252" y="504"/>
                  </a:lnTo>
                  <a:lnTo>
                    <a:pt x="255" y="500"/>
                  </a:lnTo>
                  <a:lnTo>
                    <a:pt x="257" y="495"/>
                  </a:lnTo>
                  <a:lnTo>
                    <a:pt x="259" y="488"/>
                  </a:lnTo>
                  <a:lnTo>
                    <a:pt x="259" y="482"/>
                  </a:lnTo>
                  <a:lnTo>
                    <a:pt x="257" y="466"/>
                  </a:lnTo>
                  <a:lnTo>
                    <a:pt x="255" y="450"/>
                  </a:lnTo>
                  <a:lnTo>
                    <a:pt x="249" y="438"/>
                  </a:lnTo>
                  <a:lnTo>
                    <a:pt x="241" y="426"/>
                  </a:lnTo>
                  <a:lnTo>
                    <a:pt x="233" y="415"/>
                  </a:lnTo>
                  <a:lnTo>
                    <a:pt x="223" y="406"/>
                  </a:lnTo>
                  <a:lnTo>
                    <a:pt x="212" y="398"/>
                  </a:lnTo>
                  <a:lnTo>
                    <a:pt x="200" y="390"/>
                  </a:lnTo>
                  <a:lnTo>
                    <a:pt x="176" y="376"/>
                  </a:lnTo>
                  <a:lnTo>
                    <a:pt x="152" y="362"/>
                  </a:lnTo>
                  <a:lnTo>
                    <a:pt x="141" y="354"/>
                  </a:lnTo>
                  <a:lnTo>
                    <a:pt x="131" y="346"/>
                  </a:lnTo>
                  <a:lnTo>
                    <a:pt x="123" y="336"/>
                  </a:lnTo>
                  <a:lnTo>
                    <a:pt x="115" y="326"/>
                  </a:lnTo>
                  <a:lnTo>
                    <a:pt x="109" y="318"/>
                  </a:lnTo>
                  <a:lnTo>
                    <a:pt x="103" y="311"/>
                  </a:lnTo>
                  <a:lnTo>
                    <a:pt x="95" y="306"/>
                  </a:lnTo>
                  <a:lnTo>
                    <a:pt x="87" y="302"/>
                  </a:lnTo>
                  <a:lnTo>
                    <a:pt x="68" y="296"/>
                  </a:lnTo>
                  <a:lnTo>
                    <a:pt x="48" y="291"/>
                  </a:lnTo>
                  <a:lnTo>
                    <a:pt x="39" y="288"/>
                  </a:lnTo>
                  <a:lnTo>
                    <a:pt x="30" y="284"/>
                  </a:lnTo>
                  <a:lnTo>
                    <a:pt x="22" y="279"/>
                  </a:lnTo>
                  <a:lnTo>
                    <a:pt x="15" y="274"/>
                  </a:lnTo>
                  <a:lnTo>
                    <a:pt x="8" y="266"/>
                  </a:lnTo>
                  <a:lnTo>
                    <a:pt x="4" y="255"/>
                  </a:lnTo>
                  <a:lnTo>
                    <a:pt x="2" y="243"/>
                  </a:lnTo>
                  <a:lnTo>
                    <a:pt x="0" y="230"/>
                  </a:lnTo>
                  <a:lnTo>
                    <a:pt x="2" y="216"/>
                  </a:lnTo>
                  <a:lnTo>
                    <a:pt x="3" y="204"/>
                  </a:lnTo>
                  <a:lnTo>
                    <a:pt x="6" y="192"/>
                  </a:lnTo>
                  <a:lnTo>
                    <a:pt x="10" y="183"/>
                  </a:lnTo>
                  <a:lnTo>
                    <a:pt x="12" y="172"/>
                  </a:lnTo>
                  <a:lnTo>
                    <a:pt x="15" y="163"/>
                  </a:lnTo>
                  <a:lnTo>
                    <a:pt x="18" y="154"/>
                  </a:lnTo>
                  <a:lnTo>
                    <a:pt x="19" y="144"/>
                  </a:lnTo>
                  <a:lnTo>
                    <a:pt x="19" y="140"/>
                  </a:lnTo>
                  <a:lnTo>
                    <a:pt x="19" y="130"/>
                  </a:lnTo>
                  <a:lnTo>
                    <a:pt x="19" y="114"/>
                  </a:lnTo>
                  <a:lnTo>
                    <a:pt x="19" y="96"/>
                  </a:lnTo>
                  <a:lnTo>
                    <a:pt x="132" y="18"/>
                  </a:lnTo>
                  <a:lnTo>
                    <a:pt x="149" y="12"/>
                  </a:lnTo>
                  <a:lnTo>
                    <a:pt x="163" y="7"/>
                  </a:lnTo>
                  <a:lnTo>
                    <a:pt x="169" y="4"/>
                  </a:lnTo>
                  <a:lnTo>
                    <a:pt x="176" y="2"/>
                  </a:lnTo>
                  <a:lnTo>
                    <a:pt x="184" y="0"/>
                  </a:lnTo>
                  <a:lnTo>
                    <a:pt x="193" y="0"/>
                  </a:lnTo>
                  <a:lnTo>
                    <a:pt x="201" y="0"/>
                  </a:lnTo>
                  <a:lnTo>
                    <a:pt x="209" y="3"/>
                  </a:lnTo>
                  <a:lnTo>
                    <a:pt x="217" y="7"/>
                  </a:lnTo>
                  <a:lnTo>
                    <a:pt x="225" y="11"/>
                  </a:lnTo>
                  <a:lnTo>
                    <a:pt x="241" y="23"/>
                  </a:lnTo>
                  <a:lnTo>
                    <a:pt x="256" y="38"/>
                  </a:lnTo>
                  <a:lnTo>
                    <a:pt x="271" y="52"/>
                  </a:lnTo>
                  <a:lnTo>
                    <a:pt x="283" y="68"/>
                  </a:lnTo>
                  <a:lnTo>
                    <a:pt x="293" y="84"/>
                  </a:lnTo>
                  <a:lnTo>
                    <a:pt x="301" y="96"/>
                  </a:lnTo>
                  <a:lnTo>
                    <a:pt x="308" y="103"/>
                  </a:lnTo>
                  <a:lnTo>
                    <a:pt x="315" y="107"/>
                  </a:lnTo>
                  <a:lnTo>
                    <a:pt x="324" y="111"/>
                  </a:lnTo>
                  <a:lnTo>
                    <a:pt x="333" y="114"/>
                  </a:lnTo>
                  <a:lnTo>
                    <a:pt x="353" y="118"/>
                  </a:lnTo>
                  <a:lnTo>
                    <a:pt x="373" y="120"/>
                  </a:lnTo>
                  <a:lnTo>
                    <a:pt x="384" y="123"/>
                  </a:lnTo>
                  <a:lnTo>
                    <a:pt x="393" y="124"/>
                  </a:lnTo>
                  <a:lnTo>
                    <a:pt x="401" y="128"/>
                  </a:lnTo>
                  <a:lnTo>
                    <a:pt x="409" y="132"/>
                  </a:lnTo>
                  <a:lnTo>
                    <a:pt x="416" y="138"/>
                  </a:lnTo>
                  <a:lnTo>
                    <a:pt x="421" y="144"/>
                  </a:lnTo>
                  <a:lnTo>
                    <a:pt x="425" y="152"/>
                  </a:lnTo>
                  <a:lnTo>
                    <a:pt x="428" y="163"/>
                  </a:lnTo>
                  <a:lnTo>
                    <a:pt x="429" y="174"/>
                  </a:lnTo>
                  <a:lnTo>
                    <a:pt x="433" y="182"/>
                  </a:lnTo>
                  <a:lnTo>
                    <a:pt x="437" y="190"/>
                  </a:lnTo>
                  <a:lnTo>
                    <a:pt x="443" y="198"/>
                  </a:lnTo>
                  <a:lnTo>
                    <a:pt x="448" y="204"/>
                  </a:lnTo>
                  <a:lnTo>
                    <a:pt x="455" y="210"/>
                  </a:lnTo>
                  <a:lnTo>
                    <a:pt x="461" y="214"/>
                  </a:lnTo>
                  <a:lnTo>
                    <a:pt x="469" y="218"/>
                  </a:lnTo>
                  <a:lnTo>
                    <a:pt x="487" y="224"/>
                  </a:lnTo>
                  <a:lnTo>
                    <a:pt x="505" y="230"/>
                  </a:lnTo>
                  <a:lnTo>
                    <a:pt x="525" y="234"/>
                  </a:lnTo>
                  <a:lnTo>
                    <a:pt x="545" y="236"/>
                  </a:lnTo>
                  <a:lnTo>
                    <a:pt x="567" y="239"/>
                  </a:lnTo>
                  <a:lnTo>
                    <a:pt x="588" y="242"/>
                  </a:lnTo>
                  <a:lnTo>
                    <a:pt x="609" y="246"/>
                  </a:lnTo>
                  <a:lnTo>
                    <a:pt x="628" y="250"/>
                  </a:lnTo>
                  <a:lnTo>
                    <a:pt x="637" y="254"/>
                  </a:lnTo>
                  <a:lnTo>
                    <a:pt x="647" y="258"/>
                  </a:lnTo>
                  <a:lnTo>
                    <a:pt x="655" y="262"/>
                  </a:lnTo>
                  <a:lnTo>
                    <a:pt x="663" y="267"/>
                  </a:lnTo>
                  <a:lnTo>
                    <a:pt x="669" y="272"/>
                  </a:lnTo>
                  <a:lnTo>
                    <a:pt x="676" y="279"/>
                  </a:lnTo>
                  <a:lnTo>
                    <a:pt x="681" y="287"/>
                  </a:lnTo>
                  <a:lnTo>
                    <a:pt x="687" y="295"/>
                  </a:lnTo>
                  <a:lnTo>
                    <a:pt x="687" y="30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7" name="Freeform 63"/>
            <p:cNvSpPr>
              <a:spLocks/>
            </p:cNvSpPr>
            <p:nvPr/>
          </p:nvSpPr>
          <p:spPr bwMode="auto">
            <a:xfrm>
              <a:off x="1327472" y="4484688"/>
              <a:ext cx="293688" cy="323850"/>
            </a:xfrm>
            <a:custGeom>
              <a:avLst/>
              <a:gdLst/>
              <a:ahLst/>
              <a:cxnLst>
                <a:cxn ang="0">
                  <a:pos x="499" y="649"/>
                </a:cxn>
                <a:cxn ang="0">
                  <a:pos x="528" y="616"/>
                </a:cxn>
                <a:cxn ang="0">
                  <a:pos x="568" y="584"/>
                </a:cxn>
                <a:cxn ang="0">
                  <a:pos x="592" y="557"/>
                </a:cxn>
                <a:cxn ang="0">
                  <a:pos x="602" y="524"/>
                </a:cxn>
                <a:cxn ang="0">
                  <a:pos x="599" y="511"/>
                </a:cxn>
                <a:cxn ang="0">
                  <a:pos x="587" y="497"/>
                </a:cxn>
                <a:cxn ang="0">
                  <a:pos x="575" y="483"/>
                </a:cxn>
                <a:cxn ang="0">
                  <a:pos x="572" y="469"/>
                </a:cxn>
                <a:cxn ang="0">
                  <a:pos x="582" y="437"/>
                </a:cxn>
                <a:cxn ang="0">
                  <a:pos x="598" y="409"/>
                </a:cxn>
                <a:cxn ang="0">
                  <a:pos x="602" y="367"/>
                </a:cxn>
                <a:cxn ang="0">
                  <a:pos x="596" y="335"/>
                </a:cxn>
                <a:cxn ang="0">
                  <a:pos x="580" y="316"/>
                </a:cxn>
                <a:cxn ang="0">
                  <a:pos x="562" y="275"/>
                </a:cxn>
                <a:cxn ang="0">
                  <a:pos x="536" y="263"/>
                </a:cxn>
                <a:cxn ang="0">
                  <a:pos x="491" y="226"/>
                </a:cxn>
                <a:cxn ang="0">
                  <a:pos x="459" y="208"/>
                </a:cxn>
                <a:cxn ang="0">
                  <a:pos x="434" y="206"/>
                </a:cxn>
                <a:cxn ang="0">
                  <a:pos x="420" y="211"/>
                </a:cxn>
                <a:cxn ang="0">
                  <a:pos x="402" y="234"/>
                </a:cxn>
                <a:cxn ang="0">
                  <a:pos x="387" y="246"/>
                </a:cxn>
                <a:cxn ang="0">
                  <a:pos x="372" y="247"/>
                </a:cxn>
                <a:cxn ang="0">
                  <a:pos x="356" y="239"/>
                </a:cxn>
                <a:cxn ang="0">
                  <a:pos x="346" y="224"/>
                </a:cxn>
                <a:cxn ang="0">
                  <a:pos x="336" y="190"/>
                </a:cxn>
                <a:cxn ang="0">
                  <a:pos x="331" y="140"/>
                </a:cxn>
                <a:cxn ang="0">
                  <a:pos x="320" y="95"/>
                </a:cxn>
                <a:cxn ang="0">
                  <a:pos x="308" y="78"/>
                </a:cxn>
                <a:cxn ang="0">
                  <a:pos x="292" y="68"/>
                </a:cxn>
                <a:cxn ang="0">
                  <a:pos x="271" y="67"/>
                </a:cxn>
                <a:cxn ang="0">
                  <a:pos x="252" y="75"/>
                </a:cxn>
                <a:cxn ang="0">
                  <a:pos x="231" y="84"/>
                </a:cxn>
                <a:cxn ang="0">
                  <a:pos x="211" y="82"/>
                </a:cxn>
                <a:cxn ang="0">
                  <a:pos x="183" y="67"/>
                </a:cxn>
                <a:cxn ang="0">
                  <a:pos x="144" y="28"/>
                </a:cxn>
                <a:cxn ang="0">
                  <a:pos x="134" y="7"/>
                </a:cxn>
                <a:cxn ang="0">
                  <a:pos x="112" y="11"/>
                </a:cxn>
                <a:cxn ang="0">
                  <a:pos x="91" y="35"/>
                </a:cxn>
                <a:cxn ang="0">
                  <a:pos x="84" y="67"/>
                </a:cxn>
                <a:cxn ang="0">
                  <a:pos x="84" y="203"/>
                </a:cxn>
                <a:cxn ang="0">
                  <a:pos x="82" y="279"/>
                </a:cxn>
                <a:cxn ang="0">
                  <a:pos x="68" y="303"/>
                </a:cxn>
                <a:cxn ang="0">
                  <a:pos x="48" y="321"/>
                </a:cxn>
                <a:cxn ang="0">
                  <a:pos x="14" y="345"/>
                </a:cxn>
                <a:cxn ang="0">
                  <a:pos x="0" y="361"/>
                </a:cxn>
                <a:cxn ang="0">
                  <a:pos x="24" y="368"/>
                </a:cxn>
                <a:cxn ang="0">
                  <a:pos x="63" y="399"/>
                </a:cxn>
                <a:cxn ang="0">
                  <a:pos x="100" y="445"/>
                </a:cxn>
                <a:cxn ang="0">
                  <a:pos x="122" y="468"/>
                </a:cxn>
                <a:cxn ang="0">
                  <a:pos x="160" y="479"/>
                </a:cxn>
                <a:cxn ang="0">
                  <a:pos x="200" y="485"/>
                </a:cxn>
                <a:cxn ang="0">
                  <a:pos x="223" y="499"/>
                </a:cxn>
                <a:cxn ang="0">
                  <a:pos x="235" y="524"/>
                </a:cxn>
                <a:cxn ang="0">
                  <a:pos x="244" y="551"/>
                </a:cxn>
                <a:cxn ang="0">
                  <a:pos x="262" y="571"/>
                </a:cxn>
                <a:cxn ang="0">
                  <a:pos x="294" y="585"/>
                </a:cxn>
                <a:cxn ang="0">
                  <a:pos x="352" y="597"/>
                </a:cxn>
                <a:cxn ang="0">
                  <a:pos x="416" y="607"/>
                </a:cxn>
                <a:cxn ang="0">
                  <a:pos x="454" y="619"/>
                </a:cxn>
                <a:cxn ang="0">
                  <a:pos x="476" y="633"/>
                </a:cxn>
                <a:cxn ang="0">
                  <a:pos x="494" y="656"/>
                </a:cxn>
              </a:cxnLst>
              <a:rect l="0" t="0" r="r" b="b"/>
              <a:pathLst>
                <a:path w="602" h="668">
                  <a:moveTo>
                    <a:pt x="494" y="668"/>
                  </a:moveTo>
                  <a:lnTo>
                    <a:pt x="495" y="659"/>
                  </a:lnTo>
                  <a:lnTo>
                    <a:pt x="499" y="649"/>
                  </a:lnTo>
                  <a:lnTo>
                    <a:pt x="504" y="641"/>
                  </a:lnTo>
                  <a:lnTo>
                    <a:pt x="511" y="632"/>
                  </a:lnTo>
                  <a:lnTo>
                    <a:pt x="528" y="616"/>
                  </a:lnTo>
                  <a:lnTo>
                    <a:pt x="548" y="601"/>
                  </a:lnTo>
                  <a:lnTo>
                    <a:pt x="558" y="593"/>
                  </a:lnTo>
                  <a:lnTo>
                    <a:pt x="568" y="584"/>
                  </a:lnTo>
                  <a:lnTo>
                    <a:pt x="578" y="576"/>
                  </a:lnTo>
                  <a:lnTo>
                    <a:pt x="586" y="567"/>
                  </a:lnTo>
                  <a:lnTo>
                    <a:pt x="592" y="557"/>
                  </a:lnTo>
                  <a:lnTo>
                    <a:pt x="598" y="547"/>
                  </a:lnTo>
                  <a:lnTo>
                    <a:pt x="602" y="536"/>
                  </a:lnTo>
                  <a:lnTo>
                    <a:pt x="602" y="524"/>
                  </a:lnTo>
                  <a:lnTo>
                    <a:pt x="602" y="519"/>
                  </a:lnTo>
                  <a:lnTo>
                    <a:pt x="600" y="515"/>
                  </a:lnTo>
                  <a:lnTo>
                    <a:pt x="599" y="511"/>
                  </a:lnTo>
                  <a:lnTo>
                    <a:pt x="598" y="507"/>
                  </a:lnTo>
                  <a:lnTo>
                    <a:pt x="592" y="501"/>
                  </a:lnTo>
                  <a:lnTo>
                    <a:pt x="587" y="497"/>
                  </a:lnTo>
                  <a:lnTo>
                    <a:pt x="582" y="492"/>
                  </a:lnTo>
                  <a:lnTo>
                    <a:pt x="576" y="487"/>
                  </a:lnTo>
                  <a:lnTo>
                    <a:pt x="575" y="483"/>
                  </a:lnTo>
                  <a:lnTo>
                    <a:pt x="574" y="480"/>
                  </a:lnTo>
                  <a:lnTo>
                    <a:pt x="572" y="475"/>
                  </a:lnTo>
                  <a:lnTo>
                    <a:pt x="572" y="469"/>
                  </a:lnTo>
                  <a:lnTo>
                    <a:pt x="574" y="457"/>
                  </a:lnTo>
                  <a:lnTo>
                    <a:pt x="576" y="447"/>
                  </a:lnTo>
                  <a:lnTo>
                    <a:pt x="582" y="437"/>
                  </a:lnTo>
                  <a:lnTo>
                    <a:pt x="587" y="429"/>
                  </a:lnTo>
                  <a:lnTo>
                    <a:pt x="592" y="420"/>
                  </a:lnTo>
                  <a:lnTo>
                    <a:pt x="598" y="409"/>
                  </a:lnTo>
                  <a:lnTo>
                    <a:pt x="600" y="396"/>
                  </a:lnTo>
                  <a:lnTo>
                    <a:pt x="602" y="379"/>
                  </a:lnTo>
                  <a:lnTo>
                    <a:pt x="602" y="367"/>
                  </a:lnTo>
                  <a:lnTo>
                    <a:pt x="600" y="355"/>
                  </a:lnTo>
                  <a:lnTo>
                    <a:pt x="599" y="344"/>
                  </a:lnTo>
                  <a:lnTo>
                    <a:pt x="596" y="335"/>
                  </a:lnTo>
                  <a:lnTo>
                    <a:pt x="592" y="327"/>
                  </a:lnTo>
                  <a:lnTo>
                    <a:pt x="587" y="321"/>
                  </a:lnTo>
                  <a:lnTo>
                    <a:pt x="580" y="316"/>
                  </a:lnTo>
                  <a:lnTo>
                    <a:pt x="572" y="313"/>
                  </a:lnTo>
                  <a:lnTo>
                    <a:pt x="572" y="278"/>
                  </a:lnTo>
                  <a:lnTo>
                    <a:pt x="562" y="275"/>
                  </a:lnTo>
                  <a:lnTo>
                    <a:pt x="554" y="272"/>
                  </a:lnTo>
                  <a:lnTo>
                    <a:pt x="544" y="268"/>
                  </a:lnTo>
                  <a:lnTo>
                    <a:pt x="536" y="263"/>
                  </a:lnTo>
                  <a:lnTo>
                    <a:pt x="520" y="252"/>
                  </a:lnTo>
                  <a:lnTo>
                    <a:pt x="506" y="239"/>
                  </a:lnTo>
                  <a:lnTo>
                    <a:pt x="491" y="226"/>
                  </a:lnTo>
                  <a:lnTo>
                    <a:pt x="475" y="215"/>
                  </a:lnTo>
                  <a:lnTo>
                    <a:pt x="467" y="211"/>
                  </a:lnTo>
                  <a:lnTo>
                    <a:pt x="459" y="208"/>
                  </a:lnTo>
                  <a:lnTo>
                    <a:pt x="450" y="206"/>
                  </a:lnTo>
                  <a:lnTo>
                    <a:pt x="439" y="204"/>
                  </a:lnTo>
                  <a:lnTo>
                    <a:pt x="434" y="206"/>
                  </a:lnTo>
                  <a:lnTo>
                    <a:pt x="430" y="207"/>
                  </a:lnTo>
                  <a:lnTo>
                    <a:pt x="424" y="208"/>
                  </a:lnTo>
                  <a:lnTo>
                    <a:pt x="420" y="211"/>
                  </a:lnTo>
                  <a:lnTo>
                    <a:pt x="414" y="218"/>
                  </a:lnTo>
                  <a:lnTo>
                    <a:pt x="407" y="226"/>
                  </a:lnTo>
                  <a:lnTo>
                    <a:pt x="402" y="234"/>
                  </a:lnTo>
                  <a:lnTo>
                    <a:pt x="395" y="240"/>
                  </a:lnTo>
                  <a:lnTo>
                    <a:pt x="391" y="243"/>
                  </a:lnTo>
                  <a:lnTo>
                    <a:pt x="387" y="246"/>
                  </a:lnTo>
                  <a:lnTo>
                    <a:pt x="383" y="247"/>
                  </a:lnTo>
                  <a:lnTo>
                    <a:pt x="379" y="247"/>
                  </a:lnTo>
                  <a:lnTo>
                    <a:pt x="372" y="247"/>
                  </a:lnTo>
                  <a:lnTo>
                    <a:pt x="366" y="246"/>
                  </a:lnTo>
                  <a:lnTo>
                    <a:pt x="360" y="243"/>
                  </a:lnTo>
                  <a:lnTo>
                    <a:pt x="356" y="239"/>
                  </a:lnTo>
                  <a:lnTo>
                    <a:pt x="352" y="235"/>
                  </a:lnTo>
                  <a:lnTo>
                    <a:pt x="348" y="231"/>
                  </a:lnTo>
                  <a:lnTo>
                    <a:pt x="346" y="224"/>
                  </a:lnTo>
                  <a:lnTo>
                    <a:pt x="343" y="219"/>
                  </a:lnTo>
                  <a:lnTo>
                    <a:pt x="339" y="206"/>
                  </a:lnTo>
                  <a:lnTo>
                    <a:pt x="336" y="190"/>
                  </a:lnTo>
                  <a:lnTo>
                    <a:pt x="334" y="174"/>
                  </a:lnTo>
                  <a:lnTo>
                    <a:pt x="332" y="156"/>
                  </a:lnTo>
                  <a:lnTo>
                    <a:pt x="331" y="140"/>
                  </a:lnTo>
                  <a:lnTo>
                    <a:pt x="328" y="123"/>
                  </a:lnTo>
                  <a:lnTo>
                    <a:pt x="324" y="108"/>
                  </a:lnTo>
                  <a:lnTo>
                    <a:pt x="320" y="95"/>
                  </a:lnTo>
                  <a:lnTo>
                    <a:pt x="316" y="88"/>
                  </a:lnTo>
                  <a:lnTo>
                    <a:pt x="314" y="83"/>
                  </a:lnTo>
                  <a:lnTo>
                    <a:pt x="308" y="78"/>
                  </a:lnTo>
                  <a:lnTo>
                    <a:pt x="304" y="74"/>
                  </a:lnTo>
                  <a:lnTo>
                    <a:pt x="299" y="71"/>
                  </a:lnTo>
                  <a:lnTo>
                    <a:pt x="292" y="68"/>
                  </a:lnTo>
                  <a:lnTo>
                    <a:pt x="284" y="67"/>
                  </a:lnTo>
                  <a:lnTo>
                    <a:pt x="276" y="67"/>
                  </a:lnTo>
                  <a:lnTo>
                    <a:pt x="271" y="67"/>
                  </a:lnTo>
                  <a:lnTo>
                    <a:pt x="264" y="70"/>
                  </a:lnTo>
                  <a:lnTo>
                    <a:pt x="258" y="72"/>
                  </a:lnTo>
                  <a:lnTo>
                    <a:pt x="252" y="75"/>
                  </a:lnTo>
                  <a:lnTo>
                    <a:pt x="246" y="79"/>
                  </a:lnTo>
                  <a:lnTo>
                    <a:pt x="239" y="82"/>
                  </a:lnTo>
                  <a:lnTo>
                    <a:pt x="231" y="84"/>
                  </a:lnTo>
                  <a:lnTo>
                    <a:pt x="223" y="84"/>
                  </a:lnTo>
                  <a:lnTo>
                    <a:pt x="216" y="84"/>
                  </a:lnTo>
                  <a:lnTo>
                    <a:pt x="211" y="82"/>
                  </a:lnTo>
                  <a:lnTo>
                    <a:pt x="204" y="80"/>
                  </a:lnTo>
                  <a:lnTo>
                    <a:pt x="196" y="76"/>
                  </a:lnTo>
                  <a:lnTo>
                    <a:pt x="183" y="67"/>
                  </a:lnTo>
                  <a:lnTo>
                    <a:pt x="168" y="56"/>
                  </a:lnTo>
                  <a:lnTo>
                    <a:pt x="155" y="43"/>
                  </a:lnTo>
                  <a:lnTo>
                    <a:pt x="144" y="28"/>
                  </a:lnTo>
                  <a:lnTo>
                    <a:pt x="140" y="22"/>
                  </a:lnTo>
                  <a:lnTo>
                    <a:pt x="136" y="14"/>
                  </a:lnTo>
                  <a:lnTo>
                    <a:pt x="134" y="7"/>
                  </a:lnTo>
                  <a:lnTo>
                    <a:pt x="132" y="0"/>
                  </a:lnTo>
                  <a:lnTo>
                    <a:pt x="122" y="6"/>
                  </a:lnTo>
                  <a:lnTo>
                    <a:pt x="112" y="11"/>
                  </a:lnTo>
                  <a:lnTo>
                    <a:pt x="104" y="19"/>
                  </a:lnTo>
                  <a:lnTo>
                    <a:pt x="96" y="27"/>
                  </a:lnTo>
                  <a:lnTo>
                    <a:pt x="91" y="35"/>
                  </a:lnTo>
                  <a:lnTo>
                    <a:pt x="87" y="46"/>
                  </a:lnTo>
                  <a:lnTo>
                    <a:pt x="84" y="55"/>
                  </a:lnTo>
                  <a:lnTo>
                    <a:pt x="84" y="67"/>
                  </a:lnTo>
                  <a:lnTo>
                    <a:pt x="84" y="115"/>
                  </a:lnTo>
                  <a:lnTo>
                    <a:pt x="84" y="158"/>
                  </a:lnTo>
                  <a:lnTo>
                    <a:pt x="84" y="203"/>
                  </a:lnTo>
                  <a:lnTo>
                    <a:pt x="84" y="259"/>
                  </a:lnTo>
                  <a:lnTo>
                    <a:pt x="83" y="270"/>
                  </a:lnTo>
                  <a:lnTo>
                    <a:pt x="82" y="279"/>
                  </a:lnTo>
                  <a:lnTo>
                    <a:pt x="78" y="288"/>
                  </a:lnTo>
                  <a:lnTo>
                    <a:pt x="74" y="296"/>
                  </a:lnTo>
                  <a:lnTo>
                    <a:pt x="68" y="303"/>
                  </a:lnTo>
                  <a:lnTo>
                    <a:pt x="62" y="309"/>
                  </a:lnTo>
                  <a:lnTo>
                    <a:pt x="56" y="316"/>
                  </a:lnTo>
                  <a:lnTo>
                    <a:pt x="48" y="321"/>
                  </a:lnTo>
                  <a:lnTo>
                    <a:pt x="35" y="332"/>
                  </a:lnTo>
                  <a:lnTo>
                    <a:pt x="20" y="341"/>
                  </a:lnTo>
                  <a:lnTo>
                    <a:pt x="14" y="345"/>
                  </a:lnTo>
                  <a:lnTo>
                    <a:pt x="8" y="351"/>
                  </a:lnTo>
                  <a:lnTo>
                    <a:pt x="4" y="356"/>
                  </a:lnTo>
                  <a:lnTo>
                    <a:pt x="0" y="361"/>
                  </a:lnTo>
                  <a:lnTo>
                    <a:pt x="8" y="361"/>
                  </a:lnTo>
                  <a:lnTo>
                    <a:pt x="16" y="364"/>
                  </a:lnTo>
                  <a:lnTo>
                    <a:pt x="24" y="368"/>
                  </a:lnTo>
                  <a:lnTo>
                    <a:pt x="32" y="372"/>
                  </a:lnTo>
                  <a:lnTo>
                    <a:pt x="48" y="384"/>
                  </a:lnTo>
                  <a:lnTo>
                    <a:pt x="63" y="399"/>
                  </a:lnTo>
                  <a:lnTo>
                    <a:pt x="78" y="413"/>
                  </a:lnTo>
                  <a:lnTo>
                    <a:pt x="90" y="429"/>
                  </a:lnTo>
                  <a:lnTo>
                    <a:pt x="100" y="445"/>
                  </a:lnTo>
                  <a:lnTo>
                    <a:pt x="108" y="457"/>
                  </a:lnTo>
                  <a:lnTo>
                    <a:pt x="115" y="464"/>
                  </a:lnTo>
                  <a:lnTo>
                    <a:pt x="122" y="468"/>
                  </a:lnTo>
                  <a:lnTo>
                    <a:pt x="131" y="472"/>
                  </a:lnTo>
                  <a:lnTo>
                    <a:pt x="140" y="475"/>
                  </a:lnTo>
                  <a:lnTo>
                    <a:pt x="160" y="479"/>
                  </a:lnTo>
                  <a:lnTo>
                    <a:pt x="180" y="481"/>
                  </a:lnTo>
                  <a:lnTo>
                    <a:pt x="191" y="484"/>
                  </a:lnTo>
                  <a:lnTo>
                    <a:pt x="200" y="485"/>
                  </a:lnTo>
                  <a:lnTo>
                    <a:pt x="208" y="489"/>
                  </a:lnTo>
                  <a:lnTo>
                    <a:pt x="216" y="493"/>
                  </a:lnTo>
                  <a:lnTo>
                    <a:pt x="223" y="499"/>
                  </a:lnTo>
                  <a:lnTo>
                    <a:pt x="228" y="505"/>
                  </a:lnTo>
                  <a:lnTo>
                    <a:pt x="232" y="513"/>
                  </a:lnTo>
                  <a:lnTo>
                    <a:pt x="235" y="524"/>
                  </a:lnTo>
                  <a:lnTo>
                    <a:pt x="236" y="535"/>
                  </a:lnTo>
                  <a:lnTo>
                    <a:pt x="240" y="543"/>
                  </a:lnTo>
                  <a:lnTo>
                    <a:pt x="244" y="551"/>
                  </a:lnTo>
                  <a:lnTo>
                    <a:pt x="250" y="559"/>
                  </a:lnTo>
                  <a:lnTo>
                    <a:pt x="255" y="565"/>
                  </a:lnTo>
                  <a:lnTo>
                    <a:pt x="262" y="571"/>
                  </a:lnTo>
                  <a:lnTo>
                    <a:pt x="268" y="575"/>
                  </a:lnTo>
                  <a:lnTo>
                    <a:pt x="276" y="579"/>
                  </a:lnTo>
                  <a:lnTo>
                    <a:pt x="294" y="585"/>
                  </a:lnTo>
                  <a:lnTo>
                    <a:pt x="312" y="591"/>
                  </a:lnTo>
                  <a:lnTo>
                    <a:pt x="332" y="595"/>
                  </a:lnTo>
                  <a:lnTo>
                    <a:pt x="352" y="597"/>
                  </a:lnTo>
                  <a:lnTo>
                    <a:pt x="374" y="600"/>
                  </a:lnTo>
                  <a:lnTo>
                    <a:pt x="395" y="603"/>
                  </a:lnTo>
                  <a:lnTo>
                    <a:pt x="416" y="607"/>
                  </a:lnTo>
                  <a:lnTo>
                    <a:pt x="435" y="611"/>
                  </a:lnTo>
                  <a:lnTo>
                    <a:pt x="444" y="615"/>
                  </a:lnTo>
                  <a:lnTo>
                    <a:pt x="454" y="619"/>
                  </a:lnTo>
                  <a:lnTo>
                    <a:pt x="462" y="623"/>
                  </a:lnTo>
                  <a:lnTo>
                    <a:pt x="470" y="628"/>
                  </a:lnTo>
                  <a:lnTo>
                    <a:pt x="476" y="633"/>
                  </a:lnTo>
                  <a:lnTo>
                    <a:pt x="483" y="640"/>
                  </a:lnTo>
                  <a:lnTo>
                    <a:pt x="488" y="648"/>
                  </a:lnTo>
                  <a:lnTo>
                    <a:pt x="494" y="656"/>
                  </a:lnTo>
                  <a:lnTo>
                    <a:pt x="494" y="66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8" name="Freeform 64"/>
            <p:cNvSpPr>
              <a:spLocks/>
            </p:cNvSpPr>
            <p:nvPr/>
          </p:nvSpPr>
          <p:spPr bwMode="auto">
            <a:xfrm>
              <a:off x="957584" y="4721225"/>
              <a:ext cx="508000" cy="461962"/>
            </a:xfrm>
            <a:custGeom>
              <a:avLst/>
              <a:gdLst/>
              <a:ahLst/>
              <a:cxnLst>
                <a:cxn ang="0">
                  <a:pos x="1000" y="709"/>
                </a:cxn>
                <a:cxn ang="0">
                  <a:pos x="972" y="737"/>
                </a:cxn>
                <a:cxn ang="0">
                  <a:pos x="839" y="778"/>
                </a:cxn>
                <a:cxn ang="0">
                  <a:pos x="799" y="820"/>
                </a:cxn>
                <a:cxn ang="0">
                  <a:pos x="777" y="884"/>
                </a:cxn>
                <a:cxn ang="0">
                  <a:pos x="707" y="934"/>
                </a:cxn>
                <a:cxn ang="0">
                  <a:pos x="651" y="897"/>
                </a:cxn>
                <a:cxn ang="0">
                  <a:pos x="629" y="868"/>
                </a:cxn>
                <a:cxn ang="0">
                  <a:pos x="587" y="862"/>
                </a:cxn>
                <a:cxn ang="0">
                  <a:pos x="552" y="873"/>
                </a:cxn>
                <a:cxn ang="0">
                  <a:pos x="494" y="866"/>
                </a:cxn>
                <a:cxn ang="0">
                  <a:pos x="438" y="861"/>
                </a:cxn>
                <a:cxn ang="0">
                  <a:pos x="399" y="878"/>
                </a:cxn>
                <a:cxn ang="0">
                  <a:pos x="367" y="897"/>
                </a:cxn>
                <a:cxn ang="0">
                  <a:pos x="343" y="888"/>
                </a:cxn>
                <a:cxn ang="0">
                  <a:pos x="310" y="824"/>
                </a:cxn>
                <a:cxn ang="0">
                  <a:pos x="286" y="881"/>
                </a:cxn>
                <a:cxn ang="0">
                  <a:pos x="260" y="890"/>
                </a:cxn>
                <a:cxn ang="0">
                  <a:pos x="214" y="870"/>
                </a:cxn>
                <a:cxn ang="0">
                  <a:pos x="159" y="873"/>
                </a:cxn>
                <a:cxn ang="0">
                  <a:pos x="115" y="885"/>
                </a:cxn>
                <a:cxn ang="0">
                  <a:pos x="75" y="864"/>
                </a:cxn>
                <a:cxn ang="0">
                  <a:pos x="32" y="804"/>
                </a:cxn>
                <a:cxn ang="0">
                  <a:pos x="36" y="753"/>
                </a:cxn>
                <a:cxn ang="0">
                  <a:pos x="48" y="698"/>
                </a:cxn>
                <a:cxn ang="0">
                  <a:pos x="34" y="662"/>
                </a:cxn>
                <a:cxn ang="0">
                  <a:pos x="2" y="630"/>
                </a:cxn>
                <a:cxn ang="0">
                  <a:pos x="6" y="602"/>
                </a:cxn>
                <a:cxn ang="0">
                  <a:pos x="59" y="560"/>
                </a:cxn>
                <a:cxn ang="0">
                  <a:pos x="115" y="560"/>
                </a:cxn>
                <a:cxn ang="0">
                  <a:pos x="163" y="572"/>
                </a:cxn>
                <a:cxn ang="0">
                  <a:pos x="192" y="561"/>
                </a:cxn>
                <a:cxn ang="0">
                  <a:pos x="199" y="488"/>
                </a:cxn>
                <a:cxn ang="0">
                  <a:pos x="200" y="404"/>
                </a:cxn>
                <a:cxn ang="0">
                  <a:pos x="235" y="351"/>
                </a:cxn>
                <a:cxn ang="0">
                  <a:pos x="264" y="313"/>
                </a:cxn>
                <a:cxn ang="0">
                  <a:pos x="270" y="261"/>
                </a:cxn>
                <a:cxn ang="0">
                  <a:pos x="247" y="212"/>
                </a:cxn>
                <a:cxn ang="0">
                  <a:pos x="235" y="175"/>
                </a:cxn>
                <a:cxn ang="0">
                  <a:pos x="263" y="113"/>
                </a:cxn>
                <a:cxn ang="0">
                  <a:pos x="324" y="24"/>
                </a:cxn>
                <a:cxn ang="0">
                  <a:pos x="428" y="0"/>
                </a:cxn>
                <a:cxn ang="0">
                  <a:pos x="482" y="11"/>
                </a:cxn>
                <a:cxn ang="0">
                  <a:pos x="543" y="63"/>
                </a:cxn>
                <a:cxn ang="0">
                  <a:pos x="572" y="103"/>
                </a:cxn>
                <a:cxn ang="0">
                  <a:pos x="594" y="152"/>
                </a:cxn>
                <a:cxn ang="0">
                  <a:pos x="659" y="175"/>
                </a:cxn>
                <a:cxn ang="0">
                  <a:pos x="695" y="209"/>
                </a:cxn>
                <a:cxn ang="0">
                  <a:pos x="772" y="263"/>
                </a:cxn>
                <a:cxn ang="0">
                  <a:pos x="821" y="311"/>
                </a:cxn>
                <a:cxn ang="0">
                  <a:pos x="829" y="368"/>
                </a:cxn>
                <a:cxn ang="0">
                  <a:pos x="799" y="402"/>
                </a:cxn>
                <a:cxn ang="0">
                  <a:pos x="783" y="433"/>
                </a:cxn>
                <a:cxn ang="0">
                  <a:pos x="804" y="464"/>
                </a:cxn>
                <a:cxn ang="0">
                  <a:pos x="853" y="469"/>
                </a:cxn>
                <a:cxn ang="0">
                  <a:pos x="876" y="477"/>
                </a:cxn>
                <a:cxn ang="0">
                  <a:pos x="885" y="532"/>
                </a:cxn>
                <a:cxn ang="0">
                  <a:pos x="907" y="558"/>
                </a:cxn>
                <a:cxn ang="0">
                  <a:pos x="988" y="622"/>
                </a:cxn>
                <a:cxn ang="0">
                  <a:pos x="1039" y="704"/>
                </a:cxn>
              </a:cxnLst>
              <a:rect l="0" t="0" r="r" b="b"/>
              <a:pathLst>
                <a:path w="1048" h="952">
                  <a:moveTo>
                    <a:pt x="1017" y="704"/>
                  </a:moveTo>
                  <a:lnTo>
                    <a:pt x="1012" y="705"/>
                  </a:lnTo>
                  <a:lnTo>
                    <a:pt x="1008" y="705"/>
                  </a:lnTo>
                  <a:lnTo>
                    <a:pt x="1004" y="708"/>
                  </a:lnTo>
                  <a:lnTo>
                    <a:pt x="1000" y="709"/>
                  </a:lnTo>
                  <a:lnTo>
                    <a:pt x="993" y="714"/>
                  </a:lnTo>
                  <a:lnTo>
                    <a:pt x="988" y="720"/>
                  </a:lnTo>
                  <a:lnTo>
                    <a:pt x="984" y="726"/>
                  </a:lnTo>
                  <a:lnTo>
                    <a:pt x="979" y="732"/>
                  </a:lnTo>
                  <a:lnTo>
                    <a:pt x="972" y="737"/>
                  </a:lnTo>
                  <a:lnTo>
                    <a:pt x="964" y="741"/>
                  </a:lnTo>
                  <a:lnTo>
                    <a:pt x="916" y="753"/>
                  </a:lnTo>
                  <a:lnTo>
                    <a:pt x="864" y="768"/>
                  </a:lnTo>
                  <a:lnTo>
                    <a:pt x="851" y="772"/>
                  </a:lnTo>
                  <a:lnTo>
                    <a:pt x="839" y="778"/>
                  </a:lnTo>
                  <a:lnTo>
                    <a:pt x="828" y="784"/>
                  </a:lnTo>
                  <a:lnTo>
                    <a:pt x="819" y="792"/>
                  </a:lnTo>
                  <a:lnTo>
                    <a:pt x="811" y="800"/>
                  </a:lnTo>
                  <a:lnTo>
                    <a:pt x="804" y="809"/>
                  </a:lnTo>
                  <a:lnTo>
                    <a:pt x="799" y="820"/>
                  </a:lnTo>
                  <a:lnTo>
                    <a:pt x="795" y="830"/>
                  </a:lnTo>
                  <a:lnTo>
                    <a:pt x="792" y="846"/>
                  </a:lnTo>
                  <a:lnTo>
                    <a:pt x="788" y="861"/>
                  </a:lnTo>
                  <a:lnTo>
                    <a:pt x="783" y="873"/>
                  </a:lnTo>
                  <a:lnTo>
                    <a:pt x="777" y="884"/>
                  </a:lnTo>
                  <a:lnTo>
                    <a:pt x="769" y="894"/>
                  </a:lnTo>
                  <a:lnTo>
                    <a:pt x="763" y="902"/>
                  </a:lnTo>
                  <a:lnTo>
                    <a:pt x="755" y="909"/>
                  </a:lnTo>
                  <a:lnTo>
                    <a:pt x="745" y="916"/>
                  </a:lnTo>
                  <a:lnTo>
                    <a:pt x="707" y="934"/>
                  </a:lnTo>
                  <a:lnTo>
                    <a:pt x="668" y="952"/>
                  </a:lnTo>
                  <a:lnTo>
                    <a:pt x="663" y="941"/>
                  </a:lnTo>
                  <a:lnTo>
                    <a:pt x="659" y="926"/>
                  </a:lnTo>
                  <a:lnTo>
                    <a:pt x="656" y="912"/>
                  </a:lnTo>
                  <a:lnTo>
                    <a:pt x="651" y="897"/>
                  </a:lnTo>
                  <a:lnTo>
                    <a:pt x="648" y="890"/>
                  </a:lnTo>
                  <a:lnTo>
                    <a:pt x="645" y="884"/>
                  </a:lnTo>
                  <a:lnTo>
                    <a:pt x="640" y="877"/>
                  </a:lnTo>
                  <a:lnTo>
                    <a:pt x="636" y="872"/>
                  </a:lnTo>
                  <a:lnTo>
                    <a:pt x="629" y="868"/>
                  </a:lnTo>
                  <a:lnTo>
                    <a:pt x="622" y="864"/>
                  </a:lnTo>
                  <a:lnTo>
                    <a:pt x="612" y="861"/>
                  </a:lnTo>
                  <a:lnTo>
                    <a:pt x="603" y="861"/>
                  </a:lnTo>
                  <a:lnTo>
                    <a:pt x="594" y="861"/>
                  </a:lnTo>
                  <a:lnTo>
                    <a:pt x="587" y="862"/>
                  </a:lnTo>
                  <a:lnTo>
                    <a:pt x="580" y="865"/>
                  </a:lnTo>
                  <a:lnTo>
                    <a:pt x="575" y="866"/>
                  </a:lnTo>
                  <a:lnTo>
                    <a:pt x="568" y="869"/>
                  </a:lnTo>
                  <a:lnTo>
                    <a:pt x="560" y="872"/>
                  </a:lnTo>
                  <a:lnTo>
                    <a:pt x="552" y="873"/>
                  </a:lnTo>
                  <a:lnTo>
                    <a:pt x="542" y="873"/>
                  </a:lnTo>
                  <a:lnTo>
                    <a:pt x="528" y="873"/>
                  </a:lnTo>
                  <a:lnTo>
                    <a:pt x="515" y="872"/>
                  </a:lnTo>
                  <a:lnTo>
                    <a:pt x="504" y="869"/>
                  </a:lnTo>
                  <a:lnTo>
                    <a:pt x="494" y="866"/>
                  </a:lnTo>
                  <a:lnTo>
                    <a:pt x="484" y="865"/>
                  </a:lnTo>
                  <a:lnTo>
                    <a:pt x="472" y="862"/>
                  </a:lnTo>
                  <a:lnTo>
                    <a:pt x="460" y="861"/>
                  </a:lnTo>
                  <a:lnTo>
                    <a:pt x="446" y="861"/>
                  </a:lnTo>
                  <a:lnTo>
                    <a:pt x="438" y="861"/>
                  </a:lnTo>
                  <a:lnTo>
                    <a:pt x="431" y="862"/>
                  </a:lnTo>
                  <a:lnTo>
                    <a:pt x="426" y="864"/>
                  </a:lnTo>
                  <a:lnTo>
                    <a:pt x="419" y="866"/>
                  </a:lnTo>
                  <a:lnTo>
                    <a:pt x="408" y="872"/>
                  </a:lnTo>
                  <a:lnTo>
                    <a:pt x="399" y="878"/>
                  </a:lnTo>
                  <a:lnTo>
                    <a:pt x="391" y="885"/>
                  </a:lnTo>
                  <a:lnTo>
                    <a:pt x="382" y="892"/>
                  </a:lnTo>
                  <a:lnTo>
                    <a:pt x="376" y="894"/>
                  </a:lnTo>
                  <a:lnTo>
                    <a:pt x="372" y="896"/>
                  </a:lnTo>
                  <a:lnTo>
                    <a:pt x="367" y="897"/>
                  </a:lnTo>
                  <a:lnTo>
                    <a:pt x="362" y="897"/>
                  </a:lnTo>
                  <a:lnTo>
                    <a:pt x="356" y="896"/>
                  </a:lnTo>
                  <a:lnTo>
                    <a:pt x="351" y="894"/>
                  </a:lnTo>
                  <a:lnTo>
                    <a:pt x="347" y="892"/>
                  </a:lnTo>
                  <a:lnTo>
                    <a:pt x="343" y="888"/>
                  </a:lnTo>
                  <a:lnTo>
                    <a:pt x="336" y="877"/>
                  </a:lnTo>
                  <a:lnTo>
                    <a:pt x="331" y="865"/>
                  </a:lnTo>
                  <a:lnTo>
                    <a:pt x="322" y="838"/>
                  </a:lnTo>
                  <a:lnTo>
                    <a:pt x="314" y="818"/>
                  </a:lnTo>
                  <a:lnTo>
                    <a:pt x="310" y="824"/>
                  </a:lnTo>
                  <a:lnTo>
                    <a:pt x="306" y="833"/>
                  </a:lnTo>
                  <a:lnTo>
                    <a:pt x="302" y="844"/>
                  </a:lnTo>
                  <a:lnTo>
                    <a:pt x="296" y="857"/>
                  </a:lnTo>
                  <a:lnTo>
                    <a:pt x="292" y="870"/>
                  </a:lnTo>
                  <a:lnTo>
                    <a:pt x="286" y="881"/>
                  </a:lnTo>
                  <a:lnTo>
                    <a:pt x="283" y="885"/>
                  </a:lnTo>
                  <a:lnTo>
                    <a:pt x="279" y="888"/>
                  </a:lnTo>
                  <a:lnTo>
                    <a:pt x="275" y="890"/>
                  </a:lnTo>
                  <a:lnTo>
                    <a:pt x="271" y="890"/>
                  </a:lnTo>
                  <a:lnTo>
                    <a:pt x="260" y="890"/>
                  </a:lnTo>
                  <a:lnTo>
                    <a:pt x="251" y="888"/>
                  </a:lnTo>
                  <a:lnTo>
                    <a:pt x="243" y="884"/>
                  </a:lnTo>
                  <a:lnTo>
                    <a:pt x="234" y="878"/>
                  </a:lnTo>
                  <a:lnTo>
                    <a:pt x="224" y="874"/>
                  </a:lnTo>
                  <a:lnTo>
                    <a:pt x="214" y="870"/>
                  </a:lnTo>
                  <a:lnTo>
                    <a:pt x="202" y="868"/>
                  </a:lnTo>
                  <a:lnTo>
                    <a:pt x="187" y="866"/>
                  </a:lnTo>
                  <a:lnTo>
                    <a:pt x="176" y="868"/>
                  </a:lnTo>
                  <a:lnTo>
                    <a:pt x="167" y="870"/>
                  </a:lnTo>
                  <a:lnTo>
                    <a:pt x="159" y="873"/>
                  </a:lnTo>
                  <a:lnTo>
                    <a:pt x="151" y="876"/>
                  </a:lnTo>
                  <a:lnTo>
                    <a:pt x="143" y="880"/>
                  </a:lnTo>
                  <a:lnTo>
                    <a:pt x="134" y="882"/>
                  </a:lnTo>
                  <a:lnTo>
                    <a:pt x="126" y="884"/>
                  </a:lnTo>
                  <a:lnTo>
                    <a:pt x="115" y="885"/>
                  </a:lnTo>
                  <a:lnTo>
                    <a:pt x="108" y="884"/>
                  </a:lnTo>
                  <a:lnTo>
                    <a:pt x="102" y="882"/>
                  </a:lnTo>
                  <a:lnTo>
                    <a:pt x="95" y="880"/>
                  </a:lnTo>
                  <a:lnTo>
                    <a:pt x="88" y="874"/>
                  </a:lnTo>
                  <a:lnTo>
                    <a:pt x="75" y="864"/>
                  </a:lnTo>
                  <a:lnTo>
                    <a:pt x="62" y="850"/>
                  </a:lnTo>
                  <a:lnTo>
                    <a:pt x="48" y="834"/>
                  </a:lnTo>
                  <a:lnTo>
                    <a:pt x="39" y="818"/>
                  </a:lnTo>
                  <a:lnTo>
                    <a:pt x="35" y="810"/>
                  </a:lnTo>
                  <a:lnTo>
                    <a:pt x="32" y="804"/>
                  </a:lnTo>
                  <a:lnTo>
                    <a:pt x="31" y="796"/>
                  </a:lnTo>
                  <a:lnTo>
                    <a:pt x="30" y="789"/>
                  </a:lnTo>
                  <a:lnTo>
                    <a:pt x="31" y="776"/>
                  </a:lnTo>
                  <a:lnTo>
                    <a:pt x="34" y="764"/>
                  </a:lnTo>
                  <a:lnTo>
                    <a:pt x="36" y="753"/>
                  </a:lnTo>
                  <a:lnTo>
                    <a:pt x="39" y="744"/>
                  </a:lnTo>
                  <a:lnTo>
                    <a:pt x="43" y="733"/>
                  </a:lnTo>
                  <a:lnTo>
                    <a:pt x="46" y="722"/>
                  </a:lnTo>
                  <a:lnTo>
                    <a:pt x="47" y="710"/>
                  </a:lnTo>
                  <a:lnTo>
                    <a:pt x="48" y="698"/>
                  </a:lnTo>
                  <a:lnTo>
                    <a:pt x="48" y="690"/>
                  </a:lnTo>
                  <a:lnTo>
                    <a:pt x="46" y="684"/>
                  </a:lnTo>
                  <a:lnTo>
                    <a:pt x="44" y="678"/>
                  </a:lnTo>
                  <a:lnTo>
                    <a:pt x="40" y="673"/>
                  </a:lnTo>
                  <a:lnTo>
                    <a:pt x="34" y="662"/>
                  </a:lnTo>
                  <a:lnTo>
                    <a:pt x="24" y="654"/>
                  </a:lnTo>
                  <a:lnTo>
                    <a:pt x="15" y="646"/>
                  </a:lnTo>
                  <a:lnTo>
                    <a:pt x="7" y="638"/>
                  </a:lnTo>
                  <a:lnTo>
                    <a:pt x="4" y="634"/>
                  </a:lnTo>
                  <a:lnTo>
                    <a:pt x="2" y="630"/>
                  </a:lnTo>
                  <a:lnTo>
                    <a:pt x="0" y="625"/>
                  </a:lnTo>
                  <a:lnTo>
                    <a:pt x="0" y="620"/>
                  </a:lnTo>
                  <a:lnTo>
                    <a:pt x="0" y="614"/>
                  </a:lnTo>
                  <a:lnTo>
                    <a:pt x="3" y="609"/>
                  </a:lnTo>
                  <a:lnTo>
                    <a:pt x="6" y="602"/>
                  </a:lnTo>
                  <a:lnTo>
                    <a:pt x="10" y="597"/>
                  </a:lnTo>
                  <a:lnTo>
                    <a:pt x="19" y="586"/>
                  </a:lnTo>
                  <a:lnTo>
                    <a:pt x="31" y="576"/>
                  </a:lnTo>
                  <a:lnTo>
                    <a:pt x="44" y="566"/>
                  </a:lnTo>
                  <a:lnTo>
                    <a:pt x="59" y="560"/>
                  </a:lnTo>
                  <a:lnTo>
                    <a:pt x="72" y="556"/>
                  </a:lnTo>
                  <a:lnTo>
                    <a:pt x="84" y="553"/>
                  </a:lnTo>
                  <a:lnTo>
                    <a:pt x="95" y="554"/>
                  </a:lnTo>
                  <a:lnTo>
                    <a:pt x="106" y="557"/>
                  </a:lnTo>
                  <a:lnTo>
                    <a:pt x="115" y="560"/>
                  </a:lnTo>
                  <a:lnTo>
                    <a:pt x="123" y="562"/>
                  </a:lnTo>
                  <a:lnTo>
                    <a:pt x="132" y="566"/>
                  </a:lnTo>
                  <a:lnTo>
                    <a:pt x="142" y="569"/>
                  </a:lnTo>
                  <a:lnTo>
                    <a:pt x="152" y="570"/>
                  </a:lnTo>
                  <a:lnTo>
                    <a:pt x="163" y="572"/>
                  </a:lnTo>
                  <a:lnTo>
                    <a:pt x="171" y="572"/>
                  </a:lnTo>
                  <a:lnTo>
                    <a:pt x="178" y="570"/>
                  </a:lnTo>
                  <a:lnTo>
                    <a:pt x="184" y="568"/>
                  </a:lnTo>
                  <a:lnTo>
                    <a:pt x="188" y="565"/>
                  </a:lnTo>
                  <a:lnTo>
                    <a:pt x="192" y="561"/>
                  </a:lnTo>
                  <a:lnTo>
                    <a:pt x="195" y="556"/>
                  </a:lnTo>
                  <a:lnTo>
                    <a:pt x="198" y="552"/>
                  </a:lnTo>
                  <a:lnTo>
                    <a:pt x="199" y="545"/>
                  </a:lnTo>
                  <a:lnTo>
                    <a:pt x="200" y="518"/>
                  </a:lnTo>
                  <a:lnTo>
                    <a:pt x="199" y="488"/>
                  </a:lnTo>
                  <a:lnTo>
                    <a:pt x="199" y="474"/>
                  </a:lnTo>
                  <a:lnTo>
                    <a:pt x="199" y="456"/>
                  </a:lnTo>
                  <a:lnTo>
                    <a:pt x="199" y="434"/>
                  </a:lnTo>
                  <a:lnTo>
                    <a:pt x="199" y="416"/>
                  </a:lnTo>
                  <a:lnTo>
                    <a:pt x="200" y="404"/>
                  </a:lnTo>
                  <a:lnTo>
                    <a:pt x="202" y="393"/>
                  </a:lnTo>
                  <a:lnTo>
                    <a:pt x="206" y="385"/>
                  </a:lnTo>
                  <a:lnTo>
                    <a:pt x="210" y="377"/>
                  </a:lnTo>
                  <a:lnTo>
                    <a:pt x="222" y="363"/>
                  </a:lnTo>
                  <a:lnTo>
                    <a:pt x="235" y="351"/>
                  </a:lnTo>
                  <a:lnTo>
                    <a:pt x="242" y="344"/>
                  </a:lnTo>
                  <a:lnTo>
                    <a:pt x="248" y="337"/>
                  </a:lnTo>
                  <a:lnTo>
                    <a:pt x="255" y="331"/>
                  </a:lnTo>
                  <a:lnTo>
                    <a:pt x="260" y="323"/>
                  </a:lnTo>
                  <a:lnTo>
                    <a:pt x="264" y="313"/>
                  </a:lnTo>
                  <a:lnTo>
                    <a:pt x="268" y="303"/>
                  </a:lnTo>
                  <a:lnTo>
                    <a:pt x="271" y="291"/>
                  </a:lnTo>
                  <a:lnTo>
                    <a:pt x="271" y="277"/>
                  </a:lnTo>
                  <a:lnTo>
                    <a:pt x="271" y="269"/>
                  </a:lnTo>
                  <a:lnTo>
                    <a:pt x="270" y="261"/>
                  </a:lnTo>
                  <a:lnTo>
                    <a:pt x="268" y="255"/>
                  </a:lnTo>
                  <a:lnTo>
                    <a:pt x="266" y="248"/>
                  </a:lnTo>
                  <a:lnTo>
                    <a:pt x="260" y="236"/>
                  </a:lnTo>
                  <a:lnTo>
                    <a:pt x="254" y="224"/>
                  </a:lnTo>
                  <a:lnTo>
                    <a:pt x="247" y="212"/>
                  </a:lnTo>
                  <a:lnTo>
                    <a:pt x="240" y="200"/>
                  </a:lnTo>
                  <a:lnTo>
                    <a:pt x="239" y="193"/>
                  </a:lnTo>
                  <a:lnTo>
                    <a:pt x="236" y="188"/>
                  </a:lnTo>
                  <a:lnTo>
                    <a:pt x="235" y="181"/>
                  </a:lnTo>
                  <a:lnTo>
                    <a:pt x="235" y="175"/>
                  </a:lnTo>
                  <a:lnTo>
                    <a:pt x="236" y="164"/>
                  </a:lnTo>
                  <a:lnTo>
                    <a:pt x="239" y="155"/>
                  </a:lnTo>
                  <a:lnTo>
                    <a:pt x="243" y="144"/>
                  </a:lnTo>
                  <a:lnTo>
                    <a:pt x="248" y="133"/>
                  </a:lnTo>
                  <a:lnTo>
                    <a:pt x="263" y="113"/>
                  </a:lnTo>
                  <a:lnTo>
                    <a:pt x="279" y="92"/>
                  </a:lnTo>
                  <a:lnTo>
                    <a:pt x="295" y="69"/>
                  </a:lnTo>
                  <a:lnTo>
                    <a:pt x="311" y="48"/>
                  </a:lnTo>
                  <a:lnTo>
                    <a:pt x="318" y="36"/>
                  </a:lnTo>
                  <a:lnTo>
                    <a:pt x="324" y="24"/>
                  </a:lnTo>
                  <a:lnTo>
                    <a:pt x="328" y="12"/>
                  </a:lnTo>
                  <a:lnTo>
                    <a:pt x="331" y="0"/>
                  </a:lnTo>
                  <a:lnTo>
                    <a:pt x="371" y="0"/>
                  </a:lnTo>
                  <a:lnTo>
                    <a:pt x="402" y="0"/>
                  </a:lnTo>
                  <a:lnTo>
                    <a:pt x="428" y="0"/>
                  </a:lnTo>
                  <a:lnTo>
                    <a:pt x="458" y="0"/>
                  </a:lnTo>
                  <a:lnTo>
                    <a:pt x="463" y="0"/>
                  </a:lnTo>
                  <a:lnTo>
                    <a:pt x="470" y="3"/>
                  </a:lnTo>
                  <a:lnTo>
                    <a:pt x="475" y="5"/>
                  </a:lnTo>
                  <a:lnTo>
                    <a:pt x="482" y="11"/>
                  </a:lnTo>
                  <a:lnTo>
                    <a:pt x="495" y="21"/>
                  </a:lnTo>
                  <a:lnTo>
                    <a:pt x="507" y="33"/>
                  </a:lnTo>
                  <a:lnTo>
                    <a:pt x="522" y="47"/>
                  </a:lnTo>
                  <a:lnTo>
                    <a:pt x="536" y="59"/>
                  </a:lnTo>
                  <a:lnTo>
                    <a:pt x="543" y="63"/>
                  </a:lnTo>
                  <a:lnTo>
                    <a:pt x="551" y="67"/>
                  </a:lnTo>
                  <a:lnTo>
                    <a:pt x="559" y="71"/>
                  </a:lnTo>
                  <a:lnTo>
                    <a:pt x="567" y="72"/>
                  </a:lnTo>
                  <a:lnTo>
                    <a:pt x="570" y="87"/>
                  </a:lnTo>
                  <a:lnTo>
                    <a:pt x="572" y="103"/>
                  </a:lnTo>
                  <a:lnTo>
                    <a:pt x="574" y="116"/>
                  </a:lnTo>
                  <a:lnTo>
                    <a:pt x="576" y="128"/>
                  </a:lnTo>
                  <a:lnTo>
                    <a:pt x="580" y="139"/>
                  </a:lnTo>
                  <a:lnTo>
                    <a:pt x="587" y="147"/>
                  </a:lnTo>
                  <a:lnTo>
                    <a:pt x="594" y="152"/>
                  </a:lnTo>
                  <a:lnTo>
                    <a:pt x="602" y="157"/>
                  </a:lnTo>
                  <a:lnTo>
                    <a:pt x="611" y="161"/>
                  </a:lnTo>
                  <a:lnTo>
                    <a:pt x="620" y="164"/>
                  </a:lnTo>
                  <a:lnTo>
                    <a:pt x="640" y="169"/>
                  </a:lnTo>
                  <a:lnTo>
                    <a:pt x="659" y="175"/>
                  </a:lnTo>
                  <a:lnTo>
                    <a:pt x="667" y="179"/>
                  </a:lnTo>
                  <a:lnTo>
                    <a:pt x="675" y="184"/>
                  </a:lnTo>
                  <a:lnTo>
                    <a:pt x="681" y="191"/>
                  </a:lnTo>
                  <a:lnTo>
                    <a:pt x="687" y="199"/>
                  </a:lnTo>
                  <a:lnTo>
                    <a:pt x="695" y="209"/>
                  </a:lnTo>
                  <a:lnTo>
                    <a:pt x="703" y="219"/>
                  </a:lnTo>
                  <a:lnTo>
                    <a:pt x="713" y="227"/>
                  </a:lnTo>
                  <a:lnTo>
                    <a:pt x="724" y="235"/>
                  </a:lnTo>
                  <a:lnTo>
                    <a:pt x="748" y="249"/>
                  </a:lnTo>
                  <a:lnTo>
                    <a:pt x="772" y="263"/>
                  </a:lnTo>
                  <a:lnTo>
                    <a:pt x="784" y="271"/>
                  </a:lnTo>
                  <a:lnTo>
                    <a:pt x="795" y="279"/>
                  </a:lnTo>
                  <a:lnTo>
                    <a:pt x="805" y="288"/>
                  </a:lnTo>
                  <a:lnTo>
                    <a:pt x="813" y="299"/>
                  </a:lnTo>
                  <a:lnTo>
                    <a:pt x="821" y="311"/>
                  </a:lnTo>
                  <a:lnTo>
                    <a:pt x="827" y="323"/>
                  </a:lnTo>
                  <a:lnTo>
                    <a:pt x="829" y="339"/>
                  </a:lnTo>
                  <a:lnTo>
                    <a:pt x="831" y="355"/>
                  </a:lnTo>
                  <a:lnTo>
                    <a:pt x="831" y="361"/>
                  </a:lnTo>
                  <a:lnTo>
                    <a:pt x="829" y="368"/>
                  </a:lnTo>
                  <a:lnTo>
                    <a:pt x="827" y="373"/>
                  </a:lnTo>
                  <a:lnTo>
                    <a:pt x="824" y="377"/>
                  </a:lnTo>
                  <a:lnTo>
                    <a:pt x="816" y="386"/>
                  </a:lnTo>
                  <a:lnTo>
                    <a:pt x="807" y="394"/>
                  </a:lnTo>
                  <a:lnTo>
                    <a:pt x="799" y="402"/>
                  </a:lnTo>
                  <a:lnTo>
                    <a:pt x="791" y="410"/>
                  </a:lnTo>
                  <a:lnTo>
                    <a:pt x="788" y="416"/>
                  </a:lnTo>
                  <a:lnTo>
                    <a:pt x="785" y="421"/>
                  </a:lnTo>
                  <a:lnTo>
                    <a:pt x="784" y="426"/>
                  </a:lnTo>
                  <a:lnTo>
                    <a:pt x="783" y="433"/>
                  </a:lnTo>
                  <a:lnTo>
                    <a:pt x="784" y="441"/>
                  </a:lnTo>
                  <a:lnTo>
                    <a:pt x="787" y="449"/>
                  </a:lnTo>
                  <a:lnTo>
                    <a:pt x="792" y="456"/>
                  </a:lnTo>
                  <a:lnTo>
                    <a:pt x="797" y="460"/>
                  </a:lnTo>
                  <a:lnTo>
                    <a:pt x="804" y="464"/>
                  </a:lnTo>
                  <a:lnTo>
                    <a:pt x="811" y="468"/>
                  </a:lnTo>
                  <a:lnTo>
                    <a:pt x="819" y="469"/>
                  </a:lnTo>
                  <a:lnTo>
                    <a:pt x="825" y="469"/>
                  </a:lnTo>
                  <a:lnTo>
                    <a:pt x="841" y="469"/>
                  </a:lnTo>
                  <a:lnTo>
                    <a:pt x="853" y="469"/>
                  </a:lnTo>
                  <a:lnTo>
                    <a:pt x="861" y="469"/>
                  </a:lnTo>
                  <a:lnTo>
                    <a:pt x="867" y="469"/>
                  </a:lnTo>
                  <a:lnTo>
                    <a:pt x="871" y="470"/>
                  </a:lnTo>
                  <a:lnTo>
                    <a:pt x="875" y="473"/>
                  </a:lnTo>
                  <a:lnTo>
                    <a:pt x="876" y="477"/>
                  </a:lnTo>
                  <a:lnTo>
                    <a:pt x="879" y="484"/>
                  </a:lnTo>
                  <a:lnTo>
                    <a:pt x="880" y="498"/>
                  </a:lnTo>
                  <a:lnTo>
                    <a:pt x="883" y="514"/>
                  </a:lnTo>
                  <a:lnTo>
                    <a:pt x="884" y="522"/>
                  </a:lnTo>
                  <a:lnTo>
                    <a:pt x="885" y="532"/>
                  </a:lnTo>
                  <a:lnTo>
                    <a:pt x="888" y="538"/>
                  </a:lnTo>
                  <a:lnTo>
                    <a:pt x="891" y="545"/>
                  </a:lnTo>
                  <a:lnTo>
                    <a:pt x="895" y="552"/>
                  </a:lnTo>
                  <a:lnTo>
                    <a:pt x="900" y="556"/>
                  </a:lnTo>
                  <a:lnTo>
                    <a:pt x="907" y="558"/>
                  </a:lnTo>
                  <a:lnTo>
                    <a:pt x="916" y="560"/>
                  </a:lnTo>
                  <a:lnTo>
                    <a:pt x="940" y="560"/>
                  </a:lnTo>
                  <a:lnTo>
                    <a:pt x="952" y="560"/>
                  </a:lnTo>
                  <a:lnTo>
                    <a:pt x="963" y="578"/>
                  </a:lnTo>
                  <a:lnTo>
                    <a:pt x="988" y="622"/>
                  </a:lnTo>
                  <a:lnTo>
                    <a:pt x="1015" y="669"/>
                  </a:lnTo>
                  <a:lnTo>
                    <a:pt x="1029" y="698"/>
                  </a:lnTo>
                  <a:lnTo>
                    <a:pt x="1033" y="700"/>
                  </a:lnTo>
                  <a:lnTo>
                    <a:pt x="1035" y="701"/>
                  </a:lnTo>
                  <a:lnTo>
                    <a:pt x="1039" y="704"/>
                  </a:lnTo>
                  <a:lnTo>
                    <a:pt x="1048" y="704"/>
                  </a:lnTo>
                  <a:lnTo>
                    <a:pt x="1017" y="70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69" name="Freeform 65"/>
            <p:cNvSpPr>
              <a:spLocks/>
            </p:cNvSpPr>
            <p:nvPr/>
          </p:nvSpPr>
          <p:spPr bwMode="auto">
            <a:xfrm>
              <a:off x="1195709" y="4248150"/>
              <a:ext cx="293688" cy="236537"/>
            </a:xfrm>
            <a:custGeom>
              <a:avLst/>
              <a:gdLst/>
              <a:ahLst/>
              <a:cxnLst>
                <a:cxn ang="0">
                  <a:pos x="92" y="61"/>
                </a:cxn>
                <a:cxn ang="0">
                  <a:pos x="97" y="70"/>
                </a:cxn>
                <a:cxn ang="0">
                  <a:pos x="109" y="72"/>
                </a:cxn>
                <a:cxn ang="0">
                  <a:pos x="125" y="62"/>
                </a:cxn>
                <a:cxn ang="0">
                  <a:pos x="138" y="46"/>
                </a:cxn>
                <a:cxn ang="0">
                  <a:pos x="173" y="41"/>
                </a:cxn>
                <a:cxn ang="0">
                  <a:pos x="205" y="41"/>
                </a:cxn>
                <a:cxn ang="0">
                  <a:pos x="233" y="36"/>
                </a:cxn>
                <a:cxn ang="0">
                  <a:pos x="263" y="26"/>
                </a:cxn>
                <a:cxn ang="0">
                  <a:pos x="299" y="25"/>
                </a:cxn>
                <a:cxn ang="0">
                  <a:pos x="326" y="33"/>
                </a:cxn>
                <a:cxn ang="0">
                  <a:pos x="355" y="41"/>
                </a:cxn>
                <a:cxn ang="0">
                  <a:pos x="395" y="38"/>
                </a:cxn>
                <a:cxn ang="0">
                  <a:pos x="426" y="24"/>
                </a:cxn>
                <a:cxn ang="0">
                  <a:pos x="446" y="0"/>
                </a:cxn>
                <a:cxn ang="0">
                  <a:pos x="446" y="48"/>
                </a:cxn>
                <a:cxn ang="0">
                  <a:pos x="450" y="80"/>
                </a:cxn>
                <a:cxn ang="0">
                  <a:pos x="470" y="102"/>
                </a:cxn>
                <a:cxn ang="0">
                  <a:pos x="494" y="114"/>
                </a:cxn>
                <a:cxn ang="0">
                  <a:pos x="514" y="156"/>
                </a:cxn>
                <a:cxn ang="0">
                  <a:pos x="541" y="186"/>
                </a:cxn>
                <a:cxn ang="0">
                  <a:pos x="554" y="222"/>
                </a:cxn>
                <a:cxn ang="0">
                  <a:pos x="561" y="257"/>
                </a:cxn>
                <a:cxn ang="0">
                  <a:pos x="582" y="271"/>
                </a:cxn>
                <a:cxn ang="0">
                  <a:pos x="602" y="301"/>
                </a:cxn>
                <a:cxn ang="0">
                  <a:pos x="589" y="319"/>
                </a:cxn>
                <a:cxn ang="0">
                  <a:pos x="585" y="330"/>
                </a:cxn>
                <a:cxn ang="0">
                  <a:pos x="583" y="353"/>
                </a:cxn>
                <a:cxn ang="0">
                  <a:pos x="569" y="386"/>
                </a:cxn>
                <a:cxn ang="0">
                  <a:pos x="533" y="419"/>
                </a:cxn>
                <a:cxn ang="0">
                  <a:pos x="454" y="462"/>
                </a:cxn>
                <a:cxn ang="0">
                  <a:pos x="387" y="479"/>
                </a:cxn>
                <a:cxn ang="0">
                  <a:pos x="363" y="453"/>
                </a:cxn>
                <a:cxn ang="0">
                  <a:pos x="339" y="437"/>
                </a:cxn>
                <a:cxn ang="0">
                  <a:pos x="319" y="433"/>
                </a:cxn>
                <a:cxn ang="0">
                  <a:pos x="302" y="437"/>
                </a:cxn>
                <a:cxn ang="0">
                  <a:pos x="289" y="451"/>
                </a:cxn>
                <a:cxn ang="0">
                  <a:pos x="273" y="466"/>
                </a:cxn>
                <a:cxn ang="0">
                  <a:pos x="253" y="469"/>
                </a:cxn>
                <a:cxn ang="0">
                  <a:pos x="233" y="462"/>
                </a:cxn>
                <a:cxn ang="0">
                  <a:pos x="209" y="433"/>
                </a:cxn>
                <a:cxn ang="0">
                  <a:pos x="189" y="403"/>
                </a:cxn>
                <a:cxn ang="0">
                  <a:pos x="174" y="397"/>
                </a:cxn>
                <a:cxn ang="0">
                  <a:pos x="158" y="402"/>
                </a:cxn>
                <a:cxn ang="0">
                  <a:pos x="143" y="413"/>
                </a:cxn>
                <a:cxn ang="0">
                  <a:pos x="128" y="414"/>
                </a:cxn>
                <a:cxn ang="0">
                  <a:pos x="117" y="410"/>
                </a:cxn>
                <a:cxn ang="0">
                  <a:pos x="105" y="390"/>
                </a:cxn>
                <a:cxn ang="0">
                  <a:pos x="101" y="361"/>
                </a:cxn>
                <a:cxn ang="0">
                  <a:pos x="94" y="317"/>
                </a:cxn>
                <a:cxn ang="0">
                  <a:pos x="85" y="307"/>
                </a:cxn>
                <a:cxn ang="0">
                  <a:pos x="73" y="306"/>
                </a:cxn>
                <a:cxn ang="0">
                  <a:pos x="36" y="306"/>
                </a:cxn>
                <a:cxn ang="0">
                  <a:pos x="14" y="301"/>
                </a:cxn>
                <a:cxn ang="0">
                  <a:pos x="2" y="286"/>
                </a:cxn>
                <a:cxn ang="0">
                  <a:pos x="1" y="251"/>
                </a:cxn>
                <a:cxn ang="0">
                  <a:pos x="14" y="195"/>
                </a:cxn>
                <a:cxn ang="0">
                  <a:pos x="37" y="140"/>
                </a:cxn>
                <a:cxn ang="0">
                  <a:pos x="76" y="69"/>
                </a:cxn>
              </a:cxnLst>
              <a:rect l="0" t="0" r="r" b="b"/>
              <a:pathLst>
                <a:path w="602" h="487">
                  <a:moveTo>
                    <a:pt x="90" y="48"/>
                  </a:moveTo>
                  <a:lnTo>
                    <a:pt x="90" y="56"/>
                  </a:lnTo>
                  <a:lnTo>
                    <a:pt x="92" y="61"/>
                  </a:lnTo>
                  <a:lnTo>
                    <a:pt x="93" y="66"/>
                  </a:lnTo>
                  <a:lnTo>
                    <a:pt x="94" y="69"/>
                  </a:lnTo>
                  <a:lnTo>
                    <a:pt x="97" y="70"/>
                  </a:lnTo>
                  <a:lnTo>
                    <a:pt x="101" y="72"/>
                  </a:lnTo>
                  <a:lnTo>
                    <a:pt x="104" y="72"/>
                  </a:lnTo>
                  <a:lnTo>
                    <a:pt x="109" y="72"/>
                  </a:lnTo>
                  <a:lnTo>
                    <a:pt x="114" y="70"/>
                  </a:lnTo>
                  <a:lnTo>
                    <a:pt x="120" y="68"/>
                  </a:lnTo>
                  <a:lnTo>
                    <a:pt x="125" y="62"/>
                  </a:lnTo>
                  <a:lnTo>
                    <a:pt x="129" y="57"/>
                  </a:lnTo>
                  <a:lnTo>
                    <a:pt x="134" y="52"/>
                  </a:lnTo>
                  <a:lnTo>
                    <a:pt x="138" y="46"/>
                  </a:lnTo>
                  <a:lnTo>
                    <a:pt x="145" y="42"/>
                  </a:lnTo>
                  <a:lnTo>
                    <a:pt x="150" y="41"/>
                  </a:lnTo>
                  <a:lnTo>
                    <a:pt x="173" y="41"/>
                  </a:lnTo>
                  <a:lnTo>
                    <a:pt x="186" y="41"/>
                  </a:lnTo>
                  <a:lnTo>
                    <a:pt x="197" y="41"/>
                  </a:lnTo>
                  <a:lnTo>
                    <a:pt x="205" y="41"/>
                  </a:lnTo>
                  <a:lnTo>
                    <a:pt x="214" y="41"/>
                  </a:lnTo>
                  <a:lnTo>
                    <a:pt x="223" y="38"/>
                  </a:lnTo>
                  <a:lnTo>
                    <a:pt x="233" y="36"/>
                  </a:lnTo>
                  <a:lnTo>
                    <a:pt x="242" y="33"/>
                  </a:lnTo>
                  <a:lnTo>
                    <a:pt x="253" y="29"/>
                  </a:lnTo>
                  <a:lnTo>
                    <a:pt x="263" y="26"/>
                  </a:lnTo>
                  <a:lnTo>
                    <a:pt x="275" y="25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309" y="26"/>
                  </a:lnTo>
                  <a:lnTo>
                    <a:pt x="318" y="29"/>
                  </a:lnTo>
                  <a:lnTo>
                    <a:pt x="326" y="33"/>
                  </a:lnTo>
                  <a:lnTo>
                    <a:pt x="334" y="36"/>
                  </a:lnTo>
                  <a:lnTo>
                    <a:pt x="343" y="38"/>
                  </a:lnTo>
                  <a:lnTo>
                    <a:pt x="355" y="41"/>
                  </a:lnTo>
                  <a:lnTo>
                    <a:pt x="367" y="41"/>
                  </a:lnTo>
                  <a:lnTo>
                    <a:pt x="382" y="41"/>
                  </a:lnTo>
                  <a:lnTo>
                    <a:pt x="395" y="38"/>
                  </a:lnTo>
                  <a:lnTo>
                    <a:pt x="407" y="34"/>
                  </a:lnTo>
                  <a:lnTo>
                    <a:pt x="418" y="29"/>
                  </a:lnTo>
                  <a:lnTo>
                    <a:pt x="426" y="24"/>
                  </a:lnTo>
                  <a:lnTo>
                    <a:pt x="434" y="16"/>
                  </a:lnTo>
                  <a:lnTo>
                    <a:pt x="441" y="8"/>
                  </a:lnTo>
                  <a:lnTo>
                    <a:pt x="446" y="0"/>
                  </a:lnTo>
                  <a:lnTo>
                    <a:pt x="446" y="21"/>
                  </a:lnTo>
                  <a:lnTo>
                    <a:pt x="446" y="37"/>
                  </a:lnTo>
                  <a:lnTo>
                    <a:pt x="446" y="48"/>
                  </a:lnTo>
                  <a:lnTo>
                    <a:pt x="446" y="60"/>
                  </a:lnTo>
                  <a:lnTo>
                    <a:pt x="447" y="70"/>
                  </a:lnTo>
                  <a:lnTo>
                    <a:pt x="450" y="80"/>
                  </a:lnTo>
                  <a:lnTo>
                    <a:pt x="455" y="89"/>
                  </a:lnTo>
                  <a:lnTo>
                    <a:pt x="463" y="96"/>
                  </a:lnTo>
                  <a:lnTo>
                    <a:pt x="470" y="102"/>
                  </a:lnTo>
                  <a:lnTo>
                    <a:pt x="478" y="108"/>
                  </a:lnTo>
                  <a:lnTo>
                    <a:pt x="486" y="112"/>
                  </a:lnTo>
                  <a:lnTo>
                    <a:pt x="494" y="114"/>
                  </a:lnTo>
                  <a:lnTo>
                    <a:pt x="499" y="129"/>
                  </a:lnTo>
                  <a:lnTo>
                    <a:pt x="506" y="144"/>
                  </a:lnTo>
                  <a:lnTo>
                    <a:pt x="514" y="156"/>
                  </a:lnTo>
                  <a:lnTo>
                    <a:pt x="522" y="168"/>
                  </a:lnTo>
                  <a:lnTo>
                    <a:pt x="531" y="177"/>
                  </a:lnTo>
                  <a:lnTo>
                    <a:pt x="541" y="186"/>
                  </a:lnTo>
                  <a:lnTo>
                    <a:pt x="551" y="193"/>
                  </a:lnTo>
                  <a:lnTo>
                    <a:pt x="559" y="198"/>
                  </a:lnTo>
                  <a:lnTo>
                    <a:pt x="554" y="222"/>
                  </a:lnTo>
                  <a:lnTo>
                    <a:pt x="555" y="237"/>
                  </a:lnTo>
                  <a:lnTo>
                    <a:pt x="557" y="247"/>
                  </a:lnTo>
                  <a:lnTo>
                    <a:pt x="561" y="257"/>
                  </a:lnTo>
                  <a:lnTo>
                    <a:pt x="567" y="263"/>
                  </a:lnTo>
                  <a:lnTo>
                    <a:pt x="574" y="267"/>
                  </a:lnTo>
                  <a:lnTo>
                    <a:pt x="582" y="271"/>
                  </a:lnTo>
                  <a:lnTo>
                    <a:pt x="591" y="274"/>
                  </a:lnTo>
                  <a:lnTo>
                    <a:pt x="602" y="277"/>
                  </a:lnTo>
                  <a:lnTo>
                    <a:pt x="602" y="301"/>
                  </a:lnTo>
                  <a:lnTo>
                    <a:pt x="597" y="309"/>
                  </a:lnTo>
                  <a:lnTo>
                    <a:pt x="591" y="315"/>
                  </a:lnTo>
                  <a:lnTo>
                    <a:pt x="589" y="319"/>
                  </a:lnTo>
                  <a:lnTo>
                    <a:pt x="586" y="322"/>
                  </a:lnTo>
                  <a:lnTo>
                    <a:pt x="585" y="326"/>
                  </a:lnTo>
                  <a:lnTo>
                    <a:pt x="585" y="330"/>
                  </a:lnTo>
                  <a:lnTo>
                    <a:pt x="585" y="338"/>
                  </a:lnTo>
                  <a:lnTo>
                    <a:pt x="585" y="346"/>
                  </a:lnTo>
                  <a:lnTo>
                    <a:pt x="583" y="353"/>
                  </a:lnTo>
                  <a:lnTo>
                    <a:pt x="582" y="361"/>
                  </a:lnTo>
                  <a:lnTo>
                    <a:pt x="577" y="374"/>
                  </a:lnTo>
                  <a:lnTo>
                    <a:pt x="569" y="386"/>
                  </a:lnTo>
                  <a:lnTo>
                    <a:pt x="558" y="398"/>
                  </a:lnTo>
                  <a:lnTo>
                    <a:pt x="546" y="409"/>
                  </a:lnTo>
                  <a:lnTo>
                    <a:pt x="533" y="419"/>
                  </a:lnTo>
                  <a:lnTo>
                    <a:pt x="518" y="429"/>
                  </a:lnTo>
                  <a:lnTo>
                    <a:pt x="486" y="446"/>
                  </a:lnTo>
                  <a:lnTo>
                    <a:pt x="454" y="462"/>
                  </a:lnTo>
                  <a:lnTo>
                    <a:pt x="423" y="475"/>
                  </a:lnTo>
                  <a:lnTo>
                    <a:pt x="397" y="487"/>
                  </a:lnTo>
                  <a:lnTo>
                    <a:pt x="387" y="479"/>
                  </a:lnTo>
                  <a:lnTo>
                    <a:pt x="378" y="471"/>
                  </a:lnTo>
                  <a:lnTo>
                    <a:pt x="370" y="462"/>
                  </a:lnTo>
                  <a:lnTo>
                    <a:pt x="363" y="453"/>
                  </a:lnTo>
                  <a:lnTo>
                    <a:pt x="354" y="445"/>
                  </a:lnTo>
                  <a:lnTo>
                    <a:pt x="345" y="439"/>
                  </a:lnTo>
                  <a:lnTo>
                    <a:pt x="339" y="437"/>
                  </a:lnTo>
                  <a:lnTo>
                    <a:pt x="333" y="434"/>
                  </a:lnTo>
                  <a:lnTo>
                    <a:pt x="326" y="433"/>
                  </a:lnTo>
                  <a:lnTo>
                    <a:pt x="319" y="433"/>
                  </a:lnTo>
                  <a:lnTo>
                    <a:pt x="311" y="433"/>
                  </a:lnTo>
                  <a:lnTo>
                    <a:pt x="306" y="434"/>
                  </a:lnTo>
                  <a:lnTo>
                    <a:pt x="302" y="437"/>
                  </a:lnTo>
                  <a:lnTo>
                    <a:pt x="298" y="438"/>
                  </a:lnTo>
                  <a:lnTo>
                    <a:pt x="293" y="445"/>
                  </a:lnTo>
                  <a:lnTo>
                    <a:pt x="289" y="451"/>
                  </a:lnTo>
                  <a:lnTo>
                    <a:pt x="283" y="458"/>
                  </a:lnTo>
                  <a:lnTo>
                    <a:pt x="278" y="463"/>
                  </a:lnTo>
                  <a:lnTo>
                    <a:pt x="273" y="466"/>
                  </a:lnTo>
                  <a:lnTo>
                    <a:pt x="267" y="467"/>
                  </a:lnTo>
                  <a:lnTo>
                    <a:pt x="261" y="469"/>
                  </a:lnTo>
                  <a:lnTo>
                    <a:pt x="253" y="469"/>
                  </a:lnTo>
                  <a:lnTo>
                    <a:pt x="245" y="469"/>
                  </a:lnTo>
                  <a:lnTo>
                    <a:pt x="238" y="466"/>
                  </a:lnTo>
                  <a:lnTo>
                    <a:pt x="233" y="462"/>
                  </a:lnTo>
                  <a:lnTo>
                    <a:pt x="227" y="458"/>
                  </a:lnTo>
                  <a:lnTo>
                    <a:pt x="218" y="446"/>
                  </a:lnTo>
                  <a:lnTo>
                    <a:pt x="209" y="433"/>
                  </a:lnTo>
                  <a:lnTo>
                    <a:pt x="201" y="419"/>
                  </a:lnTo>
                  <a:lnTo>
                    <a:pt x="194" y="409"/>
                  </a:lnTo>
                  <a:lnTo>
                    <a:pt x="189" y="403"/>
                  </a:lnTo>
                  <a:lnTo>
                    <a:pt x="185" y="399"/>
                  </a:lnTo>
                  <a:lnTo>
                    <a:pt x="179" y="398"/>
                  </a:lnTo>
                  <a:lnTo>
                    <a:pt x="174" y="397"/>
                  </a:lnTo>
                  <a:lnTo>
                    <a:pt x="169" y="398"/>
                  </a:lnTo>
                  <a:lnTo>
                    <a:pt x="163" y="399"/>
                  </a:lnTo>
                  <a:lnTo>
                    <a:pt x="158" y="402"/>
                  </a:lnTo>
                  <a:lnTo>
                    <a:pt x="154" y="406"/>
                  </a:lnTo>
                  <a:lnTo>
                    <a:pt x="149" y="409"/>
                  </a:lnTo>
                  <a:lnTo>
                    <a:pt x="143" y="413"/>
                  </a:lnTo>
                  <a:lnTo>
                    <a:pt x="138" y="414"/>
                  </a:lnTo>
                  <a:lnTo>
                    <a:pt x="133" y="415"/>
                  </a:lnTo>
                  <a:lnTo>
                    <a:pt x="128" y="414"/>
                  </a:lnTo>
                  <a:lnTo>
                    <a:pt x="124" y="414"/>
                  </a:lnTo>
                  <a:lnTo>
                    <a:pt x="120" y="413"/>
                  </a:lnTo>
                  <a:lnTo>
                    <a:pt x="117" y="410"/>
                  </a:lnTo>
                  <a:lnTo>
                    <a:pt x="112" y="405"/>
                  </a:lnTo>
                  <a:lnTo>
                    <a:pt x="108" y="398"/>
                  </a:lnTo>
                  <a:lnTo>
                    <a:pt x="105" y="390"/>
                  </a:lnTo>
                  <a:lnTo>
                    <a:pt x="102" y="381"/>
                  </a:lnTo>
                  <a:lnTo>
                    <a:pt x="101" y="371"/>
                  </a:lnTo>
                  <a:lnTo>
                    <a:pt x="101" y="361"/>
                  </a:lnTo>
                  <a:lnTo>
                    <a:pt x="100" y="341"/>
                  </a:lnTo>
                  <a:lnTo>
                    <a:pt x="97" y="323"/>
                  </a:lnTo>
                  <a:lnTo>
                    <a:pt x="94" y="317"/>
                  </a:lnTo>
                  <a:lnTo>
                    <a:pt x="90" y="311"/>
                  </a:lnTo>
                  <a:lnTo>
                    <a:pt x="88" y="309"/>
                  </a:lnTo>
                  <a:lnTo>
                    <a:pt x="85" y="307"/>
                  </a:lnTo>
                  <a:lnTo>
                    <a:pt x="82" y="307"/>
                  </a:lnTo>
                  <a:lnTo>
                    <a:pt x="78" y="306"/>
                  </a:lnTo>
                  <a:lnTo>
                    <a:pt x="73" y="306"/>
                  </a:lnTo>
                  <a:lnTo>
                    <a:pt x="64" y="306"/>
                  </a:lnTo>
                  <a:lnTo>
                    <a:pt x="52" y="306"/>
                  </a:lnTo>
                  <a:lnTo>
                    <a:pt x="36" y="306"/>
                  </a:lnTo>
                  <a:lnTo>
                    <a:pt x="28" y="306"/>
                  </a:lnTo>
                  <a:lnTo>
                    <a:pt x="21" y="305"/>
                  </a:lnTo>
                  <a:lnTo>
                    <a:pt x="14" y="301"/>
                  </a:lnTo>
                  <a:lnTo>
                    <a:pt x="9" y="298"/>
                  </a:lnTo>
                  <a:lnTo>
                    <a:pt x="5" y="293"/>
                  </a:lnTo>
                  <a:lnTo>
                    <a:pt x="2" y="286"/>
                  </a:lnTo>
                  <a:lnTo>
                    <a:pt x="1" y="279"/>
                  </a:lnTo>
                  <a:lnTo>
                    <a:pt x="0" y="270"/>
                  </a:lnTo>
                  <a:lnTo>
                    <a:pt x="1" y="251"/>
                  </a:lnTo>
                  <a:lnTo>
                    <a:pt x="4" y="233"/>
                  </a:lnTo>
                  <a:lnTo>
                    <a:pt x="9" y="214"/>
                  </a:lnTo>
                  <a:lnTo>
                    <a:pt x="14" y="195"/>
                  </a:lnTo>
                  <a:lnTo>
                    <a:pt x="21" y="176"/>
                  </a:lnTo>
                  <a:lnTo>
                    <a:pt x="29" y="158"/>
                  </a:lnTo>
                  <a:lnTo>
                    <a:pt x="37" y="140"/>
                  </a:lnTo>
                  <a:lnTo>
                    <a:pt x="45" y="122"/>
                  </a:lnTo>
                  <a:lnTo>
                    <a:pt x="62" y="93"/>
                  </a:lnTo>
                  <a:lnTo>
                    <a:pt x="76" y="69"/>
                  </a:lnTo>
                  <a:lnTo>
                    <a:pt x="86" y="53"/>
                  </a:lnTo>
                  <a:lnTo>
                    <a:pt x="90" y="4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0" name="Freeform 66"/>
            <p:cNvSpPr>
              <a:spLocks/>
            </p:cNvSpPr>
            <p:nvPr/>
          </p:nvSpPr>
          <p:spPr bwMode="auto">
            <a:xfrm>
              <a:off x="963934" y="4017963"/>
              <a:ext cx="265113" cy="188912"/>
            </a:xfrm>
            <a:custGeom>
              <a:avLst/>
              <a:gdLst/>
              <a:ahLst/>
              <a:cxnLst>
                <a:cxn ang="0">
                  <a:pos x="495" y="324"/>
                </a:cxn>
                <a:cxn ang="0">
                  <a:pos x="471" y="336"/>
                </a:cxn>
                <a:cxn ang="0">
                  <a:pos x="428" y="318"/>
                </a:cxn>
                <a:cxn ang="0">
                  <a:pos x="418" y="322"/>
                </a:cxn>
                <a:cxn ang="0">
                  <a:pos x="406" y="340"/>
                </a:cxn>
                <a:cxn ang="0">
                  <a:pos x="394" y="357"/>
                </a:cxn>
                <a:cxn ang="0">
                  <a:pos x="379" y="361"/>
                </a:cxn>
                <a:cxn ang="0">
                  <a:pos x="362" y="357"/>
                </a:cxn>
                <a:cxn ang="0">
                  <a:pos x="340" y="337"/>
                </a:cxn>
                <a:cxn ang="0">
                  <a:pos x="315" y="317"/>
                </a:cxn>
                <a:cxn ang="0">
                  <a:pos x="295" y="313"/>
                </a:cxn>
                <a:cxn ang="0">
                  <a:pos x="264" y="320"/>
                </a:cxn>
                <a:cxn ang="0">
                  <a:pos x="228" y="352"/>
                </a:cxn>
                <a:cxn ang="0">
                  <a:pos x="191" y="384"/>
                </a:cxn>
                <a:cxn ang="0">
                  <a:pos x="156" y="392"/>
                </a:cxn>
                <a:cxn ang="0">
                  <a:pos x="112" y="388"/>
                </a:cxn>
                <a:cxn ang="0">
                  <a:pos x="76" y="377"/>
                </a:cxn>
                <a:cxn ang="0">
                  <a:pos x="47" y="358"/>
                </a:cxn>
                <a:cxn ang="0">
                  <a:pos x="28" y="330"/>
                </a:cxn>
                <a:cxn ang="0">
                  <a:pos x="19" y="292"/>
                </a:cxn>
                <a:cxn ang="0">
                  <a:pos x="23" y="256"/>
                </a:cxn>
                <a:cxn ang="0">
                  <a:pos x="39" y="229"/>
                </a:cxn>
                <a:cxn ang="0">
                  <a:pos x="48" y="198"/>
                </a:cxn>
                <a:cxn ang="0">
                  <a:pos x="44" y="184"/>
                </a:cxn>
                <a:cxn ang="0">
                  <a:pos x="24" y="165"/>
                </a:cxn>
                <a:cxn ang="0">
                  <a:pos x="4" y="146"/>
                </a:cxn>
                <a:cxn ang="0">
                  <a:pos x="0" y="132"/>
                </a:cxn>
                <a:cxn ang="0">
                  <a:pos x="14" y="94"/>
                </a:cxn>
                <a:cxn ang="0">
                  <a:pos x="8" y="73"/>
                </a:cxn>
                <a:cxn ang="0">
                  <a:pos x="34" y="43"/>
                </a:cxn>
                <a:cxn ang="0">
                  <a:pos x="120" y="0"/>
                </a:cxn>
                <a:cxn ang="0">
                  <a:pos x="148" y="53"/>
                </a:cxn>
                <a:cxn ang="0">
                  <a:pos x="168" y="78"/>
                </a:cxn>
                <a:cxn ang="0">
                  <a:pos x="188" y="65"/>
                </a:cxn>
                <a:cxn ang="0">
                  <a:pos x="208" y="71"/>
                </a:cxn>
                <a:cxn ang="0">
                  <a:pos x="224" y="88"/>
                </a:cxn>
                <a:cxn ang="0">
                  <a:pos x="242" y="96"/>
                </a:cxn>
                <a:cxn ang="0">
                  <a:pos x="262" y="88"/>
                </a:cxn>
                <a:cxn ang="0">
                  <a:pos x="271" y="73"/>
                </a:cxn>
                <a:cxn ang="0">
                  <a:pos x="307" y="61"/>
                </a:cxn>
                <a:cxn ang="0">
                  <a:pos x="362" y="43"/>
                </a:cxn>
                <a:cxn ang="0">
                  <a:pos x="408" y="57"/>
                </a:cxn>
                <a:cxn ang="0">
                  <a:pos x="426" y="69"/>
                </a:cxn>
                <a:cxn ang="0">
                  <a:pos x="450" y="105"/>
                </a:cxn>
                <a:cxn ang="0">
                  <a:pos x="467" y="132"/>
                </a:cxn>
                <a:cxn ang="0">
                  <a:pos x="495" y="149"/>
                </a:cxn>
                <a:cxn ang="0">
                  <a:pos x="524" y="168"/>
                </a:cxn>
                <a:cxn ang="0">
                  <a:pos x="542" y="193"/>
                </a:cxn>
                <a:cxn ang="0">
                  <a:pos x="548" y="234"/>
                </a:cxn>
                <a:cxn ang="0">
                  <a:pos x="540" y="260"/>
                </a:cxn>
                <a:cxn ang="0">
                  <a:pos x="528" y="286"/>
                </a:cxn>
                <a:cxn ang="0">
                  <a:pos x="518" y="306"/>
                </a:cxn>
              </a:cxnLst>
              <a:rect l="0" t="0" r="r" b="b"/>
              <a:pathLst>
                <a:path w="548" h="392">
                  <a:moveTo>
                    <a:pt x="518" y="306"/>
                  </a:moveTo>
                  <a:lnTo>
                    <a:pt x="510" y="314"/>
                  </a:lnTo>
                  <a:lnTo>
                    <a:pt x="495" y="324"/>
                  </a:lnTo>
                  <a:lnTo>
                    <a:pt x="487" y="329"/>
                  </a:lnTo>
                  <a:lnTo>
                    <a:pt x="479" y="333"/>
                  </a:lnTo>
                  <a:lnTo>
                    <a:pt x="471" y="336"/>
                  </a:lnTo>
                  <a:lnTo>
                    <a:pt x="464" y="337"/>
                  </a:lnTo>
                  <a:lnTo>
                    <a:pt x="446" y="328"/>
                  </a:lnTo>
                  <a:lnTo>
                    <a:pt x="428" y="318"/>
                  </a:lnTo>
                  <a:lnTo>
                    <a:pt x="424" y="320"/>
                  </a:lnTo>
                  <a:lnTo>
                    <a:pt x="420" y="321"/>
                  </a:lnTo>
                  <a:lnTo>
                    <a:pt x="418" y="322"/>
                  </a:lnTo>
                  <a:lnTo>
                    <a:pt x="415" y="325"/>
                  </a:lnTo>
                  <a:lnTo>
                    <a:pt x="410" y="332"/>
                  </a:lnTo>
                  <a:lnTo>
                    <a:pt x="406" y="340"/>
                  </a:lnTo>
                  <a:lnTo>
                    <a:pt x="402" y="348"/>
                  </a:lnTo>
                  <a:lnTo>
                    <a:pt x="396" y="354"/>
                  </a:lnTo>
                  <a:lnTo>
                    <a:pt x="394" y="357"/>
                  </a:lnTo>
                  <a:lnTo>
                    <a:pt x="390" y="360"/>
                  </a:lnTo>
                  <a:lnTo>
                    <a:pt x="384" y="361"/>
                  </a:lnTo>
                  <a:lnTo>
                    <a:pt x="379" y="361"/>
                  </a:lnTo>
                  <a:lnTo>
                    <a:pt x="374" y="361"/>
                  </a:lnTo>
                  <a:lnTo>
                    <a:pt x="367" y="358"/>
                  </a:lnTo>
                  <a:lnTo>
                    <a:pt x="362" y="357"/>
                  </a:lnTo>
                  <a:lnTo>
                    <a:pt x="358" y="353"/>
                  </a:lnTo>
                  <a:lnTo>
                    <a:pt x="348" y="346"/>
                  </a:lnTo>
                  <a:lnTo>
                    <a:pt x="340" y="337"/>
                  </a:lnTo>
                  <a:lnTo>
                    <a:pt x="331" y="328"/>
                  </a:lnTo>
                  <a:lnTo>
                    <a:pt x="322" y="321"/>
                  </a:lnTo>
                  <a:lnTo>
                    <a:pt x="315" y="317"/>
                  </a:lnTo>
                  <a:lnTo>
                    <a:pt x="310" y="314"/>
                  </a:lnTo>
                  <a:lnTo>
                    <a:pt x="303" y="313"/>
                  </a:lnTo>
                  <a:lnTo>
                    <a:pt x="295" y="313"/>
                  </a:lnTo>
                  <a:lnTo>
                    <a:pt x="283" y="314"/>
                  </a:lnTo>
                  <a:lnTo>
                    <a:pt x="274" y="316"/>
                  </a:lnTo>
                  <a:lnTo>
                    <a:pt x="264" y="320"/>
                  </a:lnTo>
                  <a:lnTo>
                    <a:pt x="256" y="325"/>
                  </a:lnTo>
                  <a:lnTo>
                    <a:pt x="242" y="337"/>
                  </a:lnTo>
                  <a:lnTo>
                    <a:pt x="228" y="352"/>
                  </a:lnTo>
                  <a:lnTo>
                    <a:pt x="215" y="366"/>
                  </a:lnTo>
                  <a:lnTo>
                    <a:pt x="199" y="378"/>
                  </a:lnTo>
                  <a:lnTo>
                    <a:pt x="191" y="384"/>
                  </a:lnTo>
                  <a:lnTo>
                    <a:pt x="180" y="388"/>
                  </a:lnTo>
                  <a:lnTo>
                    <a:pt x="170" y="390"/>
                  </a:lnTo>
                  <a:lnTo>
                    <a:pt x="156" y="392"/>
                  </a:lnTo>
                  <a:lnTo>
                    <a:pt x="142" y="390"/>
                  </a:lnTo>
                  <a:lnTo>
                    <a:pt x="127" y="390"/>
                  </a:lnTo>
                  <a:lnTo>
                    <a:pt x="112" y="388"/>
                  </a:lnTo>
                  <a:lnTo>
                    <a:pt x="99" y="385"/>
                  </a:lnTo>
                  <a:lnTo>
                    <a:pt x="87" y="381"/>
                  </a:lnTo>
                  <a:lnTo>
                    <a:pt x="76" y="377"/>
                  </a:lnTo>
                  <a:lnTo>
                    <a:pt x="66" y="372"/>
                  </a:lnTo>
                  <a:lnTo>
                    <a:pt x="56" y="365"/>
                  </a:lnTo>
                  <a:lnTo>
                    <a:pt x="47" y="358"/>
                  </a:lnTo>
                  <a:lnTo>
                    <a:pt x="40" y="350"/>
                  </a:lnTo>
                  <a:lnTo>
                    <a:pt x="34" y="341"/>
                  </a:lnTo>
                  <a:lnTo>
                    <a:pt x="28" y="330"/>
                  </a:lnTo>
                  <a:lnTo>
                    <a:pt x="24" y="318"/>
                  </a:lnTo>
                  <a:lnTo>
                    <a:pt x="20" y="306"/>
                  </a:lnTo>
                  <a:lnTo>
                    <a:pt x="19" y="292"/>
                  </a:lnTo>
                  <a:lnTo>
                    <a:pt x="18" y="277"/>
                  </a:lnTo>
                  <a:lnTo>
                    <a:pt x="19" y="266"/>
                  </a:lnTo>
                  <a:lnTo>
                    <a:pt x="23" y="256"/>
                  </a:lnTo>
                  <a:lnTo>
                    <a:pt x="28" y="246"/>
                  </a:lnTo>
                  <a:lnTo>
                    <a:pt x="34" y="237"/>
                  </a:lnTo>
                  <a:lnTo>
                    <a:pt x="39" y="229"/>
                  </a:lnTo>
                  <a:lnTo>
                    <a:pt x="43" y="220"/>
                  </a:lnTo>
                  <a:lnTo>
                    <a:pt x="47" y="209"/>
                  </a:lnTo>
                  <a:lnTo>
                    <a:pt x="48" y="198"/>
                  </a:lnTo>
                  <a:lnTo>
                    <a:pt x="48" y="193"/>
                  </a:lnTo>
                  <a:lnTo>
                    <a:pt x="46" y="188"/>
                  </a:lnTo>
                  <a:lnTo>
                    <a:pt x="44" y="184"/>
                  </a:lnTo>
                  <a:lnTo>
                    <a:pt x="40" y="180"/>
                  </a:lnTo>
                  <a:lnTo>
                    <a:pt x="34" y="172"/>
                  </a:lnTo>
                  <a:lnTo>
                    <a:pt x="24" y="165"/>
                  </a:lnTo>
                  <a:lnTo>
                    <a:pt x="15" y="158"/>
                  </a:lnTo>
                  <a:lnTo>
                    <a:pt x="8" y="150"/>
                  </a:lnTo>
                  <a:lnTo>
                    <a:pt x="4" y="146"/>
                  </a:lnTo>
                  <a:lnTo>
                    <a:pt x="2" y="142"/>
                  </a:lnTo>
                  <a:lnTo>
                    <a:pt x="0" y="137"/>
                  </a:lnTo>
                  <a:lnTo>
                    <a:pt x="0" y="132"/>
                  </a:lnTo>
                  <a:lnTo>
                    <a:pt x="4" y="118"/>
                  </a:lnTo>
                  <a:lnTo>
                    <a:pt x="11" y="102"/>
                  </a:lnTo>
                  <a:lnTo>
                    <a:pt x="14" y="94"/>
                  </a:lnTo>
                  <a:lnTo>
                    <a:pt x="12" y="84"/>
                  </a:lnTo>
                  <a:lnTo>
                    <a:pt x="11" y="78"/>
                  </a:lnTo>
                  <a:lnTo>
                    <a:pt x="8" y="73"/>
                  </a:lnTo>
                  <a:lnTo>
                    <a:pt x="6" y="67"/>
                  </a:lnTo>
                  <a:lnTo>
                    <a:pt x="0" y="60"/>
                  </a:lnTo>
                  <a:lnTo>
                    <a:pt x="34" y="43"/>
                  </a:lnTo>
                  <a:lnTo>
                    <a:pt x="64" y="25"/>
                  </a:lnTo>
                  <a:lnTo>
                    <a:pt x="94" y="11"/>
                  </a:lnTo>
                  <a:lnTo>
                    <a:pt x="120" y="0"/>
                  </a:lnTo>
                  <a:lnTo>
                    <a:pt x="132" y="23"/>
                  </a:lnTo>
                  <a:lnTo>
                    <a:pt x="143" y="44"/>
                  </a:lnTo>
                  <a:lnTo>
                    <a:pt x="148" y="53"/>
                  </a:lnTo>
                  <a:lnTo>
                    <a:pt x="154" y="63"/>
                  </a:lnTo>
                  <a:lnTo>
                    <a:pt x="160" y="71"/>
                  </a:lnTo>
                  <a:lnTo>
                    <a:pt x="168" y="78"/>
                  </a:lnTo>
                  <a:lnTo>
                    <a:pt x="176" y="73"/>
                  </a:lnTo>
                  <a:lnTo>
                    <a:pt x="183" y="69"/>
                  </a:lnTo>
                  <a:lnTo>
                    <a:pt x="188" y="65"/>
                  </a:lnTo>
                  <a:lnTo>
                    <a:pt x="192" y="60"/>
                  </a:lnTo>
                  <a:lnTo>
                    <a:pt x="202" y="65"/>
                  </a:lnTo>
                  <a:lnTo>
                    <a:pt x="208" y="71"/>
                  </a:lnTo>
                  <a:lnTo>
                    <a:pt x="214" y="77"/>
                  </a:lnTo>
                  <a:lnTo>
                    <a:pt x="219" y="82"/>
                  </a:lnTo>
                  <a:lnTo>
                    <a:pt x="224" y="88"/>
                  </a:lnTo>
                  <a:lnTo>
                    <a:pt x="230" y="92"/>
                  </a:lnTo>
                  <a:lnTo>
                    <a:pt x="235" y="94"/>
                  </a:lnTo>
                  <a:lnTo>
                    <a:pt x="242" y="96"/>
                  </a:lnTo>
                  <a:lnTo>
                    <a:pt x="251" y="94"/>
                  </a:lnTo>
                  <a:lnTo>
                    <a:pt x="258" y="92"/>
                  </a:lnTo>
                  <a:lnTo>
                    <a:pt x="262" y="88"/>
                  </a:lnTo>
                  <a:lnTo>
                    <a:pt x="264" y="84"/>
                  </a:lnTo>
                  <a:lnTo>
                    <a:pt x="267" y="78"/>
                  </a:lnTo>
                  <a:lnTo>
                    <a:pt x="271" y="73"/>
                  </a:lnTo>
                  <a:lnTo>
                    <a:pt x="276" y="69"/>
                  </a:lnTo>
                  <a:lnTo>
                    <a:pt x="283" y="67"/>
                  </a:lnTo>
                  <a:lnTo>
                    <a:pt x="307" y="61"/>
                  </a:lnTo>
                  <a:lnTo>
                    <a:pt x="327" y="56"/>
                  </a:lnTo>
                  <a:lnTo>
                    <a:pt x="344" y="51"/>
                  </a:lnTo>
                  <a:lnTo>
                    <a:pt x="362" y="43"/>
                  </a:lnTo>
                  <a:lnTo>
                    <a:pt x="384" y="47"/>
                  </a:lnTo>
                  <a:lnTo>
                    <a:pt x="402" y="53"/>
                  </a:lnTo>
                  <a:lnTo>
                    <a:pt x="408" y="57"/>
                  </a:lnTo>
                  <a:lnTo>
                    <a:pt x="415" y="61"/>
                  </a:lnTo>
                  <a:lnTo>
                    <a:pt x="420" y="65"/>
                  </a:lnTo>
                  <a:lnTo>
                    <a:pt x="426" y="69"/>
                  </a:lnTo>
                  <a:lnTo>
                    <a:pt x="435" y="80"/>
                  </a:lnTo>
                  <a:lnTo>
                    <a:pt x="442" y="92"/>
                  </a:lnTo>
                  <a:lnTo>
                    <a:pt x="450" y="105"/>
                  </a:lnTo>
                  <a:lnTo>
                    <a:pt x="458" y="120"/>
                  </a:lnTo>
                  <a:lnTo>
                    <a:pt x="462" y="126"/>
                  </a:lnTo>
                  <a:lnTo>
                    <a:pt x="467" y="132"/>
                  </a:lnTo>
                  <a:lnTo>
                    <a:pt x="474" y="136"/>
                  </a:lnTo>
                  <a:lnTo>
                    <a:pt x="480" y="141"/>
                  </a:lnTo>
                  <a:lnTo>
                    <a:pt x="495" y="149"/>
                  </a:lnTo>
                  <a:lnTo>
                    <a:pt x="510" y="157"/>
                  </a:lnTo>
                  <a:lnTo>
                    <a:pt x="518" y="162"/>
                  </a:lnTo>
                  <a:lnTo>
                    <a:pt x="524" y="168"/>
                  </a:lnTo>
                  <a:lnTo>
                    <a:pt x="531" y="176"/>
                  </a:lnTo>
                  <a:lnTo>
                    <a:pt x="536" y="184"/>
                  </a:lnTo>
                  <a:lnTo>
                    <a:pt x="542" y="193"/>
                  </a:lnTo>
                  <a:lnTo>
                    <a:pt x="546" y="205"/>
                  </a:lnTo>
                  <a:lnTo>
                    <a:pt x="547" y="218"/>
                  </a:lnTo>
                  <a:lnTo>
                    <a:pt x="548" y="234"/>
                  </a:lnTo>
                  <a:lnTo>
                    <a:pt x="547" y="244"/>
                  </a:lnTo>
                  <a:lnTo>
                    <a:pt x="544" y="252"/>
                  </a:lnTo>
                  <a:lnTo>
                    <a:pt x="540" y="260"/>
                  </a:lnTo>
                  <a:lnTo>
                    <a:pt x="536" y="269"/>
                  </a:lnTo>
                  <a:lnTo>
                    <a:pt x="532" y="277"/>
                  </a:lnTo>
                  <a:lnTo>
                    <a:pt x="528" y="286"/>
                  </a:lnTo>
                  <a:lnTo>
                    <a:pt x="526" y="296"/>
                  </a:lnTo>
                  <a:lnTo>
                    <a:pt x="524" y="306"/>
                  </a:lnTo>
                  <a:lnTo>
                    <a:pt x="518" y="30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1" name="Freeform 67"/>
            <p:cNvSpPr>
              <a:spLocks/>
            </p:cNvSpPr>
            <p:nvPr/>
          </p:nvSpPr>
          <p:spPr bwMode="auto">
            <a:xfrm>
              <a:off x="1160784" y="4438650"/>
              <a:ext cx="231775" cy="266700"/>
            </a:xfrm>
            <a:custGeom>
              <a:avLst/>
              <a:gdLst/>
              <a:ahLst/>
              <a:cxnLst>
                <a:cxn ang="0">
                  <a:pos x="455" y="107"/>
                </a:cxn>
                <a:cxn ang="0">
                  <a:pos x="434" y="131"/>
                </a:cxn>
                <a:cxn ang="0">
                  <a:pos x="427" y="163"/>
                </a:cxn>
                <a:cxn ang="0">
                  <a:pos x="427" y="299"/>
                </a:cxn>
                <a:cxn ang="0">
                  <a:pos x="425" y="375"/>
                </a:cxn>
                <a:cxn ang="0">
                  <a:pos x="411" y="399"/>
                </a:cxn>
                <a:cxn ang="0">
                  <a:pos x="391" y="417"/>
                </a:cxn>
                <a:cxn ang="0">
                  <a:pos x="357" y="441"/>
                </a:cxn>
                <a:cxn ang="0">
                  <a:pos x="343" y="457"/>
                </a:cxn>
                <a:cxn ang="0">
                  <a:pos x="319" y="461"/>
                </a:cxn>
                <a:cxn ang="0">
                  <a:pos x="282" y="475"/>
                </a:cxn>
                <a:cxn ang="0">
                  <a:pos x="170" y="532"/>
                </a:cxn>
                <a:cxn ang="0">
                  <a:pos x="162" y="516"/>
                </a:cxn>
                <a:cxn ang="0">
                  <a:pos x="146" y="512"/>
                </a:cxn>
                <a:cxn ang="0">
                  <a:pos x="116" y="508"/>
                </a:cxn>
                <a:cxn ang="0">
                  <a:pos x="102" y="493"/>
                </a:cxn>
                <a:cxn ang="0">
                  <a:pos x="70" y="408"/>
                </a:cxn>
                <a:cxn ang="0">
                  <a:pos x="30" y="336"/>
                </a:cxn>
                <a:cxn ang="0">
                  <a:pos x="9" y="283"/>
                </a:cxn>
                <a:cxn ang="0">
                  <a:pos x="32" y="278"/>
                </a:cxn>
                <a:cxn ang="0">
                  <a:pos x="45" y="267"/>
                </a:cxn>
                <a:cxn ang="0">
                  <a:pos x="53" y="238"/>
                </a:cxn>
                <a:cxn ang="0">
                  <a:pos x="54" y="175"/>
                </a:cxn>
                <a:cxn ang="0">
                  <a:pos x="54" y="120"/>
                </a:cxn>
                <a:cxn ang="0">
                  <a:pos x="61" y="95"/>
                </a:cxn>
                <a:cxn ang="0">
                  <a:pos x="98" y="54"/>
                </a:cxn>
                <a:cxn ang="0">
                  <a:pos x="157" y="10"/>
                </a:cxn>
                <a:cxn ang="0">
                  <a:pos x="185" y="16"/>
                </a:cxn>
                <a:cxn ang="0">
                  <a:pos x="198" y="23"/>
                </a:cxn>
                <a:cxn ang="0">
                  <a:pos x="215" y="22"/>
                </a:cxn>
                <a:cxn ang="0">
                  <a:pos x="230" y="11"/>
                </a:cxn>
                <a:cxn ang="0">
                  <a:pos x="246" y="6"/>
                </a:cxn>
                <a:cxn ang="0">
                  <a:pos x="261" y="12"/>
                </a:cxn>
                <a:cxn ang="0">
                  <a:pos x="281" y="42"/>
                </a:cxn>
                <a:cxn ang="0">
                  <a:pos x="305" y="71"/>
                </a:cxn>
                <a:cxn ang="0">
                  <a:pos x="325" y="78"/>
                </a:cxn>
                <a:cxn ang="0">
                  <a:pos x="345" y="75"/>
                </a:cxn>
                <a:cxn ang="0">
                  <a:pos x="361" y="60"/>
                </a:cxn>
                <a:cxn ang="0">
                  <a:pos x="374" y="46"/>
                </a:cxn>
                <a:cxn ang="0">
                  <a:pos x="391" y="42"/>
                </a:cxn>
                <a:cxn ang="0">
                  <a:pos x="411" y="46"/>
                </a:cxn>
                <a:cxn ang="0">
                  <a:pos x="435" y="62"/>
                </a:cxn>
                <a:cxn ang="0">
                  <a:pos x="459" y="88"/>
                </a:cxn>
              </a:cxnLst>
              <a:rect l="0" t="0" r="r" b="b"/>
              <a:pathLst>
                <a:path w="475" h="553">
                  <a:moveTo>
                    <a:pt x="475" y="96"/>
                  </a:moveTo>
                  <a:lnTo>
                    <a:pt x="465" y="102"/>
                  </a:lnTo>
                  <a:lnTo>
                    <a:pt x="455" y="107"/>
                  </a:lnTo>
                  <a:lnTo>
                    <a:pt x="447" y="115"/>
                  </a:lnTo>
                  <a:lnTo>
                    <a:pt x="439" y="123"/>
                  </a:lnTo>
                  <a:lnTo>
                    <a:pt x="434" y="131"/>
                  </a:lnTo>
                  <a:lnTo>
                    <a:pt x="430" y="142"/>
                  </a:lnTo>
                  <a:lnTo>
                    <a:pt x="427" y="151"/>
                  </a:lnTo>
                  <a:lnTo>
                    <a:pt x="427" y="163"/>
                  </a:lnTo>
                  <a:lnTo>
                    <a:pt x="427" y="211"/>
                  </a:lnTo>
                  <a:lnTo>
                    <a:pt x="427" y="254"/>
                  </a:lnTo>
                  <a:lnTo>
                    <a:pt x="427" y="299"/>
                  </a:lnTo>
                  <a:lnTo>
                    <a:pt x="427" y="355"/>
                  </a:lnTo>
                  <a:lnTo>
                    <a:pt x="426" y="366"/>
                  </a:lnTo>
                  <a:lnTo>
                    <a:pt x="425" y="375"/>
                  </a:lnTo>
                  <a:lnTo>
                    <a:pt x="421" y="384"/>
                  </a:lnTo>
                  <a:lnTo>
                    <a:pt x="417" y="392"/>
                  </a:lnTo>
                  <a:lnTo>
                    <a:pt x="411" y="399"/>
                  </a:lnTo>
                  <a:lnTo>
                    <a:pt x="405" y="405"/>
                  </a:lnTo>
                  <a:lnTo>
                    <a:pt x="399" y="412"/>
                  </a:lnTo>
                  <a:lnTo>
                    <a:pt x="391" y="417"/>
                  </a:lnTo>
                  <a:lnTo>
                    <a:pt x="378" y="428"/>
                  </a:lnTo>
                  <a:lnTo>
                    <a:pt x="363" y="437"/>
                  </a:lnTo>
                  <a:lnTo>
                    <a:pt x="357" y="441"/>
                  </a:lnTo>
                  <a:lnTo>
                    <a:pt x="351" y="447"/>
                  </a:lnTo>
                  <a:lnTo>
                    <a:pt x="347" y="452"/>
                  </a:lnTo>
                  <a:lnTo>
                    <a:pt x="343" y="457"/>
                  </a:lnTo>
                  <a:lnTo>
                    <a:pt x="334" y="457"/>
                  </a:lnTo>
                  <a:lnTo>
                    <a:pt x="326" y="459"/>
                  </a:lnTo>
                  <a:lnTo>
                    <a:pt x="319" y="461"/>
                  </a:lnTo>
                  <a:lnTo>
                    <a:pt x="313" y="464"/>
                  </a:lnTo>
                  <a:lnTo>
                    <a:pt x="299" y="469"/>
                  </a:lnTo>
                  <a:lnTo>
                    <a:pt x="282" y="475"/>
                  </a:lnTo>
                  <a:lnTo>
                    <a:pt x="169" y="553"/>
                  </a:lnTo>
                  <a:lnTo>
                    <a:pt x="170" y="541"/>
                  </a:lnTo>
                  <a:lnTo>
                    <a:pt x="170" y="532"/>
                  </a:lnTo>
                  <a:lnTo>
                    <a:pt x="169" y="525"/>
                  </a:lnTo>
                  <a:lnTo>
                    <a:pt x="166" y="520"/>
                  </a:lnTo>
                  <a:lnTo>
                    <a:pt x="162" y="516"/>
                  </a:lnTo>
                  <a:lnTo>
                    <a:pt x="157" y="513"/>
                  </a:lnTo>
                  <a:lnTo>
                    <a:pt x="153" y="513"/>
                  </a:lnTo>
                  <a:lnTo>
                    <a:pt x="146" y="512"/>
                  </a:lnTo>
                  <a:lnTo>
                    <a:pt x="134" y="512"/>
                  </a:lnTo>
                  <a:lnTo>
                    <a:pt x="122" y="511"/>
                  </a:lnTo>
                  <a:lnTo>
                    <a:pt x="116" y="508"/>
                  </a:lnTo>
                  <a:lnTo>
                    <a:pt x="110" y="505"/>
                  </a:lnTo>
                  <a:lnTo>
                    <a:pt x="106" y="500"/>
                  </a:lnTo>
                  <a:lnTo>
                    <a:pt x="102" y="493"/>
                  </a:lnTo>
                  <a:lnTo>
                    <a:pt x="93" y="461"/>
                  </a:lnTo>
                  <a:lnTo>
                    <a:pt x="82" y="433"/>
                  </a:lnTo>
                  <a:lnTo>
                    <a:pt x="70" y="408"/>
                  </a:lnTo>
                  <a:lnTo>
                    <a:pt x="58" y="384"/>
                  </a:lnTo>
                  <a:lnTo>
                    <a:pt x="45" y="360"/>
                  </a:lnTo>
                  <a:lnTo>
                    <a:pt x="30" y="336"/>
                  </a:lnTo>
                  <a:lnTo>
                    <a:pt x="16" y="311"/>
                  </a:lnTo>
                  <a:lnTo>
                    <a:pt x="0" y="283"/>
                  </a:lnTo>
                  <a:lnTo>
                    <a:pt x="9" y="283"/>
                  </a:lnTo>
                  <a:lnTo>
                    <a:pt x="18" y="282"/>
                  </a:lnTo>
                  <a:lnTo>
                    <a:pt x="25" y="280"/>
                  </a:lnTo>
                  <a:lnTo>
                    <a:pt x="32" y="278"/>
                  </a:lnTo>
                  <a:lnTo>
                    <a:pt x="37" y="275"/>
                  </a:lnTo>
                  <a:lnTo>
                    <a:pt x="41" y="271"/>
                  </a:lnTo>
                  <a:lnTo>
                    <a:pt x="45" y="267"/>
                  </a:lnTo>
                  <a:lnTo>
                    <a:pt x="48" y="262"/>
                  </a:lnTo>
                  <a:lnTo>
                    <a:pt x="52" y="251"/>
                  </a:lnTo>
                  <a:lnTo>
                    <a:pt x="53" y="238"/>
                  </a:lnTo>
                  <a:lnTo>
                    <a:pt x="54" y="222"/>
                  </a:lnTo>
                  <a:lnTo>
                    <a:pt x="54" y="204"/>
                  </a:lnTo>
                  <a:lnTo>
                    <a:pt x="54" y="175"/>
                  </a:lnTo>
                  <a:lnTo>
                    <a:pt x="54" y="154"/>
                  </a:lnTo>
                  <a:lnTo>
                    <a:pt x="54" y="136"/>
                  </a:lnTo>
                  <a:lnTo>
                    <a:pt x="54" y="120"/>
                  </a:lnTo>
                  <a:lnTo>
                    <a:pt x="54" y="112"/>
                  </a:lnTo>
                  <a:lnTo>
                    <a:pt x="57" y="104"/>
                  </a:lnTo>
                  <a:lnTo>
                    <a:pt x="61" y="95"/>
                  </a:lnTo>
                  <a:lnTo>
                    <a:pt x="66" y="87"/>
                  </a:lnTo>
                  <a:lnTo>
                    <a:pt x="81" y="70"/>
                  </a:lnTo>
                  <a:lnTo>
                    <a:pt x="98" y="54"/>
                  </a:lnTo>
                  <a:lnTo>
                    <a:pt x="118" y="38"/>
                  </a:lnTo>
                  <a:lnTo>
                    <a:pt x="138" y="23"/>
                  </a:lnTo>
                  <a:lnTo>
                    <a:pt x="157" y="10"/>
                  </a:lnTo>
                  <a:lnTo>
                    <a:pt x="174" y="0"/>
                  </a:lnTo>
                  <a:lnTo>
                    <a:pt x="180" y="8"/>
                  </a:lnTo>
                  <a:lnTo>
                    <a:pt x="185" y="16"/>
                  </a:lnTo>
                  <a:lnTo>
                    <a:pt x="189" y="19"/>
                  </a:lnTo>
                  <a:lnTo>
                    <a:pt x="193" y="22"/>
                  </a:lnTo>
                  <a:lnTo>
                    <a:pt x="198" y="23"/>
                  </a:lnTo>
                  <a:lnTo>
                    <a:pt x="205" y="24"/>
                  </a:lnTo>
                  <a:lnTo>
                    <a:pt x="210" y="23"/>
                  </a:lnTo>
                  <a:lnTo>
                    <a:pt x="215" y="22"/>
                  </a:lnTo>
                  <a:lnTo>
                    <a:pt x="221" y="18"/>
                  </a:lnTo>
                  <a:lnTo>
                    <a:pt x="226" y="15"/>
                  </a:lnTo>
                  <a:lnTo>
                    <a:pt x="230" y="11"/>
                  </a:lnTo>
                  <a:lnTo>
                    <a:pt x="235" y="8"/>
                  </a:lnTo>
                  <a:lnTo>
                    <a:pt x="241" y="7"/>
                  </a:lnTo>
                  <a:lnTo>
                    <a:pt x="246" y="6"/>
                  </a:lnTo>
                  <a:lnTo>
                    <a:pt x="251" y="7"/>
                  </a:lnTo>
                  <a:lnTo>
                    <a:pt x="257" y="8"/>
                  </a:lnTo>
                  <a:lnTo>
                    <a:pt x="261" y="12"/>
                  </a:lnTo>
                  <a:lnTo>
                    <a:pt x="266" y="18"/>
                  </a:lnTo>
                  <a:lnTo>
                    <a:pt x="273" y="28"/>
                  </a:lnTo>
                  <a:lnTo>
                    <a:pt x="281" y="42"/>
                  </a:lnTo>
                  <a:lnTo>
                    <a:pt x="290" y="55"/>
                  </a:lnTo>
                  <a:lnTo>
                    <a:pt x="299" y="67"/>
                  </a:lnTo>
                  <a:lnTo>
                    <a:pt x="305" y="71"/>
                  </a:lnTo>
                  <a:lnTo>
                    <a:pt x="310" y="75"/>
                  </a:lnTo>
                  <a:lnTo>
                    <a:pt x="317" y="78"/>
                  </a:lnTo>
                  <a:lnTo>
                    <a:pt x="325" y="78"/>
                  </a:lnTo>
                  <a:lnTo>
                    <a:pt x="333" y="78"/>
                  </a:lnTo>
                  <a:lnTo>
                    <a:pt x="339" y="76"/>
                  </a:lnTo>
                  <a:lnTo>
                    <a:pt x="345" y="75"/>
                  </a:lnTo>
                  <a:lnTo>
                    <a:pt x="350" y="72"/>
                  </a:lnTo>
                  <a:lnTo>
                    <a:pt x="355" y="67"/>
                  </a:lnTo>
                  <a:lnTo>
                    <a:pt x="361" y="60"/>
                  </a:lnTo>
                  <a:lnTo>
                    <a:pt x="365" y="54"/>
                  </a:lnTo>
                  <a:lnTo>
                    <a:pt x="370" y="47"/>
                  </a:lnTo>
                  <a:lnTo>
                    <a:pt x="374" y="46"/>
                  </a:lnTo>
                  <a:lnTo>
                    <a:pt x="378" y="43"/>
                  </a:lnTo>
                  <a:lnTo>
                    <a:pt x="383" y="42"/>
                  </a:lnTo>
                  <a:lnTo>
                    <a:pt x="391" y="42"/>
                  </a:lnTo>
                  <a:lnTo>
                    <a:pt x="398" y="42"/>
                  </a:lnTo>
                  <a:lnTo>
                    <a:pt x="405" y="43"/>
                  </a:lnTo>
                  <a:lnTo>
                    <a:pt x="411" y="46"/>
                  </a:lnTo>
                  <a:lnTo>
                    <a:pt x="417" y="48"/>
                  </a:lnTo>
                  <a:lnTo>
                    <a:pt x="426" y="54"/>
                  </a:lnTo>
                  <a:lnTo>
                    <a:pt x="435" y="62"/>
                  </a:lnTo>
                  <a:lnTo>
                    <a:pt x="442" y="71"/>
                  </a:lnTo>
                  <a:lnTo>
                    <a:pt x="450" y="80"/>
                  </a:lnTo>
                  <a:lnTo>
                    <a:pt x="459" y="88"/>
                  </a:lnTo>
                  <a:lnTo>
                    <a:pt x="469" y="96"/>
                  </a:lnTo>
                  <a:lnTo>
                    <a:pt x="475" y="9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2" name="Freeform 68"/>
            <p:cNvSpPr>
              <a:spLocks/>
            </p:cNvSpPr>
            <p:nvPr/>
          </p:nvSpPr>
          <p:spPr bwMode="auto">
            <a:xfrm>
              <a:off x="922659" y="4468813"/>
              <a:ext cx="322263" cy="339725"/>
            </a:xfrm>
            <a:custGeom>
              <a:avLst/>
              <a:gdLst/>
              <a:ahLst/>
              <a:cxnLst>
                <a:cxn ang="0">
                  <a:pos x="663" y="505"/>
                </a:cxn>
                <a:cxn ang="0">
                  <a:pos x="663" y="459"/>
                </a:cxn>
                <a:cxn ang="0">
                  <a:pos x="647" y="447"/>
                </a:cxn>
                <a:cxn ang="0">
                  <a:pos x="610" y="442"/>
                </a:cxn>
                <a:cxn ang="0">
                  <a:pos x="587" y="395"/>
                </a:cxn>
                <a:cxn ang="0">
                  <a:pos x="539" y="294"/>
                </a:cxn>
                <a:cxn ang="0">
                  <a:pos x="486" y="217"/>
                </a:cxn>
                <a:cxn ang="0">
                  <a:pos x="442" y="201"/>
                </a:cxn>
                <a:cxn ang="0">
                  <a:pos x="391" y="160"/>
                </a:cxn>
                <a:cxn ang="0">
                  <a:pos x="376" y="126"/>
                </a:cxn>
                <a:cxn ang="0">
                  <a:pos x="379" y="92"/>
                </a:cxn>
                <a:cxn ang="0">
                  <a:pos x="372" y="77"/>
                </a:cxn>
                <a:cxn ang="0">
                  <a:pos x="344" y="61"/>
                </a:cxn>
                <a:cxn ang="0">
                  <a:pos x="311" y="25"/>
                </a:cxn>
                <a:cxn ang="0">
                  <a:pos x="288" y="8"/>
                </a:cxn>
                <a:cxn ang="0">
                  <a:pos x="252" y="5"/>
                </a:cxn>
                <a:cxn ang="0">
                  <a:pos x="220" y="4"/>
                </a:cxn>
                <a:cxn ang="0">
                  <a:pos x="202" y="26"/>
                </a:cxn>
                <a:cxn ang="0">
                  <a:pos x="155" y="97"/>
                </a:cxn>
                <a:cxn ang="0">
                  <a:pos x="135" y="148"/>
                </a:cxn>
                <a:cxn ang="0">
                  <a:pos x="119" y="178"/>
                </a:cxn>
                <a:cxn ang="0">
                  <a:pos x="120" y="198"/>
                </a:cxn>
                <a:cxn ang="0">
                  <a:pos x="152" y="237"/>
                </a:cxn>
                <a:cxn ang="0">
                  <a:pos x="126" y="262"/>
                </a:cxn>
                <a:cxn ang="0">
                  <a:pos x="120" y="293"/>
                </a:cxn>
                <a:cxn ang="0">
                  <a:pos x="123" y="337"/>
                </a:cxn>
                <a:cxn ang="0">
                  <a:pos x="96" y="381"/>
                </a:cxn>
                <a:cxn ang="0">
                  <a:pos x="51" y="425"/>
                </a:cxn>
                <a:cxn ang="0">
                  <a:pos x="11" y="474"/>
                </a:cxn>
                <a:cxn ang="0">
                  <a:pos x="0" y="514"/>
                </a:cxn>
                <a:cxn ang="0">
                  <a:pos x="10" y="569"/>
                </a:cxn>
                <a:cxn ang="0">
                  <a:pos x="36" y="646"/>
                </a:cxn>
                <a:cxn ang="0">
                  <a:pos x="47" y="641"/>
                </a:cxn>
                <a:cxn ang="0">
                  <a:pos x="71" y="639"/>
                </a:cxn>
                <a:cxn ang="0">
                  <a:pos x="111" y="657"/>
                </a:cxn>
                <a:cxn ang="0">
                  <a:pos x="160" y="693"/>
                </a:cxn>
                <a:cxn ang="0">
                  <a:pos x="206" y="698"/>
                </a:cxn>
                <a:cxn ang="0">
                  <a:pos x="247" y="686"/>
                </a:cxn>
                <a:cxn ang="0">
                  <a:pos x="287" y="682"/>
                </a:cxn>
                <a:cxn ang="0">
                  <a:pos x="308" y="682"/>
                </a:cxn>
                <a:cxn ang="0">
                  <a:pos x="335" y="631"/>
                </a:cxn>
                <a:cxn ang="0">
                  <a:pos x="390" y="554"/>
                </a:cxn>
                <a:cxn ang="0">
                  <a:pos x="443" y="518"/>
                </a:cxn>
                <a:cxn ang="0">
                  <a:pos x="535" y="518"/>
                </a:cxn>
                <a:cxn ang="0">
                  <a:pos x="567" y="541"/>
                </a:cxn>
                <a:cxn ang="0">
                  <a:pos x="619" y="590"/>
                </a:cxn>
                <a:cxn ang="0">
                  <a:pos x="647" y="595"/>
                </a:cxn>
                <a:cxn ang="0">
                  <a:pos x="662" y="546"/>
                </a:cxn>
              </a:cxnLst>
              <a:rect l="0" t="0" r="r" b="b"/>
              <a:pathLst>
                <a:path w="664" h="698">
                  <a:moveTo>
                    <a:pt x="663" y="535"/>
                  </a:moveTo>
                  <a:lnTo>
                    <a:pt x="663" y="531"/>
                  </a:lnTo>
                  <a:lnTo>
                    <a:pt x="663" y="521"/>
                  </a:lnTo>
                  <a:lnTo>
                    <a:pt x="663" y="505"/>
                  </a:lnTo>
                  <a:lnTo>
                    <a:pt x="663" y="487"/>
                  </a:lnTo>
                  <a:lnTo>
                    <a:pt x="664" y="475"/>
                  </a:lnTo>
                  <a:lnTo>
                    <a:pt x="664" y="466"/>
                  </a:lnTo>
                  <a:lnTo>
                    <a:pt x="663" y="459"/>
                  </a:lnTo>
                  <a:lnTo>
                    <a:pt x="660" y="454"/>
                  </a:lnTo>
                  <a:lnTo>
                    <a:pt x="656" y="450"/>
                  </a:lnTo>
                  <a:lnTo>
                    <a:pt x="651" y="447"/>
                  </a:lnTo>
                  <a:lnTo>
                    <a:pt x="647" y="447"/>
                  </a:lnTo>
                  <a:lnTo>
                    <a:pt x="640" y="446"/>
                  </a:lnTo>
                  <a:lnTo>
                    <a:pt x="628" y="446"/>
                  </a:lnTo>
                  <a:lnTo>
                    <a:pt x="616" y="445"/>
                  </a:lnTo>
                  <a:lnTo>
                    <a:pt x="610" y="442"/>
                  </a:lnTo>
                  <a:lnTo>
                    <a:pt x="604" y="439"/>
                  </a:lnTo>
                  <a:lnTo>
                    <a:pt x="600" y="434"/>
                  </a:lnTo>
                  <a:lnTo>
                    <a:pt x="596" y="427"/>
                  </a:lnTo>
                  <a:lnTo>
                    <a:pt x="587" y="395"/>
                  </a:lnTo>
                  <a:lnTo>
                    <a:pt x="576" y="367"/>
                  </a:lnTo>
                  <a:lnTo>
                    <a:pt x="564" y="342"/>
                  </a:lnTo>
                  <a:lnTo>
                    <a:pt x="552" y="318"/>
                  </a:lnTo>
                  <a:lnTo>
                    <a:pt x="539" y="294"/>
                  </a:lnTo>
                  <a:lnTo>
                    <a:pt x="524" y="270"/>
                  </a:lnTo>
                  <a:lnTo>
                    <a:pt x="510" y="245"/>
                  </a:lnTo>
                  <a:lnTo>
                    <a:pt x="494" y="217"/>
                  </a:lnTo>
                  <a:lnTo>
                    <a:pt x="486" y="217"/>
                  </a:lnTo>
                  <a:lnTo>
                    <a:pt x="478" y="214"/>
                  </a:lnTo>
                  <a:lnTo>
                    <a:pt x="468" y="213"/>
                  </a:lnTo>
                  <a:lnTo>
                    <a:pt x="460" y="210"/>
                  </a:lnTo>
                  <a:lnTo>
                    <a:pt x="442" y="201"/>
                  </a:lnTo>
                  <a:lnTo>
                    <a:pt x="426" y="192"/>
                  </a:lnTo>
                  <a:lnTo>
                    <a:pt x="410" y="180"/>
                  </a:lnTo>
                  <a:lnTo>
                    <a:pt x="396" y="166"/>
                  </a:lnTo>
                  <a:lnTo>
                    <a:pt x="391" y="160"/>
                  </a:lnTo>
                  <a:lnTo>
                    <a:pt x="386" y="152"/>
                  </a:lnTo>
                  <a:lnTo>
                    <a:pt x="382" y="145"/>
                  </a:lnTo>
                  <a:lnTo>
                    <a:pt x="379" y="138"/>
                  </a:lnTo>
                  <a:lnTo>
                    <a:pt x="376" y="126"/>
                  </a:lnTo>
                  <a:lnTo>
                    <a:pt x="376" y="114"/>
                  </a:lnTo>
                  <a:lnTo>
                    <a:pt x="378" y="105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78" y="88"/>
                  </a:lnTo>
                  <a:lnTo>
                    <a:pt x="378" y="84"/>
                  </a:lnTo>
                  <a:lnTo>
                    <a:pt x="375" y="80"/>
                  </a:lnTo>
                  <a:lnTo>
                    <a:pt x="372" y="77"/>
                  </a:lnTo>
                  <a:lnTo>
                    <a:pt x="368" y="73"/>
                  </a:lnTo>
                  <a:lnTo>
                    <a:pt x="362" y="69"/>
                  </a:lnTo>
                  <a:lnTo>
                    <a:pt x="355" y="66"/>
                  </a:lnTo>
                  <a:lnTo>
                    <a:pt x="344" y="61"/>
                  </a:lnTo>
                  <a:lnTo>
                    <a:pt x="335" y="53"/>
                  </a:lnTo>
                  <a:lnTo>
                    <a:pt x="327" y="44"/>
                  </a:lnTo>
                  <a:lnTo>
                    <a:pt x="319" y="34"/>
                  </a:lnTo>
                  <a:lnTo>
                    <a:pt x="311" y="25"/>
                  </a:lnTo>
                  <a:lnTo>
                    <a:pt x="303" y="16"/>
                  </a:lnTo>
                  <a:lnTo>
                    <a:pt x="298" y="13"/>
                  </a:lnTo>
                  <a:lnTo>
                    <a:pt x="294" y="10"/>
                  </a:lnTo>
                  <a:lnTo>
                    <a:pt x="288" y="8"/>
                  </a:lnTo>
                  <a:lnTo>
                    <a:pt x="283" y="6"/>
                  </a:lnTo>
                  <a:lnTo>
                    <a:pt x="271" y="5"/>
                  </a:lnTo>
                  <a:lnTo>
                    <a:pt x="260" y="4"/>
                  </a:lnTo>
                  <a:lnTo>
                    <a:pt x="252" y="5"/>
                  </a:lnTo>
                  <a:lnTo>
                    <a:pt x="244" y="5"/>
                  </a:lnTo>
                  <a:lnTo>
                    <a:pt x="238" y="5"/>
                  </a:lnTo>
                  <a:lnTo>
                    <a:pt x="230" y="5"/>
                  </a:lnTo>
                  <a:lnTo>
                    <a:pt x="220" y="4"/>
                  </a:lnTo>
                  <a:lnTo>
                    <a:pt x="211" y="0"/>
                  </a:lnTo>
                  <a:lnTo>
                    <a:pt x="208" y="8"/>
                  </a:lnTo>
                  <a:lnTo>
                    <a:pt x="206" y="17"/>
                  </a:lnTo>
                  <a:lnTo>
                    <a:pt x="202" y="26"/>
                  </a:lnTo>
                  <a:lnTo>
                    <a:pt x="196" y="37"/>
                  </a:lnTo>
                  <a:lnTo>
                    <a:pt x="183" y="57"/>
                  </a:lnTo>
                  <a:lnTo>
                    <a:pt x="170" y="77"/>
                  </a:lnTo>
                  <a:lnTo>
                    <a:pt x="155" y="97"/>
                  </a:lnTo>
                  <a:lnTo>
                    <a:pt x="144" y="113"/>
                  </a:lnTo>
                  <a:lnTo>
                    <a:pt x="135" y="125"/>
                  </a:lnTo>
                  <a:lnTo>
                    <a:pt x="132" y="133"/>
                  </a:lnTo>
                  <a:lnTo>
                    <a:pt x="135" y="148"/>
                  </a:lnTo>
                  <a:lnTo>
                    <a:pt x="139" y="162"/>
                  </a:lnTo>
                  <a:lnTo>
                    <a:pt x="130" y="170"/>
                  </a:lnTo>
                  <a:lnTo>
                    <a:pt x="122" y="176"/>
                  </a:lnTo>
                  <a:lnTo>
                    <a:pt x="119" y="178"/>
                  </a:lnTo>
                  <a:lnTo>
                    <a:pt x="116" y="182"/>
                  </a:lnTo>
                  <a:lnTo>
                    <a:pt x="115" y="186"/>
                  </a:lnTo>
                  <a:lnTo>
                    <a:pt x="114" y="193"/>
                  </a:lnTo>
                  <a:lnTo>
                    <a:pt x="120" y="198"/>
                  </a:lnTo>
                  <a:lnTo>
                    <a:pt x="134" y="210"/>
                  </a:lnTo>
                  <a:lnTo>
                    <a:pt x="147" y="224"/>
                  </a:lnTo>
                  <a:lnTo>
                    <a:pt x="156" y="229"/>
                  </a:lnTo>
                  <a:lnTo>
                    <a:pt x="152" y="237"/>
                  </a:lnTo>
                  <a:lnTo>
                    <a:pt x="147" y="245"/>
                  </a:lnTo>
                  <a:lnTo>
                    <a:pt x="140" y="252"/>
                  </a:lnTo>
                  <a:lnTo>
                    <a:pt x="134" y="257"/>
                  </a:lnTo>
                  <a:lnTo>
                    <a:pt x="126" y="262"/>
                  </a:lnTo>
                  <a:lnTo>
                    <a:pt x="120" y="268"/>
                  </a:lnTo>
                  <a:lnTo>
                    <a:pt x="116" y="273"/>
                  </a:lnTo>
                  <a:lnTo>
                    <a:pt x="114" y="277"/>
                  </a:lnTo>
                  <a:lnTo>
                    <a:pt x="120" y="293"/>
                  </a:lnTo>
                  <a:lnTo>
                    <a:pt x="126" y="313"/>
                  </a:lnTo>
                  <a:lnTo>
                    <a:pt x="126" y="321"/>
                  </a:lnTo>
                  <a:lnTo>
                    <a:pt x="124" y="329"/>
                  </a:lnTo>
                  <a:lnTo>
                    <a:pt x="123" y="337"/>
                  </a:lnTo>
                  <a:lnTo>
                    <a:pt x="120" y="343"/>
                  </a:lnTo>
                  <a:lnTo>
                    <a:pt x="115" y="357"/>
                  </a:lnTo>
                  <a:lnTo>
                    <a:pt x="107" y="370"/>
                  </a:lnTo>
                  <a:lnTo>
                    <a:pt x="96" y="381"/>
                  </a:lnTo>
                  <a:lnTo>
                    <a:pt x="86" y="393"/>
                  </a:lnTo>
                  <a:lnTo>
                    <a:pt x="75" y="403"/>
                  </a:lnTo>
                  <a:lnTo>
                    <a:pt x="63" y="414"/>
                  </a:lnTo>
                  <a:lnTo>
                    <a:pt x="51" y="425"/>
                  </a:lnTo>
                  <a:lnTo>
                    <a:pt x="40" y="435"/>
                  </a:lnTo>
                  <a:lnTo>
                    <a:pt x="30" y="447"/>
                  </a:lnTo>
                  <a:lnTo>
                    <a:pt x="19" y="461"/>
                  </a:lnTo>
                  <a:lnTo>
                    <a:pt x="11" y="474"/>
                  </a:lnTo>
                  <a:lnTo>
                    <a:pt x="6" y="489"/>
                  </a:lnTo>
                  <a:lnTo>
                    <a:pt x="3" y="497"/>
                  </a:lnTo>
                  <a:lnTo>
                    <a:pt x="2" y="506"/>
                  </a:lnTo>
                  <a:lnTo>
                    <a:pt x="0" y="514"/>
                  </a:lnTo>
                  <a:lnTo>
                    <a:pt x="0" y="523"/>
                  </a:lnTo>
                  <a:lnTo>
                    <a:pt x="2" y="534"/>
                  </a:lnTo>
                  <a:lnTo>
                    <a:pt x="4" y="550"/>
                  </a:lnTo>
                  <a:lnTo>
                    <a:pt x="10" y="569"/>
                  </a:lnTo>
                  <a:lnTo>
                    <a:pt x="16" y="590"/>
                  </a:lnTo>
                  <a:lnTo>
                    <a:pt x="23" y="611"/>
                  </a:lnTo>
                  <a:lnTo>
                    <a:pt x="30" y="630"/>
                  </a:lnTo>
                  <a:lnTo>
                    <a:pt x="36" y="646"/>
                  </a:lnTo>
                  <a:lnTo>
                    <a:pt x="42" y="657"/>
                  </a:lnTo>
                  <a:lnTo>
                    <a:pt x="42" y="649"/>
                  </a:lnTo>
                  <a:lnTo>
                    <a:pt x="44" y="643"/>
                  </a:lnTo>
                  <a:lnTo>
                    <a:pt x="47" y="641"/>
                  </a:lnTo>
                  <a:lnTo>
                    <a:pt x="50" y="639"/>
                  </a:lnTo>
                  <a:lnTo>
                    <a:pt x="54" y="638"/>
                  </a:lnTo>
                  <a:lnTo>
                    <a:pt x="60" y="638"/>
                  </a:lnTo>
                  <a:lnTo>
                    <a:pt x="71" y="639"/>
                  </a:lnTo>
                  <a:lnTo>
                    <a:pt x="80" y="641"/>
                  </a:lnTo>
                  <a:lnTo>
                    <a:pt x="88" y="643"/>
                  </a:lnTo>
                  <a:lnTo>
                    <a:pt x="96" y="647"/>
                  </a:lnTo>
                  <a:lnTo>
                    <a:pt x="111" y="657"/>
                  </a:lnTo>
                  <a:lnTo>
                    <a:pt x="124" y="669"/>
                  </a:lnTo>
                  <a:lnTo>
                    <a:pt x="138" y="679"/>
                  </a:lnTo>
                  <a:lnTo>
                    <a:pt x="152" y="689"/>
                  </a:lnTo>
                  <a:lnTo>
                    <a:pt x="160" y="693"/>
                  </a:lnTo>
                  <a:lnTo>
                    <a:pt x="170" y="695"/>
                  </a:lnTo>
                  <a:lnTo>
                    <a:pt x="180" y="698"/>
                  </a:lnTo>
                  <a:lnTo>
                    <a:pt x="192" y="698"/>
                  </a:lnTo>
                  <a:lnTo>
                    <a:pt x="206" y="698"/>
                  </a:lnTo>
                  <a:lnTo>
                    <a:pt x="216" y="695"/>
                  </a:lnTo>
                  <a:lnTo>
                    <a:pt x="227" y="693"/>
                  </a:lnTo>
                  <a:lnTo>
                    <a:pt x="238" y="690"/>
                  </a:lnTo>
                  <a:lnTo>
                    <a:pt x="247" y="686"/>
                  </a:lnTo>
                  <a:lnTo>
                    <a:pt x="256" y="683"/>
                  </a:lnTo>
                  <a:lnTo>
                    <a:pt x="266" y="681"/>
                  </a:lnTo>
                  <a:lnTo>
                    <a:pt x="276" y="681"/>
                  </a:lnTo>
                  <a:lnTo>
                    <a:pt x="287" y="682"/>
                  </a:lnTo>
                  <a:lnTo>
                    <a:pt x="296" y="686"/>
                  </a:lnTo>
                  <a:lnTo>
                    <a:pt x="304" y="690"/>
                  </a:lnTo>
                  <a:lnTo>
                    <a:pt x="307" y="693"/>
                  </a:lnTo>
                  <a:lnTo>
                    <a:pt x="308" y="682"/>
                  </a:lnTo>
                  <a:lnTo>
                    <a:pt x="311" y="673"/>
                  </a:lnTo>
                  <a:lnTo>
                    <a:pt x="315" y="662"/>
                  </a:lnTo>
                  <a:lnTo>
                    <a:pt x="320" y="651"/>
                  </a:lnTo>
                  <a:lnTo>
                    <a:pt x="335" y="631"/>
                  </a:lnTo>
                  <a:lnTo>
                    <a:pt x="351" y="610"/>
                  </a:lnTo>
                  <a:lnTo>
                    <a:pt x="367" y="587"/>
                  </a:lnTo>
                  <a:lnTo>
                    <a:pt x="383" y="566"/>
                  </a:lnTo>
                  <a:lnTo>
                    <a:pt x="390" y="554"/>
                  </a:lnTo>
                  <a:lnTo>
                    <a:pt x="396" y="542"/>
                  </a:lnTo>
                  <a:lnTo>
                    <a:pt x="400" y="530"/>
                  </a:lnTo>
                  <a:lnTo>
                    <a:pt x="403" y="518"/>
                  </a:lnTo>
                  <a:lnTo>
                    <a:pt x="443" y="518"/>
                  </a:lnTo>
                  <a:lnTo>
                    <a:pt x="474" y="518"/>
                  </a:lnTo>
                  <a:lnTo>
                    <a:pt x="500" y="518"/>
                  </a:lnTo>
                  <a:lnTo>
                    <a:pt x="530" y="518"/>
                  </a:lnTo>
                  <a:lnTo>
                    <a:pt x="535" y="518"/>
                  </a:lnTo>
                  <a:lnTo>
                    <a:pt x="542" y="521"/>
                  </a:lnTo>
                  <a:lnTo>
                    <a:pt x="547" y="525"/>
                  </a:lnTo>
                  <a:lnTo>
                    <a:pt x="554" y="529"/>
                  </a:lnTo>
                  <a:lnTo>
                    <a:pt x="567" y="541"/>
                  </a:lnTo>
                  <a:lnTo>
                    <a:pt x="580" y="555"/>
                  </a:lnTo>
                  <a:lnTo>
                    <a:pt x="595" y="570"/>
                  </a:lnTo>
                  <a:lnTo>
                    <a:pt x="611" y="583"/>
                  </a:lnTo>
                  <a:lnTo>
                    <a:pt x="619" y="590"/>
                  </a:lnTo>
                  <a:lnTo>
                    <a:pt x="627" y="595"/>
                  </a:lnTo>
                  <a:lnTo>
                    <a:pt x="635" y="599"/>
                  </a:lnTo>
                  <a:lnTo>
                    <a:pt x="644" y="602"/>
                  </a:lnTo>
                  <a:lnTo>
                    <a:pt x="647" y="595"/>
                  </a:lnTo>
                  <a:lnTo>
                    <a:pt x="654" y="578"/>
                  </a:lnTo>
                  <a:lnTo>
                    <a:pt x="656" y="567"/>
                  </a:lnTo>
                  <a:lnTo>
                    <a:pt x="659" y="557"/>
                  </a:lnTo>
                  <a:lnTo>
                    <a:pt x="662" y="546"/>
                  </a:lnTo>
                  <a:lnTo>
                    <a:pt x="663" y="53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3" name="Freeform 69"/>
            <p:cNvSpPr>
              <a:spLocks/>
            </p:cNvSpPr>
            <p:nvPr/>
          </p:nvSpPr>
          <p:spPr bwMode="auto">
            <a:xfrm>
              <a:off x="889322" y="4192588"/>
              <a:ext cx="214313" cy="250825"/>
            </a:xfrm>
            <a:custGeom>
              <a:avLst/>
              <a:gdLst/>
              <a:ahLst/>
              <a:cxnLst>
                <a:cxn ang="0">
                  <a:pos x="346" y="63"/>
                </a:cxn>
                <a:cxn ang="0">
                  <a:pos x="350" y="113"/>
                </a:cxn>
                <a:cxn ang="0">
                  <a:pos x="361" y="163"/>
                </a:cxn>
                <a:cxn ang="0">
                  <a:pos x="374" y="181"/>
                </a:cxn>
                <a:cxn ang="0">
                  <a:pos x="404" y="207"/>
                </a:cxn>
                <a:cxn ang="0">
                  <a:pos x="428" y="239"/>
                </a:cxn>
                <a:cxn ang="0">
                  <a:pos x="433" y="265"/>
                </a:cxn>
                <a:cxn ang="0">
                  <a:pos x="433" y="279"/>
                </a:cxn>
                <a:cxn ang="0">
                  <a:pos x="434" y="306"/>
                </a:cxn>
                <a:cxn ang="0">
                  <a:pos x="424" y="337"/>
                </a:cxn>
                <a:cxn ang="0">
                  <a:pos x="389" y="374"/>
                </a:cxn>
                <a:cxn ang="0">
                  <a:pos x="366" y="424"/>
                </a:cxn>
                <a:cxn ang="0">
                  <a:pos x="354" y="465"/>
                </a:cxn>
                <a:cxn ang="0">
                  <a:pos x="334" y="480"/>
                </a:cxn>
                <a:cxn ang="0">
                  <a:pos x="308" y="484"/>
                </a:cxn>
                <a:cxn ang="0">
                  <a:pos x="281" y="488"/>
                </a:cxn>
                <a:cxn ang="0">
                  <a:pos x="262" y="500"/>
                </a:cxn>
                <a:cxn ang="0">
                  <a:pos x="246" y="512"/>
                </a:cxn>
                <a:cxn ang="0">
                  <a:pos x="216" y="476"/>
                </a:cxn>
                <a:cxn ang="0">
                  <a:pos x="200" y="437"/>
                </a:cxn>
                <a:cxn ang="0">
                  <a:pos x="190" y="382"/>
                </a:cxn>
                <a:cxn ang="0">
                  <a:pos x="178" y="324"/>
                </a:cxn>
                <a:cxn ang="0">
                  <a:pos x="165" y="291"/>
                </a:cxn>
                <a:cxn ang="0">
                  <a:pos x="152" y="281"/>
                </a:cxn>
                <a:cxn ang="0">
                  <a:pos x="116" y="269"/>
                </a:cxn>
                <a:cxn ang="0">
                  <a:pos x="98" y="263"/>
                </a:cxn>
                <a:cxn ang="0">
                  <a:pos x="92" y="237"/>
                </a:cxn>
                <a:cxn ang="0">
                  <a:pos x="80" y="196"/>
                </a:cxn>
                <a:cxn ang="0">
                  <a:pos x="65" y="172"/>
                </a:cxn>
                <a:cxn ang="0">
                  <a:pos x="44" y="155"/>
                </a:cxn>
                <a:cxn ang="0">
                  <a:pos x="13" y="145"/>
                </a:cxn>
                <a:cxn ang="0">
                  <a:pos x="34" y="128"/>
                </a:cxn>
                <a:cxn ang="0">
                  <a:pos x="70" y="104"/>
                </a:cxn>
                <a:cxn ang="0">
                  <a:pos x="85" y="83"/>
                </a:cxn>
                <a:cxn ang="0">
                  <a:pos x="94" y="55"/>
                </a:cxn>
                <a:cxn ang="0">
                  <a:pos x="121" y="48"/>
                </a:cxn>
                <a:cxn ang="0">
                  <a:pos x="141" y="53"/>
                </a:cxn>
                <a:cxn ang="0">
                  <a:pos x="158" y="52"/>
                </a:cxn>
                <a:cxn ang="0">
                  <a:pos x="169" y="40"/>
                </a:cxn>
                <a:cxn ang="0">
                  <a:pos x="184" y="13"/>
                </a:cxn>
                <a:cxn ang="0">
                  <a:pos x="208" y="8"/>
                </a:cxn>
                <a:cxn ang="0">
                  <a:pos x="244" y="24"/>
                </a:cxn>
                <a:cxn ang="0">
                  <a:pos x="289" y="29"/>
                </a:cxn>
                <a:cxn ang="0">
                  <a:pos x="322" y="29"/>
                </a:cxn>
                <a:cxn ang="0">
                  <a:pos x="337" y="31"/>
                </a:cxn>
              </a:cxnLst>
              <a:rect l="0" t="0" r="r" b="b"/>
              <a:pathLst>
                <a:path w="440" h="518">
                  <a:moveTo>
                    <a:pt x="337" y="31"/>
                  </a:moveTo>
                  <a:lnTo>
                    <a:pt x="342" y="47"/>
                  </a:lnTo>
                  <a:lnTo>
                    <a:pt x="346" y="63"/>
                  </a:lnTo>
                  <a:lnTo>
                    <a:pt x="348" y="80"/>
                  </a:lnTo>
                  <a:lnTo>
                    <a:pt x="349" y="96"/>
                  </a:lnTo>
                  <a:lnTo>
                    <a:pt x="350" y="113"/>
                  </a:lnTo>
                  <a:lnTo>
                    <a:pt x="352" y="131"/>
                  </a:lnTo>
                  <a:lnTo>
                    <a:pt x="356" y="147"/>
                  </a:lnTo>
                  <a:lnTo>
                    <a:pt x="361" y="163"/>
                  </a:lnTo>
                  <a:lnTo>
                    <a:pt x="365" y="169"/>
                  </a:lnTo>
                  <a:lnTo>
                    <a:pt x="369" y="175"/>
                  </a:lnTo>
                  <a:lnTo>
                    <a:pt x="374" y="181"/>
                  </a:lnTo>
                  <a:lnTo>
                    <a:pt x="380" y="187"/>
                  </a:lnTo>
                  <a:lnTo>
                    <a:pt x="392" y="197"/>
                  </a:lnTo>
                  <a:lnTo>
                    <a:pt x="404" y="207"/>
                  </a:lnTo>
                  <a:lnTo>
                    <a:pt x="416" y="219"/>
                  </a:lnTo>
                  <a:lnTo>
                    <a:pt x="425" y="231"/>
                  </a:lnTo>
                  <a:lnTo>
                    <a:pt x="428" y="239"/>
                  </a:lnTo>
                  <a:lnTo>
                    <a:pt x="430" y="247"/>
                  </a:lnTo>
                  <a:lnTo>
                    <a:pt x="433" y="256"/>
                  </a:lnTo>
                  <a:lnTo>
                    <a:pt x="433" y="265"/>
                  </a:lnTo>
                  <a:lnTo>
                    <a:pt x="433" y="276"/>
                  </a:lnTo>
                  <a:lnTo>
                    <a:pt x="433" y="277"/>
                  </a:lnTo>
                  <a:lnTo>
                    <a:pt x="433" y="279"/>
                  </a:lnTo>
                  <a:lnTo>
                    <a:pt x="433" y="289"/>
                  </a:lnTo>
                  <a:lnTo>
                    <a:pt x="433" y="298"/>
                  </a:lnTo>
                  <a:lnTo>
                    <a:pt x="434" y="306"/>
                  </a:lnTo>
                  <a:lnTo>
                    <a:pt x="436" y="316"/>
                  </a:lnTo>
                  <a:lnTo>
                    <a:pt x="440" y="325"/>
                  </a:lnTo>
                  <a:lnTo>
                    <a:pt x="424" y="337"/>
                  </a:lnTo>
                  <a:lnTo>
                    <a:pt x="410" y="348"/>
                  </a:lnTo>
                  <a:lnTo>
                    <a:pt x="400" y="361"/>
                  </a:lnTo>
                  <a:lnTo>
                    <a:pt x="389" y="374"/>
                  </a:lnTo>
                  <a:lnTo>
                    <a:pt x="380" y="389"/>
                  </a:lnTo>
                  <a:lnTo>
                    <a:pt x="373" y="405"/>
                  </a:lnTo>
                  <a:lnTo>
                    <a:pt x="366" y="424"/>
                  </a:lnTo>
                  <a:lnTo>
                    <a:pt x="361" y="445"/>
                  </a:lnTo>
                  <a:lnTo>
                    <a:pt x="358" y="457"/>
                  </a:lnTo>
                  <a:lnTo>
                    <a:pt x="354" y="465"/>
                  </a:lnTo>
                  <a:lnTo>
                    <a:pt x="349" y="472"/>
                  </a:lnTo>
                  <a:lnTo>
                    <a:pt x="342" y="476"/>
                  </a:lnTo>
                  <a:lnTo>
                    <a:pt x="334" y="480"/>
                  </a:lnTo>
                  <a:lnTo>
                    <a:pt x="326" y="481"/>
                  </a:lnTo>
                  <a:lnTo>
                    <a:pt x="317" y="482"/>
                  </a:lnTo>
                  <a:lnTo>
                    <a:pt x="308" y="484"/>
                  </a:lnTo>
                  <a:lnTo>
                    <a:pt x="298" y="485"/>
                  </a:lnTo>
                  <a:lnTo>
                    <a:pt x="289" y="486"/>
                  </a:lnTo>
                  <a:lnTo>
                    <a:pt x="281" y="488"/>
                  </a:lnTo>
                  <a:lnTo>
                    <a:pt x="274" y="490"/>
                  </a:lnTo>
                  <a:lnTo>
                    <a:pt x="268" y="494"/>
                  </a:lnTo>
                  <a:lnTo>
                    <a:pt x="262" y="500"/>
                  </a:lnTo>
                  <a:lnTo>
                    <a:pt x="260" y="508"/>
                  </a:lnTo>
                  <a:lnTo>
                    <a:pt x="258" y="518"/>
                  </a:lnTo>
                  <a:lnTo>
                    <a:pt x="246" y="512"/>
                  </a:lnTo>
                  <a:lnTo>
                    <a:pt x="234" y="500"/>
                  </a:lnTo>
                  <a:lnTo>
                    <a:pt x="224" y="489"/>
                  </a:lnTo>
                  <a:lnTo>
                    <a:pt x="216" y="476"/>
                  </a:lnTo>
                  <a:lnTo>
                    <a:pt x="209" y="464"/>
                  </a:lnTo>
                  <a:lnTo>
                    <a:pt x="204" y="450"/>
                  </a:lnTo>
                  <a:lnTo>
                    <a:pt x="200" y="437"/>
                  </a:lnTo>
                  <a:lnTo>
                    <a:pt x="196" y="424"/>
                  </a:lnTo>
                  <a:lnTo>
                    <a:pt x="194" y="410"/>
                  </a:lnTo>
                  <a:lnTo>
                    <a:pt x="190" y="382"/>
                  </a:lnTo>
                  <a:lnTo>
                    <a:pt x="185" y="353"/>
                  </a:lnTo>
                  <a:lnTo>
                    <a:pt x="182" y="338"/>
                  </a:lnTo>
                  <a:lnTo>
                    <a:pt x="178" y="324"/>
                  </a:lnTo>
                  <a:lnTo>
                    <a:pt x="174" y="309"/>
                  </a:lnTo>
                  <a:lnTo>
                    <a:pt x="168" y="295"/>
                  </a:lnTo>
                  <a:lnTo>
                    <a:pt x="165" y="291"/>
                  </a:lnTo>
                  <a:lnTo>
                    <a:pt x="161" y="287"/>
                  </a:lnTo>
                  <a:lnTo>
                    <a:pt x="157" y="284"/>
                  </a:lnTo>
                  <a:lnTo>
                    <a:pt x="152" y="281"/>
                  </a:lnTo>
                  <a:lnTo>
                    <a:pt x="140" y="276"/>
                  </a:lnTo>
                  <a:lnTo>
                    <a:pt x="128" y="272"/>
                  </a:lnTo>
                  <a:lnTo>
                    <a:pt x="116" y="269"/>
                  </a:lnTo>
                  <a:lnTo>
                    <a:pt x="105" y="267"/>
                  </a:lnTo>
                  <a:lnTo>
                    <a:pt x="101" y="265"/>
                  </a:lnTo>
                  <a:lnTo>
                    <a:pt x="98" y="263"/>
                  </a:lnTo>
                  <a:lnTo>
                    <a:pt x="97" y="261"/>
                  </a:lnTo>
                  <a:lnTo>
                    <a:pt x="96" y="259"/>
                  </a:lnTo>
                  <a:lnTo>
                    <a:pt x="92" y="237"/>
                  </a:lnTo>
                  <a:lnTo>
                    <a:pt x="86" y="216"/>
                  </a:lnTo>
                  <a:lnTo>
                    <a:pt x="82" y="205"/>
                  </a:lnTo>
                  <a:lnTo>
                    <a:pt x="80" y="196"/>
                  </a:lnTo>
                  <a:lnTo>
                    <a:pt x="76" y="188"/>
                  </a:lnTo>
                  <a:lnTo>
                    <a:pt x="70" y="179"/>
                  </a:lnTo>
                  <a:lnTo>
                    <a:pt x="65" y="172"/>
                  </a:lnTo>
                  <a:lnTo>
                    <a:pt x="58" y="165"/>
                  </a:lnTo>
                  <a:lnTo>
                    <a:pt x="52" y="159"/>
                  </a:lnTo>
                  <a:lnTo>
                    <a:pt x="44" y="155"/>
                  </a:lnTo>
                  <a:lnTo>
                    <a:pt x="34" y="151"/>
                  </a:lnTo>
                  <a:lnTo>
                    <a:pt x="24" y="147"/>
                  </a:lnTo>
                  <a:lnTo>
                    <a:pt x="13" y="145"/>
                  </a:lnTo>
                  <a:lnTo>
                    <a:pt x="0" y="144"/>
                  </a:lnTo>
                  <a:lnTo>
                    <a:pt x="17" y="136"/>
                  </a:lnTo>
                  <a:lnTo>
                    <a:pt x="34" y="128"/>
                  </a:lnTo>
                  <a:lnTo>
                    <a:pt x="49" y="119"/>
                  </a:lnTo>
                  <a:lnTo>
                    <a:pt x="64" y="109"/>
                  </a:lnTo>
                  <a:lnTo>
                    <a:pt x="70" y="104"/>
                  </a:lnTo>
                  <a:lnTo>
                    <a:pt x="76" y="97"/>
                  </a:lnTo>
                  <a:lnTo>
                    <a:pt x="81" y="91"/>
                  </a:lnTo>
                  <a:lnTo>
                    <a:pt x="85" y="83"/>
                  </a:lnTo>
                  <a:lnTo>
                    <a:pt x="89" y="75"/>
                  </a:lnTo>
                  <a:lnTo>
                    <a:pt x="92" y="64"/>
                  </a:lnTo>
                  <a:lnTo>
                    <a:pt x="94" y="55"/>
                  </a:lnTo>
                  <a:lnTo>
                    <a:pt x="96" y="43"/>
                  </a:lnTo>
                  <a:lnTo>
                    <a:pt x="109" y="44"/>
                  </a:lnTo>
                  <a:lnTo>
                    <a:pt x="121" y="48"/>
                  </a:lnTo>
                  <a:lnTo>
                    <a:pt x="128" y="51"/>
                  </a:lnTo>
                  <a:lnTo>
                    <a:pt x="134" y="52"/>
                  </a:lnTo>
                  <a:lnTo>
                    <a:pt x="141" y="53"/>
                  </a:lnTo>
                  <a:lnTo>
                    <a:pt x="150" y="55"/>
                  </a:lnTo>
                  <a:lnTo>
                    <a:pt x="154" y="53"/>
                  </a:lnTo>
                  <a:lnTo>
                    <a:pt x="158" y="52"/>
                  </a:lnTo>
                  <a:lnTo>
                    <a:pt x="161" y="51"/>
                  </a:lnTo>
                  <a:lnTo>
                    <a:pt x="165" y="48"/>
                  </a:lnTo>
                  <a:lnTo>
                    <a:pt x="169" y="40"/>
                  </a:lnTo>
                  <a:lnTo>
                    <a:pt x="174" y="32"/>
                  </a:lnTo>
                  <a:lnTo>
                    <a:pt x="178" y="23"/>
                  </a:lnTo>
                  <a:lnTo>
                    <a:pt x="184" y="13"/>
                  </a:lnTo>
                  <a:lnTo>
                    <a:pt x="190" y="5"/>
                  </a:lnTo>
                  <a:lnTo>
                    <a:pt x="198" y="0"/>
                  </a:lnTo>
                  <a:lnTo>
                    <a:pt x="208" y="8"/>
                  </a:lnTo>
                  <a:lnTo>
                    <a:pt x="218" y="15"/>
                  </a:lnTo>
                  <a:lnTo>
                    <a:pt x="230" y="20"/>
                  </a:lnTo>
                  <a:lnTo>
                    <a:pt x="244" y="24"/>
                  </a:lnTo>
                  <a:lnTo>
                    <a:pt x="257" y="27"/>
                  </a:lnTo>
                  <a:lnTo>
                    <a:pt x="273" y="29"/>
                  </a:lnTo>
                  <a:lnTo>
                    <a:pt x="289" y="29"/>
                  </a:lnTo>
                  <a:lnTo>
                    <a:pt x="306" y="31"/>
                  </a:lnTo>
                  <a:lnTo>
                    <a:pt x="314" y="31"/>
                  </a:lnTo>
                  <a:lnTo>
                    <a:pt x="322" y="29"/>
                  </a:lnTo>
                  <a:lnTo>
                    <a:pt x="329" y="28"/>
                  </a:lnTo>
                  <a:lnTo>
                    <a:pt x="337" y="24"/>
                  </a:lnTo>
                  <a:lnTo>
                    <a:pt x="337" y="3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4" name="Freeform 70"/>
            <p:cNvSpPr>
              <a:spLocks/>
            </p:cNvSpPr>
            <p:nvPr/>
          </p:nvSpPr>
          <p:spPr bwMode="auto">
            <a:xfrm>
              <a:off x="709934" y="4017963"/>
              <a:ext cx="277813" cy="265112"/>
            </a:xfrm>
            <a:custGeom>
              <a:avLst/>
              <a:gdLst/>
              <a:ahLst/>
              <a:cxnLst>
                <a:cxn ang="0">
                  <a:pos x="314" y="85"/>
                </a:cxn>
                <a:cxn ang="0">
                  <a:pos x="308" y="100"/>
                </a:cxn>
                <a:cxn ang="0">
                  <a:pos x="294" y="108"/>
                </a:cxn>
                <a:cxn ang="0">
                  <a:pos x="256" y="98"/>
                </a:cxn>
                <a:cxn ang="0">
                  <a:pos x="226" y="74"/>
                </a:cxn>
                <a:cxn ang="0">
                  <a:pos x="193" y="35"/>
                </a:cxn>
                <a:cxn ang="0">
                  <a:pos x="158" y="4"/>
                </a:cxn>
                <a:cxn ang="0">
                  <a:pos x="133" y="0"/>
                </a:cxn>
                <a:cxn ang="0">
                  <a:pos x="122" y="8"/>
                </a:cxn>
                <a:cxn ang="0">
                  <a:pos x="118" y="45"/>
                </a:cxn>
                <a:cxn ang="0">
                  <a:pos x="118" y="71"/>
                </a:cxn>
                <a:cxn ang="0">
                  <a:pos x="109" y="89"/>
                </a:cxn>
                <a:cxn ang="0">
                  <a:pos x="60" y="126"/>
                </a:cxn>
                <a:cxn ang="0">
                  <a:pos x="28" y="150"/>
                </a:cxn>
                <a:cxn ang="0">
                  <a:pos x="5" y="182"/>
                </a:cxn>
                <a:cxn ang="0">
                  <a:pos x="0" y="202"/>
                </a:cxn>
                <a:cxn ang="0">
                  <a:pos x="2" y="237"/>
                </a:cxn>
                <a:cxn ang="0">
                  <a:pos x="20" y="258"/>
                </a:cxn>
                <a:cxn ang="0">
                  <a:pos x="48" y="265"/>
                </a:cxn>
                <a:cxn ang="0">
                  <a:pos x="70" y="260"/>
                </a:cxn>
                <a:cxn ang="0">
                  <a:pos x="84" y="249"/>
                </a:cxn>
                <a:cxn ang="0">
                  <a:pos x="106" y="265"/>
                </a:cxn>
                <a:cxn ang="0">
                  <a:pos x="150" y="337"/>
                </a:cxn>
                <a:cxn ang="0">
                  <a:pos x="174" y="350"/>
                </a:cxn>
                <a:cxn ang="0">
                  <a:pos x="221" y="362"/>
                </a:cxn>
                <a:cxn ang="0">
                  <a:pos x="245" y="374"/>
                </a:cxn>
                <a:cxn ang="0">
                  <a:pos x="261" y="394"/>
                </a:cxn>
                <a:cxn ang="0">
                  <a:pos x="264" y="426"/>
                </a:cxn>
                <a:cxn ang="0">
                  <a:pos x="252" y="458"/>
                </a:cxn>
                <a:cxn ang="0">
                  <a:pos x="241" y="548"/>
                </a:cxn>
                <a:cxn ang="0">
                  <a:pos x="264" y="521"/>
                </a:cxn>
                <a:cxn ang="0">
                  <a:pos x="278" y="516"/>
                </a:cxn>
                <a:cxn ang="0">
                  <a:pos x="289" y="522"/>
                </a:cxn>
                <a:cxn ang="0">
                  <a:pos x="337" y="517"/>
                </a:cxn>
                <a:cxn ang="0">
                  <a:pos x="407" y="492"/>
                </a:cxn>
                <a:cxn ang="0">
                  <a:pos x="447" y="458"/>
                </a:cxn>
                <a:cxn ang="0">
                  <a:pos x="462" y="436"/>
                </a:cxn>
                <a:cxn ang="0">
                  <a:pos x="469" y="404"/>
                </a:cxn>
                <a:cxn ang="0">
                  <a:pos x="501" y="412"/>
                </a:cxn>
                <a:cxn ang="0">
                  <a:pos x="523" y="416"/>
                </a:cxn>
                <a:cxn ang="0">
                  <a:pos x="534" y="412"/>
                </a:cxn>
                <a:cxn ang="0">
                  <a:pos x="547" y="393"/>
                </a:cxn>
                <a:cxn ang="0">
                  <a:pos x="563" y="366"/>
                </a:cxn>
                <a:cxn ang="0">
                  <a:pos x="559" y="345"/>
                </a:cxn>
                <a:cxn ang="0">
                  <a:pos x="546" y="314"/>
                </a:cxn>
                <a:cxn ang="0">
                  <a:pos x="541" y="277"/>
                </a:cxn>
                <a:cxn ang="0">
                  <a:pos x="551" y="246"/>
                </a:cxn>
                <a:cxn ang="0">
                  <a:pos x="566" y="220"/>
                </a:cxn>
                <a:cxn ang="0">
                  <a:pos x="571" y="193"/>
                </a:cxn>
                <a:cxn ang="0">
                  <a:pos x="563" y="180"/>
                </a:cxn>
                <a:cxn ang="0">
                  <a:pos x="538" y="158"/>
                </a:cxn>
                <a:cxn ang="0">
                  <a:pos x="525" y="142"/>
                </a:cxn>
                <a:cxn ang="0">
                  <a:pos x="529" y="117"/>
                </a:cxn>
                <a:cxn ang="0">
                  <a:pos x="541" y="90"/>
                </a:cxn>
                <a:cxn ang="0">
                  <a:pos x="539" y="73"/>
                </a:cxn>
                <a:cxn ang="0">
                  <a:pos x="529" y="55"/>
                </a:cxn>
                <a:cxn ang="0">
                  <a:pos x="447" y="84"/>
                </a:cxn>
                <a:cxn ang="0">
                  <a:pos x="390" y="90"/>
                </a:cxn>
                <a:cxn ang="0">
                  <a:pos x="345" y="88"/>
                </a:cxn>
                <a:cxn ang="0">
                  <a:pos x="336" y="80"/>
                </a:cxn>
                <a:cxn ang="0">
                  <a:pos x="332" y="67"/>
                </a:cxn>
              </a:cxnLst>
              <a:rect l="0" t="0" r="r" b="b"/>
              <a:pathLst>
                <a:path w="571" h="548">
                  <a:moveTo>
                    <a:pt x="325" y="78"/>
                  </a:moveTo>
                  <a:lnTo>
                    <a:pt x="318" y="81"/>
                  </a:lnTo>
                  <a:lnTo>
                    <a:pt x="314" y="85"/>
                  </a:lnTo>
                  <a:lnTo>
                    <a:pt x="312" y="90"/>
                  </a:lnTo>
                  <a:lnTo>
                    <a:pt x="309" y="96"/>
                  </a:lnTo>
                  <a:lnTo>
                    <a:pt x="308" y="100"/>
                  </a:lnTo>
                  <a:lnTo>
                    <a:pt x="305" y="104"/>
                  </a:lnTo>
                  <a:lnTo>
                    <a:pt x="300" y="106"/>
                  </a:lnTo>
                  <a:lnTo>
                    <a:pt x="294" y="108"/>
                  </a:lnTo>
                  <a:lnTo>
                    <a:pt x="281" y="106"/>
                  </a:lnTo>
                  <a:lnTo>
                    <a:pt x="268" y="104"/>
                  </a:lnTo>
                  <a:lnTo>
                    <a:pt x="256" y="98"/>
                  </a:lnTo>
                  <a:lnTo>
                    <a:pt x="245" y="92"/>
                  </a:lnTo>
                  <a:lnTo>
                    <a:pt x="236" y="82"/>
                  </a:lnTo>
                  <a:lnTo>
                    <a:pt x="226" y="74"/>
                  </a:lnTo>
                  <a:lnTo>
                    <a:pt x="218" y="64"/>
                  </a:lnTo>
                  <a:lnTo>
                    <a:pt x="209" y="55"/>
                  </a:lnTo>
                  <a:lnTo>
                    <a:pt x="193" y="35"/>
                  </a:lnTo>
                  <a:lnTo>
                    <a:pt x="177" y="17"/>
                  </a:lnTo>
                  <a:lnTo>
                    <a:pt x="168" y="9"/>
                  </a:lnTo>
                  <a:lnTo>
                    <a:pt x="158" y="4"/>
                  </a:lnTo>
                  <a:lnTo>
                    <a:pt x="149" y="1"/>
                  </a:lnTo>
                  <a:lnTo>
                    <a:pt x="138" y="0"/>
                  </a:lnTo>
                  <a:lnTo>
                    <a:pt x="133" y="0"/>
                  </a:lnTo>
                  <a:lnTo>
                    <a:pt x="129" y="3"/>
                  </a:lnTo>
                  <a:lnTo>
                    <a:pt x="125" y="4"/>
                  </a:lnTo>
                  <a:lnTo>
                    <a:pt x="122" y="8"/>
                  </a:lnTo>
                  <a:lnTo>
                    <a:pt x="118" y="16"/>
                  </a:lnTo>
                  <a:lnTo>
                    <a:pt x="117" y="25"/>
                  </a:lnTo>
                  <a:lnTo>
                    <a:pt x="118" y="45"/>
                  </a:lnTo>
                  <a:lnTo>
                    <a:pt x="120" y="60"/>
                  </a:lnTo>
                  <a:lnTo>
                    <a:pt x="120" y="65"/>
                  </a:lnTo>
                  <a:lnTo>
                    <a:pt x="118" y="71"/>
                  </a:lnTo>
                  <a:lnTo>
                    <a:pt x="117" y="76"/>
                  </a:lnTo>
                  <a:lnTo>
                    <a:pt x="114" y="80"/>
                  </a:lnTo>
                  <a:lnTo>
                    <a:pt x="109" y="89"/>
                  </a:lnTo>
                  <a:lnTo>
                    <a:pt x="101" y="97"/>
                  </a:lnTo>
                  <a:lnTo>
                    <a:pt x="82" y="112"/>
                  </a:lnTo>
                  <a:lnTo>
                    <a:pt x="60" y="126"/>
                  </a:lnTo>
                  <a:lnTo>
                    <a:pt x="49" y="133"/>
                  </a:lnTo>
                  <a:lnTo>
                    <a:pt x="37" y="141"/>
                  </a:lnTo>
                  <a:lnTo>
                    <a:pt x="28" y="150"/>
                  </a:lnTo>
                  <a:lnTo>
                    <a:pt x="18" y="160"/>
                  </a:lnTo>
                  <a:lnTo>
                    <a:pt x="10" y="170"/>
                  </a:lnTo>
                  <a:lnTo>
                    <a:pt x="5" y="182"/>
                  </a:lnTo>
                  <a:lnTo>
                    <a:pt x="2" y="189"/>
                  </a:lnTo>
                  <a:lnTo>
                    <a:pt x="1" y="196"/>
                  </a:lnTo>
                  <a:lnTo>
                    <a:pt x="0" y="202"/>
                  </a:lnTo>
                  <a:lnTo>
                    <a:pt x="0" y="210"/>
                  </a:lnTo>
                  <a:lnTo>
                    <a:pt x="0" y="225"/>
                  </a:lnTo>
                  <a:lnTo>
                    <a:pt x="2" y="237"/>
                  </a:lnTo>
                  <a:lnTo>
                    <a:pt x="6" y="246"/>
                  </a:lnTo>
                  <a:lnTo>
                    <a:pt x="12" y="253"/>
                  </a:lnTo>
                  <a:lnTo>
                    <a:pt x="20" y="258"/>
                  </a:lnTo>
                  <a:lnTo>
                    <a:pt x="28" y="262"/>
                  </a:lnTo>
                  <a:lnTo>
                    <a:pt x="37" y="264"/>
                  </a:lnTo>
                  <a:lnTo>
                    <a:pt x="48" y="265"/>
                  </a:lnTo>
                  <a:lnTo>
                    <a:pt x="56" y="264"/>
                  </a:lnTo>
                  <a:lnTo>
                    <a:pt x="64" y="262"/>
                  </a:lnTo>
                  <a:lnTo>
                    <a:pt x="70" y="260"/>
                  </a:lnTo>
                  <a:lnTo>
                    <a:pt x="76" y="257"/>
                  </a:lnTo>
                  <a:lnTo>
                    <a:pt x="80" y="253"/>
                  </a:lnTo>
                  <a:lnTo>
                    <a:pt x="84" y="249"/>
                  </a:lnTo>
                  <a:lnTo>
                    <a:pt x="88" y="245"/>
                  </a:lnTo>
                  <a:lnTo>
                    <a:pt x="90" y="241"/>
                  </a:lnTo>
                  <a:lnTo>
                    <a:pt x="106" y="265"/>
                  </a:lnTo>
                  <a:lnTo>
                    <a:pt x="122" y="290"/>
                  </a:lnTo>
                  <a:lnTo>
                    <a:pt x="137" y="316"/>
                  </a:lnTo>
                  <a:lnTo>
                    <a:pt x="150" y="337"/>
                  </a:lnTo>
                  <a:lnTo>
                    <a:pt x="157" y="342"/>
                  </a:lnTo>
                  <a:lnTo>
                    <a:pt x="165" y="346"/>
                  </a:lnTo>
                  <a:lnTo>
                    <a:pt x="174" y="350"/>
                  </a:lnTo>
                  <a:lnTo>
                    <a:pt x="184" y="353"/>
                  </a:lnTo>
                  <a:lnTo>
                    <a:pt x="202" y="357"/>
                  </a:lnTo>
                  <a:lnTo>
                    <a:pt x="221" y="362"/>
                  </a:lnTo>
                  <a:lnTo>
                    <a:pt x="229" y="365"/>
                  </a:lnTo>
                  <a:lnTo>
                    <a:pt x="238" y="369"/>
                  </a:lnTo>
                  <a:lnTo>
                    <a:pt x="245" y="374"/>
                  </a:lnTo>
                  <a:lnTo>
                    <a:pt x="252" y="380"/>
                  </a:lnTo>
                  <a:lnTo>
                    <a:pt x="257" y="386"/>
                  </a:lnTo>
                  <a:lnTo>
                    <a:pt x="261" y="394"/>
                  </a:lnTo>
                  <a:lnTo>
                    <a:pt x="264" y="404"/>
                  </a:lnTo>
                  <a:lnTo>
                    <a:pt x="265" y="416"/>
                  </a:lnTo>
                  <a:lnTo>
                    <a:pt x="264" y="426"/>
                  </a:lnTo>
                  <a:lnTo>
                    <a:pt x="261" y="437"/>
                  </a:lnTo>
                  <a:lnTo>
                    <a:pt x="257" y="449"/>
                  </a:lnTo>
                  <a:lnTo>
                    <a:pt x="252" y="458"/>
                  </a:lnTo>
                  <a:lnTo>
                    <a:pt x="241" y="478"/>
                  </a:lnTo>
                  <a:lnTo>
                    <a:pt x="234" y="493"/>
                  </a:lnTo>
                  <a:lnTo>
                    <a:pt x="241" y="548"/>
                  </a:lnTo>
                  <a:lnTo>
                    <a:pt x="246" y="538"/>
                  </a:lnTo>
                  <a:lnTo>
                    <a:pt x="254" y="530"/>
                  </a:lnTo>
                  <a:lnTo>
                    <a:pt x="264" y="521"/>
                  </a:lnTo>
                  <a:lnTo>
                    <a:pt x="277" y="512"/>
                  </a:lnTo>
                  <a:lnTo>
                    <a:pt x="277" y="514"/>
                  </a:lnTo>
                  <a:lnTo>
                    <a:pt x="278" y="516"/>
                  </a:lnTo>
                  <a:lnTo>
                    <a:pt x="280" y="518"/>
                  </a:lnTo>
                  <a:lnTo>
                    <a:pt x="282" y="520"/>
                  </a:lnTo>
                  <a:lnTo>
                    <a:pt x="289" y="522"/>
                  </a:lnTo>
                  <a:lnTo>
                    <a:pt x="301" y="524"/>
                  </a:lnTo>
                  <a:lnTo>
                    <a:pt x="318" y="522"/>
                  </a:lnTo>
                  <a:lnTo>
                    <a:pt x="337" y="517"/>
                  </a:lnTo>
                  <a:lnTo>
                    <a:pt x="357" y="513"/>
                  </a:lnTo>
                  <a:lnTo>
                    <a:pt x="378" y="512"/>
                  </a:lnTo>
                  <a:lnTo>
                    <a:pt x="407" y="492"/>
                  </a:lnTo>
                  <a:lnTo>
                    <a:pt x="435" y="470"/>
                  </a:lnTo>
                  <a:lnTo>
                    <a:pt x="442" y="465"/>
                  </a:lnTo>
                  <a:lnTo>
                    <a:pt x="447" y="458"/>
                  </a:lnTo>
                  <a:lnTo>
                    <a:pt x="453" y="452"/>
                  </a:lnTo>
                  <a:lnTo>
                    <a:pt x="458" y="444"/>
                  </a:lnTo>
                  <a:lnTo>
                    <a:pt x="462" y="436"/>
                  </a:lnTo>
                  <a:lnTo>
                    <a:pt x="465" y="425"/>
                  </a:lnTo>
                  <a:lnTo>
                    <a:pt x="467" y="416"/>
                  </a:lnTo>
                  <a:lnTo>
                    <a:pt x="469" y="404"/>
                  </a:lnTo>
                  <a:lnTo>
                    <a:pt x="482" y="405"/>
                  </a:lnTo>
                  <a:lnTo>
                    <a:pt x="494" y="409"/>
                  </a:lnTo>
                  <a:lnTo>
                    <a:pt x="501" y="412"/>
                  </a:lnTo>
                  <a:lnTo>
                    <a:pt x="507" y="413"/>
                  </a:lnTo>
                  <a:lnTo>
                    <a:pt x="514" y="414"/>
                  </a:lnTo>
                  <a:lnTo>
                    <a:pt x="523" y="416"/>
                  </a:lnTo>
                  <a:lnTo>
                    <a:pt x="527" y="414"/>
                  </a:lnTo>
                  <a:lnTo>
                    <a:pt x="531" y="413"/>
                  </a:lnTo>
                  <a:lnTo>
                    <a:pt x="534" y="412"/>
                  </a:lnTo>
                  <a:lnTo>
                    <a:pt x="538" y="409"/>
                  </a:lnTo>
                  <a:lnTo>
                    <a:pt x="542" y="401"/>
                  </a:lnTo>
                  <a:lnTo>
                    <a:pt x="547" y="393"/>
                  </a:lnTo>
                  <a:lnTo>
                    <a:pt x="551" y="384"/>
                  </a:lnTo>
                  <a:lnTo>
                    <a:pt x="557" y="374"/>
                  </a:lnTo>
                  <a:lnTo>
                    <a:pt x="563" y="366"/>
                  </a:lnTo>
                  <a:lnTo>
                    <a:pt x="571" y="361"/>
                  </a:lnTo>
                  <a:lnTo>
                    <a:pt x="565" y="354"/>
                  </a:lnTo>
                  <a:lnTo>
                    <a:pt x="559" y="345"/>
                  </a:lnTo>
                  <a:lnTo>
                    <a:pt x="554" y="336"/>
                  </a:lnTo>
                  <a:lnTo>
                    <a:pt x="550" y="325"/>
                  </a:lnTo>
                  <a:lnTo>
                    <a:pt x="546" y="314"/>
                  </a:lnTo>
                  <a:lnTo>
                    <a:pt x="543" y="302"/>
                  </a:lnTo>
                  <a:lnTo>
                    <a:pt x="542" y="290"/>
                  </a:lnTo>
                  <a:lnTo>
                    <a:pt x="541" y="277"/>
                  </a:lnTo>
                  <a:lnTo>
                    <a:pt x="542" y="266"/>
                  </a:lnTo>
                  <a:lnTo>
                    <a:pt x="546" y="256"/>
                  </a:lnTo>
                  <a:lnTo>
                    <a:pt x="551" y="246"/>
                  </a:lnTo>
                  <a:lnTo>
                    <a:pt x="557" y="237"/>
                  </a:lnTo>
                  <a:lnTo>
                    <a:pt x="562" y="229"/>
                  </a:lnTo>
                  <a:lnTo>
                    <a:pt x="566" y="220"/>
                  </a:lnTo>
                  <a:lnTo>
                    <a:pt x="570" y="209"/>
                  </a:lnTo>
                  <a:lnTo>
                    <a:pt x="571" y="198"/>
                  </a:lnTo>
                  <a:lnTo>
                    <a:pt x="571" y="193"/>
                  </a:lnTo>
                  <a:lnTo>
                    <a:pt x="569" y="188"/>
                  </a:lnTo>
                  <a:lnTo>
                    <a:pt x="567" y="184"/>
                  </a:lnTo>
                  <a:lnTo>
                    <a:pt x="563" y="180"/>
                  </a:lnTo>
                  <a:lnTo>
                    <a:pt x="557" y="172"/>
                  </a:lnTo>
                  <a:lnTo>
                    <a:pt x="547" y="165"/>
                  </a:lnTo>
                  <a:lnTo>
                    <a:pt x="538" y="158"/>
                  </a:lnTo>
                  <a:lnTo>
                    <a:pt x="531" y="150"/>
                  </a:lnTo>
                  <a:lnTo>
                    <a:pt x="527" y="146"/>
                  </a:lnTo>
                  <a:lnTo>
                    <a:pt x="525" y="142"/>
                  </a:lnTo>
                  <a:lnTo>
                    <a:pt x="523" y="137"/>
                  </a:lnTo>
                  <a:lnTo>
                    <a:pt x="523" y="132"/>
                  </a:lnTo>
                  <a:lnTo>
                    <a:pt x="529" y="117"/>
                  </a:lnTo>
                  <a:lnTo>
                    <a:pt x="538" y="100"/>
                  </a:lnTo>
                  <a:lnTo>
                    <a:pt x="539" y="94"/>
                  </a:lnTo>
                  <a:lnTo>
                    <a:pt x="541" y="90"/>
                  </a:lnTo>
                  <a:lnTo>
                    <a:pt x="541" y="85"/>
                  </a:lnTo>
                  <a:lnTo>
                    <a:pt x="541" y="78"/>
                  </a:lnTo>
                  <a:lnTo>
                    <a:pt x="539" y="73"/>
                  </a:lnTo>
                  <a:lnTo>
                    <a:pt x="538" y="67"/>
                  </a:lnTo>
                  <a:lnTo>
                    <a:pt x="534" y="61"/>
                  </a:lnTo>
                  <a:lnTo>
                    <a:pt x="529" y="55"/>
                  </a:lnTo>
                  <a:lnTo>
                    <a:pt x="498" y="68"/>
                  </a:lnTo>
                  <a:lnTo>
                    <a:pt x="465" y="78"/>
                  </a:lnTo>
                  <a:lnTo>
                    <a:pt x="447" y="84"/>
                  </a:lnTo>
                  <a:lnTo>
                    <a:pt x="429" y="86"/>
                  </a:lnTo>
                  <a:lnTo>
                    <a:pt x="410" y="89"/>
                  </a:lnTo>
                  <a:lnTo>
                    <a:pt x="390" y="90"/>
                  </a:lnTo>
                  <a:lnTo>
                    <a:pt x="369" y="90"/>
                  </a:lnTo>
                  <a:lnTo>
                    <a:pt x="349" y="89"/>
                  </a:lnTo>
                  <a:lnTo>
                    <a:pt x="345" y="88"/>
                  </a:lnTo>
                  <a:lnTo>
                    <a:pt x="342" y="85"/>
                  </a:lnTo>
                  <a:lnTo>
                    <a:pt x="338" y="82"/>
                  </a:lnTo>
                  <a:lnTo>
                    <a:pt x="336" y="80"/>
                  </a:lnTo>
                  <a:lnTo>
                    <a:pt x="334" y="76"/>
                  </a:lnTo>
                  <a:lnTo>
                    <a:pt x="332" y="72"/>
                  </a:lnTo>
                  <a:lnTo>
                    <a:pt x="332" y="67"/>
                  </a:lnTo>
                  <a:lnTo>
                    <a:pt x="330" y="60"/>
                  </a:lnTo>
                  <a:lnTo>
                    <a:pt x="325" y="7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5" name="Freeform 71"/>
            <p:cNvSpPr>
              <a:spLocks/>
            </p:cNvSpPr>
            <p:nvPr/>
          </p:nvSpPr>
          <p:spPr bwMode="auto">
            <a:xfrm>
              <a:off x="1016322" y="4351338"/>
              <a:ext cx="230188" cy="222250"/>
            </a:xfrm>
            <a:custGeom>
              <a:avLst/>
              <a:gdLst/>
              <a:ahLst/>
              <a:cxnLst>
                <a:cxn ang="0">
                  <a:pos x="195" y="25"/>
                </a:cxn>
                <a:cxn ang="0">
                  <a:pos x="215" y="55"/>
                </a:cxn>
                <a:cxn ang="0">
                  <a:pos x="242" y="72"/>
                </a:cxn>
                <a:cxn ang="0">
                  <a:pos x="286" y="51"/>
                </a:cxn>
                <a:cxn ang="0">
                  <a:pos x="298" y="29"/>
                </a:cxn>
                <a:cxn ang="0">
                  <a:pos x="316" y="17"/>
                </a:cxn>
                <a:cxn ang="0">
                  <a:pos x="368" y="12"/>
                </a:cxn>
                <a:cxn ang="0">
                  <a:pos x="378" y="36"/>
                </a:cxn>
                <a:cxn ang="0">
                  <a:pos x="375" y="69"/>
                </a:cxn>
                <a:cxn ang="0">
                  <a:pos x="383" y="88"/>
                </a:cxn>
                <a:cxn ang="0">
                  <a:pos x="402" y="96"/>
                </a:cxn>
                <a:cxn ang="0">
                  <a:pos x="438" y="96"/>
                </a:cxn>
                <a:cxn ang="0">
                  <a:pos x="458" y="97"/>
                </a:cxn>
                <a:cxn ang="0">
                  <a:pos x="468" y="104"/>
                </a:cxn>
                <a:cxn ang="0">
                  <a:pos x="475" y="152"/>
                </a:cxn>
                <a:cxn ang="0">
                  <a:pos x="440" y="204"/>
                </a:cxn>
                <a:cxn ang="0">
                  <a:pos x="383" y="251"/>
                </a:cxn>
                <a:cxn ang="0">
                  <a:pos x="359" y="285"/>
                </a:cxn>
                <a:cxn ang="0">
                  <a:pos x="356" y="317"/>
                </a:cxn>
                <a:cxn ang="0">
                  <a:pos x="356" y="385"/>
                </a:cxn>
                <a:cxn ang="0">
                  <a:pos x="354" y="432"/>
                </a:cxn>
                <a:cxn ang="0">
                  <a:pos x="343" y="452"/>
                </a:cxn>
                <a:cxn ang="0">
                  <a:pos x="327" y="461"/>
                </a:cxn>
                <a:cxn ang="0">
                  <a:pos x="302" y="464"/>
                </a:cxn>
                <a:cxn ang="0">
                  <a:pos x="276" y="460"/>
                </a:cxn>
                <a:cxn ang="0">
                  <a:pos x="234" y="439"/>
                </a:cxn>
                <a:cxn ang="0">
                  <a:pos x="199" y="407"/>
                </a:cxn>
                <a:cxn ang="0">
                  <a:pos x="187" y="385"/>
                </a:cxn>
                <a:cxn ang="0">
                  <a:pos x="186" y="352"/>
                </a:cxn>
                <a:cxn ang="0">
                  <a:pos x="186" y="335"/>
                </a:cxn>
                <a:cxn ang="0">
                  <a:pos x="180" y="324"/>
                </a:cxn>
                <a:cxn ang="0">
                  <a:pos x="163" y="313"/>
                </a:cxn>
                <a:cxn ang="0">
                  <a:pos x="135" y="291"/>
                </a:cxn>
                <a:cxn ang="0">
                  <a:pos x="111" y="263"/>
                </a:cxn>
                <a:cxn ang="0">
                  <a:pos x="96" y="255"/>
                </a:cxn>
                <a:cxn ang="0">
                  <a:pos x="46" y="251"/>
                </a:cxn>
                <a:cxn ang="0">
                  <a:pos x="20" y="243"/>
                </a:cxn>
                <a:cxn ang="0">
                  <a:pos x="2" y="216"/>
                </a:cxn>
                <a:cxn ang="0">
                  <a:pos x="2" y="183"/>
                </a:cxn>
                <a:cxn ang="0">
                  <a:pos x="16" y="165"/>
                </a:cxn>
                <a:cxn ang="0">
                  <a:pos x="40" y="160"/>
                </a:cxn>
                <a:cxn ang="0">
                  <a:pos x="68" y="156"/>
                </a:cxn>
                <a:cxn ang="0">
                  <a:pos x="91" y="147"/>
                </a:cxn>
                <a:cxn ang="0">
                  <a:pos x="103" y="120"/>
                </a:cxn>
                <a:cxn ang="0">
                  <a:pos x="122" y="64"/>
                </a:cxn>
                <a:cxn ang="0">
                  <a:pos x="151" y="23"/>
                </a:cxn>
                <a:cxn ang="0">
                  <a:pos x="187" y="7"/>
                </a:cxn>
              </a:cxnLst>
              <a:rect l="0" t="0" r="r" b="b"/>
              <a:pathLst>
                <a:path w="476" h="464">
                  <a:moveTo>
                    <a:pt x="187" y="7"/>
                  </a:moveTo>
                  <a:lnTo>
                    <a:pt x="191" y="16"/>
                  </a:lnTo>
                  <a:lnTo>
                    <a:pt x="195" y="25"/>
                  </a:lnTo>
                  <a:lnTo>
                    <a:pt x="200" y="36"/>
                  </a:lnTo>
                  <a:lnTo>
                    <a:pt x="207" y="45"/>
                  </a:lnTo>
                  <a:lnTo>
                    <a:pt x="215" y="55"/>
                  </a:lnTo>
                  <a:lnTo>
                    <a:pt x="224" y="63"/>
                  </a:lnTo>
                  <a:lnTo>
                    <a:pt x="232" y="69"/>
                  </a:lnTo>
                  <a:lnTo>
                    <a:pt x="242" y="72"/>
                  </a:lnTo>
                  <a:lnTo>
                    <a:pt x="284" y="72"/>
                  </a:lnTo>
                  <a:lnTo>
                    <a:pt x="284" y="61"/>
                  </a:lnTo>
                  <a:lnTo>
                    <a:pt x="286" y="51"/>
                  </a:lnTo>
                  <a:lnTo>
                    <a:pt x="290" y="43"/>
                  </a:lnTo>
                  <a:lnTo>
                    <a:pt x="292" y="35"/>
                  </a:lnTo>
                  <a:lnTo>
                    <a:pt x="298" y="29"/>
                  </a:lnTo>
                  <a:lnTo>
                    <a:pt x="303" y="24"/>
                  </a:lnTo>
                  <a:lnTo>
                    <a:pt x="310" y="20"/>
                  </a:lnTo>
                  <a:lnTo>
                    <a:pt x="316" y="17"/>
                  </a:lnTo>
                  <a:lnTo>
                    <a:pt x="332" y="13"/>
                  </a:lnTo>
                  <a:lnTo>
                    <a:pt x="350" y="12"/>
                  </a:lnTo>
                  <a:lnTo>
                    <a:pt x="368" y="12"/>
                  </a:lnTo>
                  <a:lnTo>
                    <a:pt x="386" y="12"/>
                  </a:lnTo>
                  <a:lnTo>
                    <a:pt x="382" y="25"/>
                  </a:lnTo>
                  <a:lnTo>
                    <a:pt x="378" y="36"/>
                  </a:lnTo>
                  <a:lnTo>
                    <a:pt x="375" y="48"/>
                  </a:lnTo>
                  <a:lnTo>
                    <a:pt x="374" y="60"/>
                  </a:lnTo>
                  <a:lnTo>
                    <a:pt x="375" y="69"/>
                  </a:lnTo>
                  <a:lnTo>
                    <a:pt x="376" y="76"/>
                  </a:lnTo>
                  <a:lnTo>
                    <a:pt x="379" y="83"/>
                  </a:lnTo>
                  <a:lnTo>
                    <a:pt x="383" y="88"/>
                  </a:lnTo>
                  <a:lnTo>
                    <a:pt x="388" y="91"/>
                  </a:lnTo>
                  <a:lnTo>
                    <a:pt x="395" y="95"/>
                  </a:lnTo>
                  <a:lnTo>
                    <a:pt x="402" y="96"/>
                  </a:lnTo>
                  <a:lnTo>
                    <a:pt x="410" y="96"/>
                  </a:lnTo>
                  <a:lnTo>
                    <a:pt x="426" y="96"/>
                  </a:lnTo>
                  <a:lnTo>
                    <a:pt x="438" y="96"/>
                  </a:lnTo>
                  <a:lnTo>
                    <a:pt x="447" y="96"/>
                  </a:lnTo>
                  <a:lnTo>
                    <a:pt x="452" y="96"/>
                  </a:lnTo>
                  <a:lnTo>
                    <a:pt x="458" y="97"/>
                  </a:lnTo>
                  <a:lnTo>
                    <a:pt x="462" y="99"/>
                  </a:lnTo>
                  <a:lnTo>
                    <a:pt x="466" y="101"/>
                  </a:lnTo>
                  <a:lnTo>
                    <a:pt x="468" y="104"/>
                  </a:lnTo>
                  <a:lnTo>
                    <a:pt x="471" y="113"/>
                  </a:lnTo>
                  <a:lnTo>
                    <a:pt x="474" y="125"/>
                  </a:lnTo>
                  <a:lnTo>
                    <a:pt x="475" y="152"/>
                  </a:lnTo>
                  <a:lnTo>
                    <a:pt x="476" y="181"/>
                  </a:lnTo>
                  <a:lnTo>
                    <a:pt x="459" y="191"/>
                  </a:lnTo>
                  <a:lnTo>
                    <a:pt x="440" y="204"/>
                  </a:lnTo>
                  <a:lnTo>
                    <a:pt x="420" y="219"/>
                  </a:lnTo>
                  <a:lnTo>
                    <a:pt x="400" y="235"/>
                  </a:lnTo>
                  <a:lnTo>
                    <a:pt x="383" y="251"/>
                  </a:lnTo>
                  <a:lnTo>
                    <a:pt x="368" y="268"/>
                  </a:lnTo>
                  <a:lnTo>
                    <a:pt x="363" y="276"/>
                  </a:lnTo>
                  <a:lnTo>
                    <a:pt x="359" y="285"/>
                  </a:lnTo>
                  <a:lnTo>
                    <a:pt x="356" y="293"/>
                  </a:lnTo>
                  <a:lnTo>
                    <a:pt x="356" y="301"/>
                  </a:lnTo>
                  <a:lnTo>
                    <a:pt x="356" y="317"/>
                  </a:lnTo>
                  <a:lnTo>
                    <a:pt x="356" y="335"/>
                  </a:lnTo>
                  <a:lnTo>
                    <a:pt x="356" y="356"/>
                  </a:lnTo>
                  <a:lnTo>
                    <a:pt x="356" y="385"/>
                  </a:lnTo>
                  <a:lnTo>
                    <a:pt x="356" y="403"/>
                  </a:lnTo>
                  <a:lnTo>
                    <a:pt x="355" y="419"/>
                  </a:lnTo>
                  <a:lnTo>
                    <a:pt x="354" y="432"/>
                  </a:lnTo>
                  <a:lnTo>
                    <a:pt x="350" y="443"/>
                  </a:lnTo>
                  <a:lnTo>
                    <a:pt x="347" y="448"/>
                  </a:lnTo>
                  <a:lnTo>
                    <a:pt x="343" y="452"/>
                  </a:lnTo>
                  <a:lnTo>
                    <a:pt x="339" y="456"/>
                  </a:lnTo>
                  <a:lnTo>
                    <a:pt x="334" y="459"/>
                  </a:lnTo>
                  <a:lnTo>
                    <a:pt x="327" y="461"/>
                  </a:lnTo>
                  <a:lnTo>
                    <a:pt x="320" y="463"/>
                  </a:lnTo>
                  <a:lnTo>
                    <a:pt x="311" y="464"/>
                  </a:lnTo>
                  <a:lnTo>
                    <a:pt x="302" y="464"/>
                  </a:lnTo>
                  <a:lnTo>
                    <a:pt x="294" y="464"/>
                  </a:lnTo>
                  <a:lnTo>
                    <a:pt x="286" y="461"/>
                  </a:lnTo>
                  <a:lnTo>
                    <a:pt x="276" y="460"/>
                  </a:lnTo>
                  <a:lnTo>
                    <a:pt x="268" y="457"/>
                  </a:lnTo>
                  <a:lnTo>
                    <a:pt x="250" y="448"/>
                  </a:lnTo>
                  <a:lnTo>
                    <a:pt x="234" y="439"/>
                  </a:lnTo>
                  <a:lnTo>
                    <a:pt x="218" y="427"/>
                  </a:lnTo>
                  <a:lnTo>
                    <a:pt x="204" y="413"/>
                  </a:lnTo>
                  <a:lnTo>
                    <a:pt x="199" y="407"/>
                  </a:lnTo>
                  <a:lnTo>
                    <a:pt x="194" y="399"/>
                  </a:lnTo>
                  <a:lnTo>
                    <a:pt x="190" y="392"/>
                  </a:lnTo>
                  <a:lnTo>
                    <a:pt x="187" y="385"/>
                  </a:lnTo>
                  <a:lnTo>
                    <a:pt x="184" y="373"/>
                  </a:lnTo>
                  <a:lnTo>
                    <a:pt x="184" y="361"/>
                  </a:lnTo>
                  <a:lnTo>
                    <a:pt x="186" y="352"/>
                  </a:lnTo>
                  <a:lnTo>
                    <a:pt x="187" y="343"/>
                  </a:lnTo>
                  <a:lnTo>
                    <a:pt x="187" y="339"/>
                  </a:lnTo>
                  <a:lnTo>
                    <a:pt x="186" y="335"/>
                  </a:lnTo>
                  <a:lnTo>
                    <a:pt x="186" y="331"/>
                  </a:lnTo>
                  <a:lnTo>
                    <a:pt x="183" y="327"/>
                  </a:lnTo>
                  <a:lnTo>
                    <a:pt x="180" y="324"/>
                  </a:lnTo>
                  <a:lnTo>
                    <a:pt x="176" y="320"/>
                  </a:lnTo>
                  <a:lnTo>
                    <a:pt x="170" y="316"/>
                  </a:lnTo>
                  <a:lnTo>
                    <a:pt x="163" y="313"/>
                  </a:lnTo>
                  <a:lnTo>
                    <a:pt x="152" y="308"/>
                  </a:lnTo>
                  <a:lnTo>
                    <a:pt x="143" y="300"/>
                  </a:lnTo>
                  <a:lnTo>
                    <a:pt x="135" y="291"/>
                  </a:lnTo>
                  <a:lnTo>
                    <a:pt x="127" y="281"/>
                  </a:lnTo>
                  <a:lnTo>
                    <a:pt x="119" y="272"/>
                  </a:lnTo>
                  <a:lnTo>
                    <a:pt x="111" y="263"/>
                  </a:lnTo>
                  <a:lnTo>
                    <a:pt x="106" y="260"/>
                  </a:lnTo>
                  <a:lnTo>
                    <a:pt x="102" y="257"/>
                  </a:lnTo>
                  <a:lnTo>
                    <a:pt x="96" y="255"/>
                  </a:lnTo>
                  <a:lnTo>
                    <a:pt x="91" y="253"/>
                  </a:lnTo>
                  <a:lnTo>
                    <a:pt x="66" y="251"/>
                  </a:lnTo>
                  <a:lnTo>
                    <a:pt x="46" y="251"/>
                  </a:lnTo>
                  <a:lnTo>
                    <a:pt x="36" y="249"/>
                  </a:lnTo>
                  <a:lnTo>
                    <a:pt x="27" y="247"/>
                  </a:lnTo>
                  <a:lnTo>
                    <a:pt x="20" y="243"/>
                  </a:lnTo>
                  <a:lnTo>
                    <a:pt x="12" y="235"/>
                  </a:lnTo>
                  <a:lnTo>
                    <a:pt x="6" y="224"/>
                  </a:lnTo>
                  <a:lnTo>
                    <a:pt x="2" y="216"/>
                  </a:lnTo>
                  <a:lnTo>
                    <a:pt x="0" y="207"/>
                  </a:lnTo>
                  <a:lnTo>
                    <a:pt x="0" y="193"/>
                  </a:lnTo>
                  <a:lnTo>
                    <a:pt x="2" y="183"/>
                  </a:lnTo>
                  <a:lnTo>
                    <a:pt x="4" y="175"/>
                  </a:lnTo>
                  <a:lnTo>
                    <a:pt x="10" y="169"/>
                  </a:lnTo>
                  <a:lnTo>
                    <a:pt x="16" y="165"/>
                  </a:lnTo>
                  <a:lnTo>
                    <a:pt x="23" y="163"/>
                  </a:lnTo>
                  <a:lnTo>
                    <a:pt x="31" y="161"/>
                  </a:lnTo>
                  <a:lnTo>
                    <a:pt x="40" y="160"/>
                  </a:lnTo>
                  <a:lnTo>
                    <a:pt x="50" y="159"/>
                  </a:lnTo>
                  <a:lnTo>
                    <a:pt x="59" y="157"/>
                  </a:lnTo>
                  <a:lnTo>
                    <a:pt x="68" y="156"/>
                  </a:lnTo>
                  <a:lnTo>
                    <a:pt x="76" y="155"/>
                  </a:lnTo>
                  <a:lnTo>
                    <a:pt x="84" y="151"/>
                  </a:lnTo>
                  <a:lnTo>
                    <a:pt x="91" y="147"/>
                  </a:lnTo>
                  <a:lnTo>
                    <a:pt x="96" y="140"/>
                  </a:lnTo>
                  <a:lnTo>
                    <a:pt x="100" y="132"/>
                  </a:lnTo>
                  <a:lnTo>
                    <a:pt x="103" y="120"/>
                  </a:lnTo>
                  <a:lnTo>
                    <a:pt x="108" y="99"/>
                  </a:lnTo>
                  <a:lnTo>
                    <a:pt x="114" y="80"/>
                  </a:lnTo>
                  <a:lnTo>
                    <a:pt x="122" y="64"/>
                  </a:lnTo>
                  <a:lnTo>
                    <a:pt x="130" y="49"/>
                  </a:lnTo>
                  <a:lnTo>
                    <a:pt x="140" y="36"/>
                  </a:lnTo>
                  <a:lnTo>
                    <a:pt x="151" y="23"/>
                  </a:lnTo>
                  <a:lnTo>
                    <a:pt x="162" y="12"/>
                  </a:lnTo>
                  <a:lnTo>
                    <a:pt x="175" y="0"/>
                  </a:lnTo>
                  <a:lnTo>
                    <a:pt x="187" y="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6" name="Freeform 72"/>
            <p:cNvSpPr>
              <a:spLocks/>
            </p:cNvSpPr>
            <p:nvPr/>
          </p:nvSpPr>
          <p:spPr bwMode="auto">
            <a:xfrm>
              <a:off x="1664022" y="4756150"/>
              <a:ext cx="339725" cy="295275"/>
            </a:xfrm>
            <a:custGeom>
              <a:avLst/>
              <a:gdLst/>
              <a:ahLst/>
              <a:cxnLst>
                <a:cxn ang="0">
                  <a:pos x="201" y="601"/>
                </a:cxn>
                <a:cxn ang="0">
                  <a:pos x="237" y="590"/>
                </a:cxn>
                <a:cxn ang="0">
                  <a:pos x="293" y="580"/>
                </a:cxn>
                <a:cxn ang="0">
                  <a:pos x="319" y="570"/>
                </a:cxn>
                <a:cxn ang="0">
                  <a:pos x="380" y="502"/>
                </a:cxn>
                <a:cxn ang="0">
                  <a:pos x="407" y="478"/>
                </a:cxn>
                <a:cxn ang="0">
                  <a:pos x="436" y="461"/>
                </a:cxn>
                <a:cxn ang="0">
                  <a:pos x="471" y="457"/>
                </a:cxn>
                <a:cxn ang="0">
                  <a:pos x="503" y="445"/>
                </a:cxn>
                <a:cxn ang="0">
                  <a:pos x="525" y="422"/>
                </a:cxn>
                <a:cxn ang="0">
                  <a:pos x="555" y="376"/>
                </a:cxn>
                <a:cxn ang="0">
                  <a:pos x="583" y="338"/>
                </a:cxn>
                <a:cxn ang="0">
                  <a:pos x="595" y="326"/>
                </a:cxn>
                <a:cxn ang="0">
                  <a:pos x="627" y="310"/>
                </a:cxn>
                <a:cxn ang="0">
                  <a:pos x="647" y="295"/>
                </a:cxn>
                <a:cxn ang="0">
                  <a:pos x="660" y="279"/>
                </a:cxn>
                <a:cxn ang="0">
                  <a:pos x="664" y="259"/>
                </a:cxn>
                <a:cxn ang="0">
                  <a:pos x="668" y="221"/>
                </a:cxn>
                <a:cxn ang="0">
                  <a:pos x="675" y="204"/>
                </a:cxn>
                <a:cxn ang="0">
                  <a:pos x="691" y="193"/>
                </a:cxn>
                <a:cxn ang="0">
                  <a:pos x="676" y="157"/>
                </a:cxn>
                <a:cxn ang="0">
                  <a:pos x="631" y="69"/>
                </a:cxn>
                <a:cxn ang="0">
                  <a:pos x="593" y="29"/>
                </a:cxn>
                <a:cxn ang="0">
                  <a:pos x="581" y="44"/>
                </a:cxn>
                <a:cxn ang="0">
                  <a:pos x="579" y="67"/>
                </a:cxn>
                <a:cxn ang="0">
                  <a:pos x="549" y="67"/>
                </a:cxn>
                <a:cxn ang="0">
                  <a:pos x="513" y="61"/>
                </a:cxn>
                <a:cxn ang="0">
                  <a:pos x="477" y="40"/>
                </a:cxn>
                <a:cxn ang="0">
                  <a:pos x="447" y="0"/>
                </a:cxn>
                <a:cxn ang="0">
                  <a:pos x="440" y="29"/>
                </a:cxn>
                <a:cxn ang="0">
                  <a:pos x="427" y="56"/>
                </a:cxn>
                <a:cxn ang="0">
                  <a:pos x="409" y="79"/>
                </a:cxn>
                <a:cxn ang="0">
                  <a:pos x="387" y="95"/>
                </a:cxn>
                <a:cxn ang="0">
                  <a:pos x="360" y="101"/>
                </a:cxn>
                <a:cxn ang="0">
                  <a:pos x="331" y="99"/>
                </a:cxn>
                <a:cxn ang="0">
                  <a:pos x="281" y="73"/>
                </a:cxn>
                <a:cxn ang="0">
                  <a:pos x="193" y="27"/>
                </a:cxn>
                <a:cxn ang="0">
                  <a:pos x="152" y="13"/>
                </a:cxn>
                <a:cxn ang="0">
                  <a:pos x="127" y="16"/>
                </a:cxn>
                <a:cxn ang="0">
                  <a:pos x="113" y="33"/>
                </a:cxn>
                <a:cxn ang="0">
                  <a:pos x="109" y="55"/>
                </a:cxn>
                <a:cxn ang="0">
                  <a:pos x="64" y="47"/>
                </a:cxn>
                <a:cxn ang="0">
                  <a:pos x="37" y="65"/>
                </a:cxn>
                <a:cxn ang="0">
                  <a:pos x="31" y="92"/>
                </a:cxn>
                <a:cxn ang="0">
                  <a:pos x="32" y="123"/>
                </a:cxn>
                <a:cxn ang="0">
                  <a:pos x="40" y="152"/>
                </a:cxn>
                <a:cxn ang="0">
                  <a:pos x="40" y="184"/>
                </a:cxn>
                <a:cxn ang="0">
                  <a:pos x="29" y="203"/>
                </a:cxn>
                <a:cxn ang="0">
                  <a:pos x="7" y="221"/>
                </a:cxn>
                <a:cxn ang="0">
                  <a:pos x="1" y="235"/>
                </a:cxn>
                <a:cxn ang="0">
                  <a:pos x="4" y="263"/>
                </a:cxn>
                <a:cxn ang="0">
                  <a:pos x="17" y="291"/>
                </a:cxn>
                <a:cxn ang="0">
                  <a:pos x="40" y="316"/>
                </a:cxn>
                <a:cxn ang="0">
                  <a:pos x="104" y="380"/>
                </a:cxn>
                <a:cxn ang="0">
                  <a:pos x="124" y="420"/>
                </a:cxn>
                <a:cxn ang="0">
                  <a:pos x="155" y="513"/>
                </a:cxn>
                <a:cxn ang="0">
                  <a:pos x="179" y="572"/>
                </a:cxn>
                <a:cxn ang="0">
                  <a:pos x="187" y="608"/>
                </a:cxn>
              </a:cxnLst>
              <a:rect l="0" t="0" r="r" b="b"/>
              <a:pathLst>
                <a:path w="698" h="608">
                  <a:moveTo>
                    <a:pt x="187" y="608"/>
                  </a:moveTo>
                  <a:lnTo>
                    <a:pt x="195" y="604"/>
                  </a:lnTo>
                  <a:lnTo>
                    <a:pt x="201" y="601"/>
                  </a:lnTo>
                  <a:lnTo>
                    <a:pt x="211" y="597"/>
                  </a:lnTo>
                  <a:lnTo>
                    <a:pt x="219" y="594"/>
                  </a:lnTo>
                  <a:lnTo>
                    <a:pt x="237" y="590"/>
                  </a:lnTo>
                  <a:lnTo>
                    <a:pt x="256" y="588"/>
                  </a:lnTo>
                  <a:lnTo>
                    <a:pt x="276" y="584"/>
                  </a:lnTo>
                  <a:lnTo>
                    <a:pt x="293" y="580"/>
                  </a:lnTo>
                  <a:lnTo>
                    <a:pt x="303" y="577"/>
                  </a:lnTo>
                  <a:lnTo>
                    <a:pt x="311" y="574"/>
                  </a:lnTo>
                  <a:lnTo>
                    <a:pt x="319" y="570"/>
                  </a:lnTo>
                  <a:lnTo>
                    <a:pt x="325" y="566"/>
                  </a:lnTo>
                  <a:lnTo>
                    <a:pt x="351" y="538"/>
                  </a:lnTo>
                  <a:lnTo>
                    <a:pt x="380" y="502"/>
                  </a:lnTo>
                  <a:lnTo>
                    <a:pt x="389" y="494"/>
                  </a:lnTo>
                  <a:lnTo>
                    <a:pt x="397" y="485"/>
                  </a:lnTo>
                  <a:lnTo>
                    <a:pt x="407" y="478"/>
                  </a:lnTo>
                  <a:lnTo>
                    <a:pt x="416" y="472"/>
                  </a:lnTo>
                  <a:lnTo>
                    <a:pt x="427" y="465"/>
                  </a:lnTo>
                  <a:lnTo>
                    <a:pt x="436" y="461"/>
                  </a:lnTo>
                  <a:lnTo>
                    <a:pt x="447" y="458"/>
                  </a:lnTo>
                  <a:lnTo>
                    <a:pt x="459" y="457"/>
                  </a:lnTo>
                  <a:lnTo>
                    <a:pt x="471" y="457"/>
                  </a:lnTo>
                  <a:lnTo>
                    <a:pt x="483" y="454"/>
                  </a:lnTo>
                  <a:lnTo>
                    <a:pt x="493" y="450"/>
                  </a:lnTo>
                  <a:lnTo>
                    <a:pt x="503" y="445"/>
                  </a:lnTo>
                  <a:lnTo>
                    <a:pt x="511" y="438"/>
                  </a:lnTo>
                  <a:lnTo>
                    <a:pt x="519" y="430"/>
                  </a:lnTo>
                  <a:lnTo>
                    <a:pt x="525" y="422"/>
                  </a:lnTo>
                  <a:lnTo>
                    <a:pt x="532" y="414"/>
                  </a:lnTo>
                  <a:lnTo>
                    <a:pt x="544" y="396"/>
                  </a:lnTo>
                  <a:lnTo>
                    <a:pt x="555" y="376"/>
                  </a:lnTo>
                  <a:lnTo>
                    <a:pt x="565" y="358"/>
                  </a:lnTo>
                  <a:lnTo>
                    <a:pt x="579" y="344"/>
                  </a:lnTo>
                  <a:lnTo>
                    <a:pt x="583" y="338"/>
                  </a:lnTo>
                  <a:lnTo>
                    <a:pt x="587" y="333"/>
                  </a:lnTo>
                  <a:lnTo>
                    <a:pt x="591" y="329"/>
                  </a:lnTo>
                  <a:lnTo>
                    <a:pt x="595" y="326"/>
                  </a:lnTo>
                  <a:lnTo>
                    <a:pt x="605" y="320"/>
                  </a:lnTo>
                  <a:lnTo>
                    <a:pt x="616" y="316"/>
                  </a:lnTo>
                  <a:lnTo>
                    <a:pt x="627" y="310"/>
                  </a:lnTo>
                  <a:lnTo>
                    <a:pt x="637" y="304"/>
                  </a:lnTo>
                  <a:lnTo>
                    <a:pt x="643" y="300"/>
                  </a:lnTo>
                  <a:lnTo>
                    <a:pt x="647" y="295"/>
                  </a:lnTo>
                  <a:lnTo>
                    <a:pt x="652" y="289"/>
                  </a:lnTo>
                  <a:lnTo>
                    <a:pt x="657" y="283"/>
                  </a:lnTo>
                  <a:lnTo>
                    <a:pt x="660" y="279"/>
                  </a:lnTo>
                  <a:lnTo>
                    <a:pt x="661" y="272"/>
                  </a:lnTo>
                  <a:lnTo>
                    <a:pt x="664" y="265"/>
                  </a:lnTo>
                  <a:lnTo>
                    <a:pt x="664" y="259"/>
                  </a:lnTo>
                  <a:lnTo>
                    <a:pt x="665" y="244"/>
                  </a:lnTo>
                  <a:lnTo>
                    <a:pt x="667" y="229"/>
                  </a:lnTo>
                  <a:lnTo>
                    <a:pt x="668" y="221"/>
                  </a:lnTo>
                  <a:lnTo>
                    <a:pt x="669" y="215"/>
                  </a:lnTo>
                  <a:lnTo>
                    <a:pt x="672" y="209"/>
                  </a:lnTo>
                  <a:lnTo>
                    <a:pt x="675" y="204"/>
                  </a:lnTo>
                  <a:lnTo>
                    <a:pt x="679" y="199"/>
                  </a:lnTo>
                  <a:lnTo>
                    <a:pt x="684" y="196"/>
                  </a:lnTo>
                  <a:lnTo>
                    <a:pt x="691" y="193"/>
                  </a:lnTo>
                  <a:lnTo>
                    <a:pt x="698" y="193"/>
                  </a:lnTo>
                  <a:lnTo>
                    <a:pt x="688" y="176"/>
                  </a:lnTo>
                  <a:lnTo>
                    <a:pt x="676" y="157"/>
                  </a:lnTo>
                  <a:lnTo>
                    <a:pt x="665" y="137"/>
                  </a:lnTo>
                  <a:lnTo>
                    <a:pt x="653" y="115"/>
                  </a:lnTo>
                  <a:lnTo>
                    <a:pt x="631" y="69"/>
                  </a:lnTo>
                  <a:lnTo>
                    <a:pt x="609" y="24"/>
                  </a:lnTo>
                  <a:lnTo>
                    <a:pt x="600" y="27"/>
                  </a:lnTo>
                  <a:lnTo>
                    <a:pt x="593" y="29"/>
                  </a:lnTo>
                  <a:lnTo>
                    <a:pt x="588" y="33"/>
                  </a:lnTo>
                  <a:lnTo>
                    <a:pt x="584" y="39"/>
                  </a:lnTo>
                  <a:lnTo>
                    <a:pt x="581" y="44"/>
                  </a:lnTo>
                  <a:lnTo>
                    <a:pt x="580" y="51"/>
                  </a:lnTo>
                  <a:lnTo>
                    <a:pt x="579" y="57"/>
                  </a:lnTo>
                  <a:lnTo>
                    <a:pt x="579" y="67"/>
                  </a:lnTo>
                  <a:lnTo>
                    <a:pt x="569" y="67"/>
                  </a:lnTo>
                  <a:lnTo>
                    <a:pt x="560" y="67"/>
                  </a:lnTo>
                  <a:lnTo>
                    <a:pt x="549" y="67"/>
                  </a:lnTo>
                  <a:lnTo>
                    <a:pt x="536" y="67"/>
                  </a:lnTo>
                  <a:lnTo>
                    <a:pt x="525" y="65"/>
                  </a:lnTo>
                  <a:lnTo>
                    <a:pt x="513" y="61"/>
                  </a:lnTo>
                  <a:lnTo>
                    <a:pt x="501" y="56"/>
                  </a:lnTo>
                  <a:lnTo>
                    <a:pt x="489" y="49"/>
                  </a:lnTo>
                  <a:lnTo>
                    <a:pt x="477" y="40"/>
                  </a:lnTo>
                  <a:lnTo>
                    <a:pt x="467" y="28"/>
                  </a:lnTo>
                  <a:lnTo>
                    <a:pt x="456" y="15"/>
                  </a:lnTo>
                  <a:lnTo>
                    <a:pt x="447" y="0"/>
                  </a:lnTo>
                  <a:lnTo>
                    <a:pt x="444" y="11"/>
                  </a:lnTo>
                  <a:lnTo>
                    <a:pt x="443" y="20"/>
                  </a:lnTo>
                  <a:lnTo>
                    <a:pt x="440" y="29"/>
                  </a:lnTo>
                  <a:lnTo>
                    <a:pt x="436" y="39"/>
                  </a:lnTo>
                  <a:lnTo>
                    <a:pt x="432" y="48"/>
                  </a:lnTo>
                  <a:lnTo>
                    <a:pt x="427" y="56"/>
                  </a:lnTo>
                  <a:lnTo>
                    <a:pt x="421" y="64"/>
                  </a:lnTo>
                  <a:lnTo>
                    <a:pt x="416" y="72"/>
                  </a:lnTo>
                  <a:lnTo>
                    <a:pt x="409" y="79"/>
                  </a:lnTo>
                  <a:lnTo>
                    <a:pt x="403" y="84"/>
                  </a:lnTo>
                  <a:lnTo>
                    <a:pt x="395" y="89"/>
                  </a:lnTo>
                  <a:lnTo>
                    <a:pt x="387" y="95"/>
                  </a:lnTo>
                  <a:lnTo>
                    <a:pt x="379" y="97"/>
                  </a:lnTo>
                  <a:lnTo>
                    <a:pt x="369" y="100"/>
                  </a:lnTo>
                  <a:lnTo>
                    <a:pt x="360" y="101"/>
                  </a:lnTo>
                  <a:lnTo>
                    <a:pt x="349" y="103"/>
                  </a:lnTo>
                  <a:lnTo>
                    <a:pt x="341" y="101"/>
                  </a:lnTo>
                  <a:lnTo>
                    <a:pt x="331" y="99"/>
                  </a:lnTo>
                  <a:lnTo>
                    <a:pt x="320" y="95"/>
                  </a:lnTo>
                  <a:lnTo>
                    <a:pt x="308" y="88"/>
                  </a:lnTo>
                  <a:lnTo>
                    <a:pt x="281" y="73"/>
                  </a:lnTo>
                  <a:lnTo>
                    <a:pt x="253" y="57"/>
                  </a:lnTo>
                  <a:lnTo>
                    <a:pt x="224" y="41"/>
                  </a:lnTo>
                  <a:lnTo>
                    <a:pt x="193" y="27"/>
                  </a:lnTo>
                  <a:lnTo>
                    <a:pt x="179" y="20"/>
                  </a:lnTo>
                  <a:lnTo>
                    <a:pt x="165" y="16"/>
                  </a:lnTo>
                  <a:lnTo>
                    <a:pt x="152" y="13"/>
                  </a:lnTo>
                  <a:lnTo>
                    <a:pt x="139" y="12"/>
                  </a:lnTo>
                  <a:lnTo>
                    <a:pt x="132" y="13"/>
                  </a:lnTo>
                  <a:lnTo>
                    <a:pt x="127" y="16"/>
                  </a:lnTo>
                  <a:lnTo>
                    <a:pt x="121" y="20"/>
                  </a:lnTo>
                  <a:lnTo>
                    <a:pt x="117" y="27"/>
                  </a:lnTo>
                  <a:lnTo>
                    <a:pt x="113" y="33"/>
                  </a:lnTo>
                  <a:lnTo>
                    <a:pt x="111" y="40"/>
                  </a:lnTo>
                  <a:lnTo>
                    <a:pt x="109" y="47"/>
                  </a:lnTo>
                  <a:lnTo>
                    <a:pt x="109" y="55"/>
                  </a:lnTo>
                  <a:lnTo>
                    <a:pt x="92" y="53"/>
                  </a:lnTo>
                  <a:lnTo>
                    <a:pt x="77" y="51"/>
                  </a:lnTo>
                  <a:lnTo>
                    <a:pt x="64" y="47"/>
                  </a:lnTo>
                  <a:lnTo>
                    <a:pt x="55" y="43"/>
                  </a:lnTo>
                  <a:lnTo>
                    <a:pt x="45" y="52"/>
                  </a:lnTo>
                  <a:lnTo>
                    <a:pt x="37" y="65"/>
                  </a:lnTo>
                  <a:lnTo>
                    <a:pt x="35" y="73"/>
                  </a:lnTo>
                  <a:lnTo>
                    <a:pt x="32" y="83"/>
                  </a:lnTo>
                  <a:lnTo>
                    <a:pt x="31" y="92"/>
                  </a:lnTo>
                  <a:lnTo>
                    <a:pt x="31" y="103"/>
                  </a:lnTo>
                  <a:lnTo>
                    <a:pt x="31" y="113"/>
                  </a:lnTo>
                  <a:lnTo>
                    <a:pt x="32" y="123"/>
                  </a:lnTo>
                  <a:lnTo>
                    <a:pt x="35" y="131"/>
                  </a:lnTo>
                  <a:lnTo>
                    <a:pt x="36" y="137"/>
                  </a:lnTo>
                  <a:lnTo>
                    <a:pt x="40" y="152"/>
                  </a:lnTo>
                  <a:lnTo>
                    <a:pt x="43" y="169"/>
                  </a:lnTo>
                  <a:lnTo>
                    <a:pt x="41" y="177"/>
                  </a:lnTo>
                  <a:lnTo>
                    <a:pt x="40" y="184"/>
                  </a:lnTo>
                  <a:lnTo>
                    <a:pt x="39" y="191"/>
                  </a:lnTo>
                  <a:lnTo>
                    <a:pt x="36" y="195"/>
                  </a:lnTo>
                  <a:lnTo>
                    <a:pt x="29" y="203"/>
                  </a:lnTo>
                  <a:lnTo>
                    <a:pt x="21" y="209"/>
                  </a:lnTo>
                  <a:lnTo>
                    <a:pt x="13" y="215"/>
                  </a:lnTo>
                  <a:lnTo>
                    <a:pt x="7" y="221"/>
                  </a:lnTo>
                  <a:lnTo>
                    <a:pt x="4" y="225"/>
                  </a:lnTo>
                  <a:lnTo>
                    <a:pt x="3" y="229"/>
                  </a:lnTo>
                  <a:lnTo>
                    <a:pt x="1" y="235"/>
                  </a:lnTo>
                  <a:lnTo>
                    <a:pt x="0" y="241"/>
                  </a:lnTo>
                  <a:lnTo>
                    <a:pt x="1" y="252"/>
                  </a:lnTo>
                  <a:lnTo>
                    <a:pt x="4" y="263"/>
                  </a:lnTo>
                  <a:lnTo>
                    <a:pt x="7" y="272"/>
                  </a:lnTo>
                  <a:lnTo>
                    <a:pt x="12" y="281"/>
                  </a:lnTo>
                  <a:lnTo>
                    <a:pt x="17" y="291"/>
                  </a:lnTo>
                  <a:lnTo>
                    <a:pt x="24" y="300"/>
                  </a:lnTo>
                  <a:lnTo>
                    <a:pt x="32" y="308"/>
                  </a:lnTo>
                  <a:lnTo>
                    <a:pt x="40" y="316"/>
                  </a:lnTo>
                  <a:lnTo>
                    <a:pt x="72" y="344"/>
                  </a:lnTo>
                  <a:lnTo>
                    <a:pt x="96" y="368"/>
                  </a:lnTo>
                  <a:lnTo>
                    <a:pt x="104" y="380"/>
                  </a:lnTo>
                  <a:lnTo>
                    <a:pt x="111" y="392"/>
                  </a:lnTo>
                  <a:lnTo>
                    <a:pt x="117" y="405"/>
                  </a:lnTo>
                  <a:lnTo>
                    <a:pt x="124" y="420"/>
                  </a:lnTo>
                  <a:lnTo>
                    <a:pt x="135" y="450"/>
                  </a:lnTo>
                  <a:lnTo>
                    <a:pt x="145" y="481"/>
                  </a:lnTo>
                  <a:lnTo>
                    <a:pt x="155" y="513"/>
                  </a:lnTo>
                  <a:lnTo>
                    <a:pt x="167" y="544"/>
                  </a:lnTo>
                  <a:lnTo>
                    <a:pt x="172" y="558"/>
                  </a:lnTo>
                  <a:lnTo>
                    <a:pt x="179" y="572"/>
                  </a:lnTo>
                  <a:lnTo>
                    <a:pt x="185" y="584"/>
                  </a:lnTo>
                  <a:lnTo>
                    <a:pt x="193" y="596"/>
                  </a:lnTo>
                  <a:lnTo>
                    <a:pt x="187" y="60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7" name="Freeform 73"/>
            <p:cNvSpPr>
              <a:spLocks/>
            </p:cNvSpPr>
            <p:nvPr/>
          </p:nvSpPr>
          <p:spPr bwMode="auto">
            <a:xfrm>
              <a:off x="1568772" y="4583113"/>
              <a:ext cx="312738" cy="266700"/>
            </a:xfrm>
            <a:custGeom>
              <a:avLst/>
              <a:gdLst/>
              <a:ahLst/>
              <a:cxnLst>
                <a:cxn ang="0">
                  <a:pos x="143" y="533"/>
                </a:cxn>
                <a:cxn ang="0">
                  <a:pos x="46" y="503"/>
                </a:cxn>
                <a:cxn ang="0">
                  <a:pos x="5" y="476"/>
                </a:cxn>
                <a:cxn ang="0">
                  <a:pos x="1" y="455"/>
                </a:cxn>
                <a:cxn ang="0">
                  <a:pos x="34" y="412"/>
                </a:cxn>
                <a:cxn ang="0">
                  <a:pos x="84" y="372"/>
                </a:cxn>
                <a:cxn ang="0">
                  <a:pos x="108" y="332"/>
                </a:cxn>
                <a:cxn ang="0">
                  <a:pos x="105" y="307"/>
                </a:cxn>
                <a:cxn ang="0">
                  <a:pos x="88" y="288"/>
                </a:cxn>
                <a:cxn ang="0">
                  <a:pos x="78" y="271"/>
                </a:cxn>
                <a:cxn ang="0">
                  <a:pos x="88" y="233"/>
                </a:cxn>
                <a:cxn ang="0">
                  <a:pos x="106" y="192"/>
                </a:cxn>
                <a:cxn ang="0">
                  <a:pos x="105" y="140"/>
                </a:cxn>
                <a:cxn ang="0">
                  <a:pos x="86" y="112"/>
                </a:cxn>
                <a:cxn ang="0">
                  <a:pos x="108" y="74"/>
                </a:cxn>
                <a:cxn ang="0">
                  <a:pos x="151" y="88"/>
                </a:cxn>
                <a:cxn ang="0">
                  <a:pos x="198" y="103"/>
                </a:cxn>
                <a:cxn ang="0">
                  <a:pos x="222" y="93"/>
                </a:cxn>
                <a:cxn ang="0">
                  <a:pos x="235" y="68"/>
                </a:cxn>
                <a:cxn ang="0">
                  <a:pos x="241" y="0"/>
                </a:cxn>
                <a:cxn ang="0">
                  <a:pos x="262" y="36"/>
                </a:cxn>
                <a:cxn ang="0">
                  <a:pos x="329" y="107"/>
                </a:cxn>
                <a:cxn ang="0">
                  <a:pos x="373" y="123"/>
                </a:cxn>
                <a:cxn ang="0">
                  <a:pos x="422" y="123"/>
                </a:cxn>
                <a:cxn ang="0">
                  <a:pos x="453" y="136"/>
                </a:cxn>
                <a:cxn ang="0">
                  <a:pos x="466" y="171"/>
                </a:cxn>
                <a:cxn ang="0">
                  <a:pos x="479" y="193"/>
                </a:cxn>
                <a:cxn ang="0">
                  <a:pos x="506" y="205"/>
                </a:cxn>
                <a:cxn ang="0">
                  <a:pos x="578" y="200"/>
                </a:cxn>
                <a:cxn ang="0">
                  <a:pos x="595" y="204"/>
                </a:cxn>
                <a:cxn ang="0">
                  <a:pos x="601" y="219"/>
                </a:cxn>
                <a:cxn ang="0">
                  <a:pos x="605" y="280"/>
                </a:cxn>
                <a:cxn ang="0">
                  <a:pos x="627" y="332"/>
                </a:cxn>
                <a:cxn ang="0">
                  <a:pos x="641" y="376"/>
                </a:cxn>
                <a:cxn ang="0">
                  <a:pos x="625" y="412"/>
                </a:cxn>
                <a:cxn ang="0">
                  <a:pos x="601" y="440"/>
                </a:cxn>
                <a:cxn ang="0">
                  <a:pos x="567" y="456"/>
                </a:cxn>
                <a:cxn ang="0">
                  <a:pos x="529" y="455"/>
                </a:cxn>
                <a:cxn ang="0">
                  <a:pos x="451" y="413"/>
                </a:cxn>
                <a:cxn ang="0">
                  <a:pos x="363" y="372"/>
                </a:cxn>
                <a:cxn ang="0">
                  <a:pos x="325" y="372"/>
                </a:cxn>
                <a:cxn ang="0">
                  <a:pos x="309" y="396"/>
                </a:cxn>
                <a:cxn ang="0">
                  <a:pos x="275" y="407"/>
                </a:cxn>
                <a:cxn ang="0">
                  <a:pos x="235" y="421"/>
                </a:cxn>
                <a:cxn ang="0">
                  <a:pos x="229" y="459"/>
                </a:cxn>
                <a:cxn ang="0">
                  <a:pos x="234" y="493"/>
                </a:cxn>
                <a:cxn ang="0">
                  <a:pos x="245" y="541"/>
                </a:cxn>
                <a:cxn ang="0">
                  <a:pos x="241" y="549"/>
                </a:cxn>
              </a:cxnLst>
              <a:rect l="0" t="0" r="r" b="b"/>
              <a:pathLst>
                <a:path w="645" h="549">
                  <a:moveTo>
                    <a:pt x="241" y="549"/>
                  </a:moveTo>
                  <a:lnTo>
                    <a:pt x="217" y="547"/>
                  </a:lnTo>
                  <a:lnTo>
                    <a:pt x="182" y="541"/>
                  </a:lnTo>
                  <a:lnTo>
                    <a:pt x="143" y="533"/>
                  </a:lnTo>
                  <a:lnTo>
                    <a:pt x="102" y="523"/>
                  </a:lnTo>
                  <a:lnTo>
                    <a:pt x="82" y="516"/>
                  </a:lnTo>
                  <a:lnTo>
                    <a:pt x="64" y="509"/>
                  </a:lnTo>
                  <a:lnTo>
                    <a:pt x="46" y="503"/>
                  </a:lnTo>
                  <a:lnTo>
                    <a:pt x="30" y="496"/>
                  </a:lnTo>
                  <a:lnTo>
                    <a:pt x="18" y="488"/>
                  </a:lnTo>
                  <a:lnTo>
                    <a:pt x="8" y="480"/>
                  </a:lnTo>
                  <a:lnTo>
                    <a:pt x="5" y="476"/>
                  </a:lnTo>
                  <a:lnTo>
                    <a:pt x="2" y="472"/>
                  </a:lnTo>
                  <a:lnTo>
                    <a:pt x="1" y="468"/>
                  </a:lnTo>
                  <a:lnTo>
                    <a:pt x="0" y="464"/>
                  </a:lnTo>
                  <a:lnTo>
                    <a:pt x="1" y="455"/>
                  </a:lnTo>
                  <a:lnTo>
                    <a:pt x="5" y="445"/>
                  </a:lnTo>
                  <a:lnTo>
                    <a:pt x="10" y="437"/>
                  </a:lnTo>
                  <a:lnTo>
                    <a:pt x="17" y="428"/>
                  </a:lnTo>
                  <a:lnTo>
                    <a:pt x="34" y="412"/>
                  </a:lnTo>
                  <a:lnTo>
                    <a:pt x="54" y="397"/>
                  </a:lnTo>
                  <a:lnTo>
                    <a:pt x="64" y="389"/>
                  </a:lnTo>
                  <a:lnTo>
                    <a:pt x="74" y="380"/>
                  </a:lnTo>
                  <a:lnTo>
                    <a:pt x="84" y="372"/>
                  </a:lnTo>
                  <a:lnTo>
                    <a:pt x="92" y="363"/>
                  </a:lnTo>
                  <a:lnTo>
                    <a:pt x="98" y="353"/>
                  </a:lnTo>
                  <a:lnTo>
                    <a:pt x="104" y="343"/>
                  </a:lnTo>
                  <a:lnTo>
                    <a:pt x="108" y="332"/>
                  </a:lnTo>
                  <a:lnTo>
                    <a:pt x="108" y="320"/>
                  </a:lnTo>
                  <a:lnTo>
                    <a:pt x="108" y="315"/>
                  </a:lnTo>
                  <a:lnTo>
                    <a:pt x="106" y="311"/>
                  </a:lnTo>
                  <a:lnTo>
                    <a:pt x="105" y="307"/>
                  </a:lnTo>
                  <a:lnTo>
                    <a:pt x="104" y="303"/>
                  </a:lnTo>
                  <a:lnTo>
                    <a:pt x="98" y="297"/>
                  </a:lnTo>
                  <a:lnTo>
                    <a:pt x="93" y="293"/>
                  </a:lnTo>
                  <a:lnTo>
                    <a:pt x="88" y="288"/>
                  </a:lnTo>
                  <a:lnTo>
                    <a:pt x="82" y="283"/>
                  </a:lnTo>
                  <a:lnTo>
                    <a:pt x="81" y="279"/>
                  </a:lnTo>
                  <a:lnTo>
                    <a:pt x="80" y="276"/>
                  </a:lnTo>
                  <a:lnTo>
                    <a:pt x="78" y="271"/>
                  </a:lnTo>
                  <a:lnTo>
                    <a:pt x="78" y="265"/>
                  </a:lnTo>
                  <a:lnTo>
                    <a:pt x="80" y="253"/>
                  </a:lnTo>
                  <a:lnTo>
                    <a:pt x="82" y="243"/>
                  </a:lnTo>
                  <a:lnTo>
                    <a:pt x="88" y="233"/>
                  </a:lnTo>
                  <a:lnTo>
                    <a:pt x="93" y="225"/>
                  </a:lnTo>
                  <a:lnTo>
                    <a:pt x="98" y="216"/>
                  </a:lnTo>
                  <a:lnTo>
                    <a:pt x="104" y="205"/>
                  </a:lnTo>
                  <a:lnTo>
                    <a:pt x="106" y="192"/>
                  </a:lnTo>
                  <a:lnTo>
                    <a:pt x="108" y="175"/>
                  </a:lnTo>
                  <a:lnTo>
                    <a:pt x="108" y="163"/>
                  </a:lnTo>
                  <a:lnTo>
                    <a:pt x="106" y="151"/>
                  </a:lnTo>
                  <a:lnTo>
                    <a:pt x="105" y="140"/>
                  </a:lnTo>
                  <a:lnTo>
                    <a:pt x="102" y="131"/>
                  </a:lnTo>
                  <a:lnTo>
                    <a:pt x="98" y="123"/>
                  </a:lnTo>
                  <a:lnTo>
                    <a:pt x="93" y="117"/>
                  </a:lnTo>
                  <a:lnTo>
                    <a:pt x="86" y="112"/>
                  </a:lnTo>
                  <a:lnTo>
                    <a:pt x="78" y="109"/>
                  </a:lnTo>
                  <a:lnTo>
                    <a:pt x="78" y="74"/>
                  </a:lnTo>
                  <a:lnTo>
                    <a:pt x="90" y="74"/>
                  </a:lnTo>
                  <a:lnTo>
                    <a:pt x="108" y="74"/>
                  </a:lnTo>
                  <a:lnTo>
                    <a:pt x="121" y="75"/>
                  </a:lnTo>
                  <a:lnTo>
                    <a:pt x="131" y="77"/>
                  </a:lnTo>
                  <a:lnTo>
                    <a:pt x="141" y="83"/>
                  </a:lnTo>
                  <a:lnTo>
                    <a:pt x="151" y="88"/>
                  </a:lnTo>
                  <a:lnTo>
                    <a:pt x="161" y="93"/>
                  </a:lnTo>
                  <a:lnTo>
                    <a:pt x="171" y="99"/>
                  </a:lnTo>
                  <a:lnTo>
                    <a:pt x="183" y="101"/>
                  </a:lnTo>
                  <a:lnTo>
                    <a:pt x="198" y="103"/>
                  </a:lnTo>
                  <a:lnTo>
                    <a:pt x="206" y="103"/>
                  </a:lnTo>
                  <a:lnTo>
                    <a:pt x="213" y="100"/>
                  </a:lnTo>
                  <a:lnTo>
                    <a:pt x="218" y="97"/>
                  </a:lnTo>
                  <a:lnTo>
                    <a:pt x="222" y="93"/>
                  </a:lnTo>
                  <a:lnTo>
                    <a:pt x="227" y="88"/>
                  </a:lnTo>
                  <a:lnTo>
                    <a:pt x="230" y="81"/>
                  </a:lnTo>
                  <a:lnTo>
                    <a:pt x="233" y="75"/>
                  </a:lnTo>
                  <a:lnTo>
                    <a:pt x="235" y="68"/>
                  </a:lnTo>
                  <a:lnTo>
                    <a:pt x="238" y="52"/>
                  </a:lnTo>
                  <a:lnTo>
                    <a:pt x="239" y="35"/>
                  </a:lnTo>
                  <a:lnTo>
                    <a:pt x="241" y="18"/>
                  </a:lnTo>
                  <a:lnTo>
                    <a:pt x="241" y="0"/>
                  </a:lnTo>
                  <a:lnTo>
                    <a:pt x="242" y="7"/>
                  </a:lnTo>
                  <a:lnTo>
                    <a:pt x="246" y="15"/>
                  </a:lnTo>
                  <a:lnTo>
                    <a:pt x="254" y="24"/>
                  </a:lnTo>
                  <a:lnTo>
                    <a:pt x="262" y="36"/>
                  </a:lnTo>
                  <a:lnTo>
                    <a:pt x="283" y="62"/>
                  </a:lnTo>
                  <a:lnTo>
                    <a:pt x="307" y="85"/>
                  </a:lnTo>
                  <a:lnTo>
                    <a:pt x="319" y="97"/>
                  </a:lnTo>
                  <a:lnTo>
                    <a:pt x="329" y="107"/>
                  </a:lnTo>
                  <a:lnTo>
                    <a:pt x="337" y="113"/>
                  </a:lnTo>
                  <a:lnTo>
                    <a:pt x="343" y="115"/>
                  </a:lnTo>
                  <a:lnTo>
                    <a:pt x="358" y="120"/>
                  </a:lnTo>
                  <a:lnTo>
                    <a:pt x="373" y="123"/>
                  </a:lnTo>
                  <a:lnTo>
                    <a:pt x="386" y="124"/>
                  </a:lnTo>
                  <a:lnTo>
                    <a:pt x="398" y="124"/>
                  </a:lnTo>
                  <a:lnTo>
                    <a:pt x="411" y="123"/>
                  </a:lnTo>
                  <a:lnTo>
                    <a:pt x="422" y="123"/>
                  </a:lnTo>
                  <a:lnTo>
                    <a:pt x="434" y="124"/>
                  </a:lnTo>
                  <a:lnTo>
                    <a:pt x="445" y="127"/>
                  </a:lnTo>
                  <a:lnTo>
                    <a:pt x="450" y="131"/>
                  </a:lnTo>
                  <a:lnTo>
                    <a:pt x="453" y="136"/>
                  </a:lnTo>
                  <a:lnTo>
                    <a:pt x="455" y="140"/>
                  </a:lnTo>
                  <a:lnTo>
                    <a:pt x="458" y="147"/>
                  </a:lnTo>
                  <a:lnTo>
                    <a:pt x="462" y="159"/>
                  </a:lnTo>
                  <a:lnTo>
                    <a:pt x="466" y="171"/>
                  </a:lnTo>
                  <a:lnTo>
                    <a:pt x="469" y="177"/>
                  </a:lnTo>
                  <a:lnTo>
                    <a:pt x="471" y="183"/>
                  </a:lnTo>
                  <a:lnTo>
                    <a:pt x="475" y="188"/>
                  </a:lnTo>
                  <a:lnTo>
                    <a:pt x="479" y="193"/>
                  </a:lnTo>
                  <a:lnTo>
                    <a:pt x="485" y="197"/>
                  </a:lnTo>
                  <a:lnTo>
                    <a:pt x="490" y="201"/>
                  </a:lnTo>
                  <a:lnTo>
                    <a:pt x="497" y="204"/>
                  </a:lnTo>
                  <a:lnTo>
                    <a:pt x="506" y="205"/>
                  </a:lnTo>
                  <a:lnTo>
                    <a:pt x="525" y="204"/>
                  </a:lnTo>
                  <a:lnTo>
                    <a:pt x="546" y="203"/>
                  </a:lnTo>
                  <a:lnTo>
                    <a:pt x="565" y="200"/>
                  </a:lnTo>
                  <a:lnTo>
                    <a:pt x="578" y="200"/>
                  </a:lnTo>
                  <a:lnTo>
                    <a:pt x="583" y="200"/>
                  </a:lnTo>
                  <a:lnTo>
                    <a:pt x="589" y="201"/>
                  </a:lnTo>
                  <a:lnTo>
                    <a:pt x="593" y="203"/>
                  </a:lnTo>
                  <a:lnTo>
                    <a:pt x="595" y="204"/>
                  </a:lnTo>
                  <a:lnTo>
                    <a:pt x="598" y="207"/>
                  </a:lnTo>
                  <a:lnTo>
                    <a:pt x="599" y="211"/>
                  </a:lnTo>
                  <a:lnTo>
                    <a:pt x="601" y="215"/>
                  </a:lnTo>
                  <a:lnTo>
                    <a:pt x="601" y="219"/>
                  </a:lnTo>
                  <a:lnTo>
                    <a:pt x="601" y="237"/>
                  </a:lnTo>
                  <a:lnTo>
                    <a:pt x="602" y="260"/>
                  </a:lnTo>
                  <a:lnTo>
                    <a:pt x="603" y="269"/>
                  </a:lnTo>
                  <a:lnTo>
                    <a:pt x="605" y="280"/>
                  </a:lnTo>
                  <a:lnTo>
                    <a:pt x="609" y="293"/>
                  </a:lnTo>
                  <a:lnTo>
                    <a:pt x="614" y="305"/>
                  </a:lnTo>
                  <a:lnTo>
                    <a:pt x="621" y="319"/>
                  </a:lnTo>
                  <a:lnTo>
                    <a:pt x="627" y="332"/>
                  </a:lnTo>
                  <a:lnTo>
                    <a:pt x="635" y="344"/>
                  </a:lnTo>
                  <a:lnTo>
                    <a:pt x="645" y="356"/>
                  </a:lnTo>
                  <a:lnTo>
                    <a:pt x="642" y="367"/>
                  </a:lnTo>
                  <a:lnTo>
                    <a:pt x="641" y="376"/>
                  </a:lnTo>
                  <a:lnTo>
                    <a:pt x="638" y="385"/>
                  </a:lnTo>
                  <a:lnTo>
                    <a:pt x="634" y="395"/>
                  </a:lnTo>
                  <a:lnTo>
                    <a:pt x="630" y="404"/>
                  </a:lnTo>
                  <a:lnTo>
                    <a:pt x="625" y="412"/>
                  </a:lnTo>
                  <a:lnTo>
                    <a:pt x="619" y="420"/>
                  </a:lnTo>
                  <a:lnTo>
                    <a:pt x="614" y="428"/>
                  </a:lnTo>
                  <a:lnTo>
                    <a:pt x="607" y="435"/>
                  </a:lnTo>
                  <a:lnTo>
                    <a:pt x="601" y="440"/>
                  </a:lnTo>
                  <a:lnTo>
                    <a:pt x="593" y="445"/>
                  </a:lnTo>
                  <a:lnTo>
                    <a:pt x="585" y="451"/>
                  </a:lnTo>
                  <a:lnTo>
                    <a:pt x="577" y="453"/>
                  </a:lnTo>
                  <a:lnTo>
                    <a:pt x="567" y="456"/>
                  </a:lnTo>
                  <a:lnTo>
                    <a:pt x="558" y="457"/>
                  </a:lnTo>
                  <a:lnTo>
                    <a:pt x="547" y="459"/>
                  </a:lnTo>
                  <a:lnTo>
                    <a:pt x="539" y="457"/>
                  </a:lnTo>
                  <a:lnTo>
                    <a:pt x="529" y="455"/>
                  </a:lnTo>
                  <a:lnTo>
                    <a:pt x="518" y="451"/>
                  </a:lnTo>
                  <a:lnTo>
                    <a:pt x="506" y="444"/>
                  </a:lnTo>
                  <a:lnTo>
                    <a:pt x="479" y="429"/>
                  </a:lnTo>
                  <a:lnTo>
                    <a:pt x="451" y="413"/>
                  </a:lnTo>
                  <a:lnTo>
                    <a:pt x="422" y="397"/>
                  </a:lnTo>
                  <a:lnTo>
                    <a:pt x="391" y="383"/>
                  </a:lnTo>
                  <a:lnTo>
                    <a:pt x="377" y="376"/>
                  </a:lnTo>
                  <a:lnTo>
                    <a:pt x="363" y="372"/>
                  </a:lnTo>
                  <a:lnTo>
                    <a:pt x="350" y="369"/>
                  </a:lnTo>
                  <a:lnTo>
                    <a:pt x="337" y="368"/>
                  </a:lnTo>
                  <a:lnTo>
                    <a:pt x="330" y="369"/>
                  </a:lnTo>
                  <a:lnTo>
                    <a:pt x="325" y="372"/>
                  </a:lnTo>
                  <a:lnTo>
                    <a:pt x="319" y="376"/>
                  </a:lnTo>
                  <a:lnTo>
                    <a:pt x="315" y="383"/>
                  </a:lnTo>
                  <a:lnTo>
                    <a:pt x="311" y="389"/>
                  </a:lnTo>
                  <a:lnTo>
                    <a:pt x="309" y="396"/>
                  </a:lnTo>
                  <a:lnTo>
                    <a:pt x="307" y="403"/>
                  </a:lnTo>
                  <a:lnTo>
                    <a:pt x="307" y="411"/>
                  </a:lnTo>
                  <a:lnTo>
                    <a:pt x="290" y="409"/>
                  </a:lnTo>
                  <a:lnTo>
                    <a:pt x="275" y="407"/>
                  </a:lnTo>
                  <a:lnTo>
                    <a:pt x="262" y="403"/>
                  </a:lnTo>
                  <a:lnTo>
                    <a:pt x="253" y="399"/>
                  </a:lnTo>
                  <a:lnTo>
                    <a:pt x="243" y="408"/>
                  </a:lnTo>
                  <a:lnTo>
                    <a:pt x="235" y="421"/>
                  </a:lnTo>
                  <a:lnTo>
                    <a:pt x="233" y="429"/>
                  </a:lnTo>
                  <a:lnTo>
                    <a:pt x="230" y="439"/>
                  </a:lnTo>
                  <a:lnTo>
                    <a:pt x="229" y="448"/>
                  </a:lnTo>
                  <a:lnTo>
                    <a:pt x="229" y="459"/>
                  </a:lnTo>
                  <a:lnTo>
                    <a:pt x="229" y="469"/>
                  </a:lnTo>
                  <a:lnTo>
                    <a:pt x="230" y="479"/>
                  </a:lnTo>
                  <a:lnTo>
                    <a:pt x="233" y="487"/>
                  </a:lnTo>
                  <a:lnTo>
                    <a:pt x="234" y="493"/>
                  </a:lnTo>
                  <a:lnTo>
                    <a:pt x="238" y="508"/>
                  </a:lnTo>
                  <a:lnTo>
                    <a:pt x="241" y="525"/>
                  </a:lnTo>
                  <a:lnTo>
                    <a:pt x="242" y="535"/>
                  </a:lnTo>
                  <a:lnTo>
                    <a:pt x="245" y="541"/>
                  </a:lnTo>
                  <a:lnTo>
                    <a:pt x="246" y="543"/>
                  </a:lnTo>
                  <a:lnTo>
                    <a:pt x="246" y="545"/>
                  </a:lnTo>
                  <a:lnTo>
                    <a:pt x="243" y="547"/>
                  </a:lnTo>
                  <a:lnTo>
                    <a:pt x="241" y="54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8" name="Freeform 74"/>
            <p:cNvSpPr>
              <a:spLocks/>
            </p:cNvSpPr>
            <p:nvPr/>
          </p:nvSpPr>
          <p:spPr bwMode="auto">
            <a:xfrm>
              <a:off x="1054422" y="4167188"/>
              <a:ext cx="201613" cy="219075"/>
            </a:xfrm>
            <a:custGeom>
              <a:avLst/>
              <a:gdLst/>
              <a:ahLst/>
              <a:cxnLst>
                <a:cxn ang="0">
                  <a:pos x="9" y="118"/>
                </a:cxn>
                <a:cxn ang="0">
                  <a:pos x="13" y="168"/>
                </a:cxn>
                <a:cxn ang="0">
                  <a:pos x="24" y="218"/>
                </a:cxn>
                <a:cxn ang="0">
                  <a:pos x="37" y="236"/>
                </a:cxn>
                <a:cxn ang="0">
                  <a:pos x="67" y="262"/>
                </a:cxn>
                <a:cxn ang="0">
                  <a:pos x="91" y="294"/>
                </a:cxn>
                <a:cxn ang="0">
                  <a:pos x="96" y="320"/>
                </a:cxn>
                <a:cxn ang="0">
                  <a:pos x="96" y="334"/>
                </a:cxn>
                <a:cxn ang="0">
                  <a:pos x="101" y="373"/>
                </a:cxn>
                <a:cxn ang="0">
                  <a:pos x="125" y="420"/>
                </a:cxn>
                <a:cxn ang="0">
                  <a:pos x="149" y="444"/>
                </a:cxn>
                <a:cxn ang="0">
                  <a:pos x="205" y="452"/>
                </a:cxn>
                <a:cxn ang="0">
                  <a:pos x="211" y="423"/>
                </a:cxn>
                <a:cxn ang="0">
                  <a:pos x="224" y="404"/>
                </a:cxn>
                <a:cxn ang="0">
                  <a:pos x="253" y="393"/>
                </a:cxn>
                <a:cxn ang="0">
                  <a:pos x="307" y="392"/>
                </a:cxn>
                <a:cxn ang="0">
                  <a:pos x="328" y="322"/>
                </a:cxn>
                <a:cxn ang="0">
                  <a:pos x="349" y="278"/>
                </a:cxn>
                <a:cxn ang="0">
                  <a:pos x="385" y="236"/>
                </a:cxn>
                <a:cxn ang="0">
                  <a:pos x="387" y="210"/>
                </a:cxn>
                <a:cxn ang="0">
                  <a:pos x="400" y="187"/>
                </a:cxn>
                <a:cxn ang="0">
                  <a:pos x="415" y="166"/>
                </a:cxn>
                <a:cxn ang="0">
                  <a:pos x="412" y="130"/>
                </a:cxn>
                <a:cxn ang="0">
                  <a:pos x="397" y="100"/>
                </a:cxn>
                <a:cxn ang="0">
                  <a:pos x="376" y="79"/>
                </a:cxn>
                <a:cxn ang="0">
                  <a:pos x="356" y="58"/>
                </a:cxn>
                <a:cxn ang="0">
                  <a:pos x="340" y="28"/>
                </a:cxn>
                <a:cxn ang="0">
                  <a:pos x="331" y="0"/>
                </a:cxn>
                <a:cxn ang="0">
                  <a:pos x="300" y="23"/>
                </a:cxn>
                <a:cxn ang="0">
                  <a:pos x="277" y="31"/>
                </a:cxn>
                <a:cxn ang="0">
                  <a:pos x="237" y="14"/>
                </a:cxn>
                <a:cxn ang="0">
                  <a:pos x="228" y="19"/>
                </a:cxn>
                <a:cxn ang="0">
                  <a:pos x="215" y="42"/>
                </a:cxn>
                <a:cxn ang="0">
                  <a:pos x="203" y="54"/>
                </a:cxn>
                <a:cxn ang="0">
                  <a:pos x="187" y="55"/>
                </a:cxn>
                <a:cxn ang="0">
                  <a:pos x="171" y="47"/>
                </a:cxn>
                <a:cxn ang="0">
                  <a:pos x="144" y="22"/>
                </a:cxn>
                <a:cxn ang="0">
                  <a:pos x="123" y="8"/>
                </a:cxn>
                <a:cxn ang="0">
                  <a:pos x="99" y="7"/>
                </a:cxn>
                <a:cxn ang="0">
                  <a:pos x="75" y="15"/>
                </a:cxn>
                <a:cxn ang="0">
                  <a:pos x="39" y="48"/>
                </a:cxn>
                <a:cxn ang="0">
                  <a:pos x="15" y="71"/>
                </a:cxn>
                <a:cxn ang="0">
                  <a:pos x="0" y="86"/>
                </a:cxn>
              </a:cxnLst>
              <a:rect l="0" t="0" r="r" b="b"/>
              <a:pathLst>
                <a:path w="416" h="452">
                  <a:moveTo>
                    <a:pt x="0" y="86"/>
                  </a:moveTo>
                  <a:lnTo>
                    <a:pt x="5" y="102"/>
                  </a:lnTo>
                  <a:lnTo>
                    <a:pt x="9" y="118"/>
                  </a:lnTo>
                  <a:lnTo>
                    <a:pt x="11" y="135"/>
                  </a:lnTo>
                  <a:lnTo>
                    <a:pt x="12" y="151"/>
                  </a:lnTo>
                  <a:lnTo>
                    <a:pt x="13" y="168"/>
                  </a:lnTo>
                  <a:lnTo>
                    <a:pt x="15" y="186"/>
                  </a:lnTo>
                  <a:lnTo>
                    <a:pt x="19" y="202"/>
                  </a:lnTo>
                  <a:lnTo>
                    <a:pt x="24" y="218"/>
                  </a:lnTo>
                  <a:lnTo>
                    <a:pt x="28" y="224"/>
                  </a:lnTo>
                  <a:lnTo>
                    <a:pt x="32" y="230"/>
                  </a:lnTo>
                  <a:lnTo>
                    <a:pt x="37" y="236"/>
                  </a:lnTo>
                  <a:lnTo>
                    <a:pt x="43" y="242"/>
                  </a:lnTo>
                  <a:lnTo>
                    <a:pt x="55" y="252"/>
                  </a:lnTo>
                  <a:lnTo>
                    <a:pt x="67" y="262"/>
                  </a:lnTo>
                  <a:lnTo>
                    <a:pt x="79" y="274"/>
                  </a:lnTo>
                  <a:lnTo>
                    <a:pt x="88" y="286"/>
                  </a:lnTo>
                  <a:lnTo>
                    <a:pt x="91" y="294"/>
                  </a:lnTo>
                  <a:lnTo>
                    <a:pt x="93" y="302"/>
                  </a:lnTo>
                  <a:lnTo>
                    <a:pt x="96" y="311"/>
                  </a:lnTo>
                  <a:lnTo>
                    <a:pt x="96" y="320"/>
                  </a:lnTo>
                  <a:lnTo>
                    <a:pt x="96" y="331"/>
                  </a:lnTo>
                  <a:lnTo>
                    <a:pt x="96" y="332"/>
                  </a:lnTo>
                  <a:lnTo>
                    <a:pt x="96" y="334"/>
                  </a:lnTo>
                  <a:lnTo>
                    <a:pt x="96" y="344"/>
                  </a:lnTo>
                  <a:lnTo>
                    <a:pt x="97" y="359"/>
                  </a:lnTo>
                  <a:lnTo>
                    <a:pt x="101" y="373"/>
                  </a:lnTo>
                  <a:lnTo>
                    <a:pt x="108" y="389"/>
                  </a:lnTo>
                  <a:lnTo>
                    <a:pt x="116" y="405"/>
                  </a:lnTo>
                  <a:lnTo>
                    <a:pt x="125" y="420"/>
                  </a:lnTo>
                  <a:lnTo>
                    <a:pt x="137" y="433"/>
                  </a:lnTo>
                  <a:lnTo>
                    <a:pt x="143" y="439"/>
                  </a:lnTo>
                  <a:lnTo>
                    <a:pt x="149" y="444"/>
                  </a:lnTo>
                  <a:lnTo>
                    <a:pt x="156" y="448"/>
                  </a:lnTo>
                  <a:lnTo>
                    <a:pt x="163" y="452"/>
                  </a:lnTo>
                  <a:lnTo>
                    <a:pt x="205" y="452"/>
                  </a:lnTo>
                  <a:lnTo>
                    <a:pt x="205" y="441"/>
                  </a:lnTo>
                  <a:lnTo>
                    <a:pt x="207" y="431"/>
                  </a:lnTo>
                  <a:lnTo>
                    <a:pt x="211" y="423"/>
                  </a:lnTo>
                  <a:lnTo>
                    <a:pt x="213" y="415"/>
                  </a:lnTo>
                  <a:lnTo>
                    <a:pt x="219" y="409"/>
                  </a:lnTo>
                  <a:lnTo>
                    <a:pt x="224" y="404"/>
                  </a:lnTo>
                  <a:lnTo>
                    <a:pt x="231" y="400"/>
                  </a:lnTo>
                  <a:lnTo>
                    <a:pt x="237" y="397"/>
                  </a:lnTo>
                  <a:lnTo>
                    <a:pt x="253" y="393"/>
                  </a:lnTo>
                  <a:lnTo>
                    <a:pt x="271" y="392"/>
                  </a:lnTo>
                  <a:lnTo>
                    <a:pt x="289" y="392"/>
                  </a:lnTo>
                  <a:lnTo>
                    <a:pt x="307" y="392"/>
                  </a:lnTo>
                  <a:lnTo>
                    <a:pt x="315" y="364"/>
                  </a:lnTo>
                  <a:lnTo>
                    <a:pt x="321" y="342"/>
                  </a:lnTo>
                  <a:lnTo>
                    <a:pt x="328" y="322"/>
                  </a:lnTo>
                  <a:lnTo>
                    <a:pt x="335" y="306"/>
                  </a:lnTo>
                  <a:lnTo>
                    <a:pt x="345" y="284"/>
                  </a:lnTo>
                  <a:lnTo>
                    <a:pt x="349" y="278"/>
                  </a:lnTo>
                  <a:lnTo>
                    <a:pt x="385" y="218"/>
                  </a:lnTo>
                  <a:lnTo>
                    <a:pt x="385" y="231"/>
                  </a:lnTo>
                  <a:lnTo>
                    <a:pt x="385" y="236"/>
                  </a:lnTo>
                  <a:lnTo>
                    <a:pt x="385" y="231"/>
                  </a:lnTo>
                  <a:lnTo>
                    <a:pt x="385" y="218"/>
                  </a:lnTo>
                  <a:lnTo>
                    <a:pt x="387" y="210"/>
                  </a:lnTo>
                  <a:lnTo>
                    <a:pt x="391" y="202"/>
                  </a:lnTo>
                  <a:lnTo>
                    <a:pt x="395" y="195"/>
                  </a:lnTo>
                  <a:lnTo>
                    <a:pt x="400" y="187"/>
                  </a:lnTo>
                  <a:lnTo>
                    <a:pt x="407" y="180"/>
                  </a:lnTo>
                  <a:lnTo>
                    <a:pt x="411" y="174"/>
                  </a:lnTo>
                  <a:lnTo>
                    <a:pt x="415" y="166"/>
                  </a:lnTo>
                  <a:lnTo>
                    <a:pt x="416" y="158"/>
                  </a:lnTo>
                  <a:lnTo>
                    <a:pt x="415" y="143"/>
                  </a:lnTo>
                  <a:lnTo>
                    <a:pt x="412" y="130"/>
                  </a:lnTo>
                  <a:lnTo>
                    <a:pt x="408" y="119"/>
                  </a:lnTo>
                  <a:lnTo>
                    <a:pt x="403" y="110"/>
                  </a:lnTo>
                  <a:lnTo>
                    <a:pt x="397" y="100"/>
                  </a:lnTo>
                  <a:lnTo>
                    <a:pt x="391" y="94"/>
                  </a:lnTo>
                  <a:lnTo>
                    <a:pt x="384" y="86"/>
                  </a:lnTo>
                  <a:lnTo>
                    <a:pt x="376" y="79"/>
                  </a:lnTo>
                  <a:lnTo>
                    <a:pt x="369" y="72"/>
                  </a:lnTo>
                  <a:lnTo>
                    <a:pt x="363" y="66"/>
                  </a:lnTo>
                  <a:lnTo>
                    <a:pt x="356" y="58"/>
                  </a:lnTo>
                  <a:lnTo>
                    <a:pt x="349" y="50"/>
                  </a:lnTo>
                  <a:lnTo>
                    <a:pt x="344" y="39"/>
                  </a:lnTo>
                  <a:lnTo>
                    <a:pt x="340" y="28"/>
                  </a:lnTo>
                  <a:lnTo>
                    <a:pt x="339" y="15"/>
                  </a:lnTo>
                  <a:lnTo>
                    <a:pt x="337" y="0"/>
                  </a:lnTo>
                  <a:lnTo>
                    <a:pt x="331" y="0"/>
                  </a:lnTo>
                  <a:lnTo>
                    <a:pt x="323" y="8"/>
                  </a:lnTo>
                  <a:lnTo>
                    <a:pt x="308" y="18"/>
                  </a:lnTo>
                  <a:lnTo>
                    <a:pt x="300" y="23"/>
                  </a:lnTo>
                  <a:lnTo>
                    <a:pt x="292" y="27"/>
                  </a:lnTo>
                  <a:lnTo>
                    <a:pt x="284" y="30"/>
                  </a:lnTo>
                  <a:lnTo>
                    <a:pt x="277" y="31"/>
                  </a:lnTo>
                  <a:lnTo>
                    <a:pt x="259" y="22"/>
                  </a:lnTo>
                  <a:lnTo>
                    <a:pt x="241" y="12"/>
                  </a:lnTo>
                  <a:lnTo>
                    <a:pt x="237" y="14"/>
                  </a:lnTo>
                  <a:lnTo>
                    <a:pt x="233" y="15"/>
                  </a:lnTo>
                  <a:lnTo>
                    <a:pt x="231" y="16"/>
                  </a:lnTo>
                  <a:lnTo>
                    <a:pt x="228" y="19"/>
                  </a:lnTo>
                  <a:lnTo>
                    <a:pt x="223" y="26"/>
                  </a:lnTo>
                  <a:lnTo>
                    <a:pt x="219" y="34"/>
                  </a:lnTo>
                  <a:lnTo>
                    <a:pt x="215" y="42"/>
                  </a:lnTo>
                  <a:lnTo>
                    <a:pt x="209" y="48"/>
                  </a:lnTo>
                  <a:lnTo>
                    <a:pt x="207" y="51"/>
                  </a:lnTo>
                  <a:lnTo>
                    <a:pt x="203" y="54"/>
                  </a:lnTo>
                  <a:lnTo>
                    <a:pt x="197" y="55"/>
                  </a:lnTo>
                  <a:lnTo>
                    <a:pt x="192" y="55"/>
                  </a:lnTo>
                  <a:lnTo>
                    <a:pt x="187" y="55"/>
                  </a:lnTo>
                  <a:lnTo>
                    <a:pt x="180" y="52"/>
                  </a:lnTo>
                  <a:lnTo>
                    <a:pt x="175" y="51"/>
                  </a:lnTo>
                  <a:lnTo>
                    <a:pt x="171" y="47"/>
                  </a:lnTo>
                  <a:lnTo>
                    <a:pt x="161" y="40"/>
                  </a:lnTo>
                  <a:lnTo>
                    <a:pt x="153" y="31"/>
                  </a:lnTo>
                  <a:lnTo>
                    <a:pt x="144" y="22"/>
                  </a:lnTo>
                  <a:lnTo>
                    <a:pt x="135" y="15"/>
                  </a:lnTo>
                  <a:lnTo>
                    <a:pt x="128" y="11"/>
                  </a:lnTo>
                  <a:lnTo>
                    <a:pt x="123" y="8"/>
                  </a:lnTo>
                  <a:lnTo>
                    <a:pt x="116" y="7"/>
                  </a:lnTo>
                  <a:lnTo>
                    <a:pt x="108" y="7"/>
                  </a:lnTo>
                  <a:lnTo>
                    <a:pt x="99" y="7"/>
                  </a:lnTo>
                  <a:lnTo>
                    <a:pt x="89" y="10"/>
                  </a:lnTo>
                  <a:lnTo>
                    <a:pt x="81" y="12"/>
                  </a:lnTo>
                  <a:lnTo>
                    <a:pt x="75" y="15"/>
                  </a:lnTo>
                  <a:lnTo>
                    <a:pt x="61" y="24"/>
                  </a:lnTo>
                  <a:lnTo>
                    <a:pt x="49" y="36"/>
                  </a:lnTo>
                  <a:lnTo>
                    <a:pt x="39" y="48"/>
                  </a:lnTo>
                  <a:lnTo>
                    <a:pt x="27" y="60"/>
                  </a:lnTo>
                  <a:lnTo>
                    <a:pt x="21" y="66"/>
                  </a:lnTo>
                  <a:lnTo>
                    <a:pt x="15" y="71"/>
                  </a:lnTo>
                  <a:lnTo>
                    <a:pt x="8" y="75"/>
                  </a:lnTo>
                  <a:lnTo>
                    <a:pt x="0" y="79"/>
                  </a:lnTo>
                  <a:lnTo>
                    <a:pt x="0" y="8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79" name="Freeform 75"/>
            <p:cNvSpPr>
              <a:spLocks/>
            </p:cNvSpPr>
            <p:nvPr/>
          </p:nvSpPr>
          <p:spPr bwMode="auto">
            <a:xfrm>
              <a:off x="1102047" y="5138738"/>
              <a:ext cx="220663" cy="403225"/>
            </a:xfrm>
            <a:custGeom>
              <a:avLst/>
              <a:gdLst/>
              <a:ahLst/>
              <a:cxnLst>
                <a:cxn ang="0">
                  <a:pos x="336" y="194"/>
                </a:cxn>
                <a:cxn ang="0">
                  <a:pos x="327" y="149"/>
                </a:cxn>
                <a:cxn ang="0">
                  <a:pos x="348" y="112"/>
                </a:cxn>
                <a:cxn ang="0">
                  <a:pos x="368" y="80"/>
                </a:cxn>
                <a:cxn ang="0">
                  <a:pos x="353" y="29"/>
                </a:cxn>
                <a:cxn ang="0">
                  <a:pos x="334" y="7"/>
                </a:cxn>
                <a:cxn ang="0">
                  <a:pos x="299" y="0"/>
                </a:cxn>
                <a:cxn ang="0">
                  <a:pos x="273" y="8"/>
                </a:cxn>
                <a:cxn ang="0">
                  <a:pos x="233" y="12"/>
                </a:cxn>
                <a:cxn ang="0">
                  <a:pos x="189" y="4"/>
                </a:cxn>
                <a:cxn ang="0">
                  <a:pos x="143" y="0"/>
                </a:cxn>
                <a:cxn ang="0">
                  <a:pos x="117" y="11"/>
                </a:cxn>
                <a:cxn ang="0">
                  <a:pos x="129" y="95"/>
                </a:cxn>
                <a:cxn ang="0">
                  <a:pos x="153" y="181"/>
                </a:cxn>
                <a:cxn ang="0">
                  <a:pos x="157" y="256"/>
                </a:cxn>
                <a:cxn ang="0">
                  <a:pos x="164" y="294"/>
                </a:cxn>
                <a:cxn ang="0">
                  <a:pos x="179" y="313"/>
                </a:cxn>
                <a:cxn ang="0">
                  <a:pos x="208" y="324"/>
                </a:cxn>
                <a:cxn ang="0">
                  <a:pos x="192" y="390"/>
                </a:cxn>
                <a:cxn ang="0">
                  <a:pos x="181" y="416"/>
                </a:cxn>
                <a:cxn ang="0">
                  <a:pos x="191" y="469"/>
                </a:cxn>
                <a:cxn ang="0">
                  <a:pos x="199" y="524"/>
                </a:cxn>
                <a:cxn ang="0">
                  <a:pos x="188" y="538"/>
                </a:cxn>
                <a:cxn ang="0">
                  <a:pos x="139" y="566"/>
                </a:cxn>
                <a:cxn ang="0">
                  <a:pos x="84" y="554"/>
                </a:cxn>
                <a:cxn ang="0">
                  <a:pos x="65" y="565"/>
                </a:cxn>
                <a:cxn ang="0">
                  <a:pos x="60" y="590"/>
                </a:cxn>
                <a:cxn ang="0">
                  <a:pos x="72" y="624"/>
                </a:cxn>
                <a:cxn ang="0">
                  <a:pos x="84" y="656"/>
                </a:cxn>
                <a:cxn ang="0">
                  <a:pos x="72" y="686"/>
                </a:cxn>
                <a:cxn ang="0">
                  <a:pos x="13" y="722"/>
                </a:cxn>
                <a:cxn ang="0">
                  <a:pos x="0" y="753"/>
                </a:cxn>
                <a:cxn ang="0">
                  <a:pos x="9" y="771"/>
                </a:cxn>
                <a:cxn ang="0">
                  <a:pos x="48" y="793"/>
                </a:cxn>
                <a:cxn ang="0">
                  <a:pos x="100" y="807"/>
                </a:cxn>
                <a:cxn ang="0">
                  <a:pos x="160" y="823"/>
                </a:cxn>
                <a:cxn ang="0">
                  <a:pos x="229" y="826"/>
                </a:cxn>
                <a:cxn ang="0">
                  <a:pos x="328" y="821"/>
                </a:cxn>
                <a:cxn ang="0">
                  <a:pos x="388" y="814"/>
                </a:cxn>
                <a:cxn ang="0">
                  <a:pos x="368" y="674"/>
                </a:cxn>
                <a:cxn ang="0">
                  <a:pos x="409" y="698"/>
                </a:cxn>
                <a:cxn ang="0">
                  <a:pos x="446" y="722"/>
                </a:cxn>
                <a:cxn ang="0">
                  <a:pos x="458" y="654"/>
                </a:cxn>
                <a:cxn ang="0">
                  <a:pos x="458" y="481"/>
                </a:cxn>
                <a:cxn ang="0">
                  <a:pos x="448" y="438"/>
                </a:cxn>
                <a:cxn ang="0">
                  <a:pos x="421" y="404"/>
                </a:cxn>
                <a:cxn ang="0">
                  <a:pos x="394" y="392"/>
                </a:cxn>
                <a:cxn ang="0">
                  <a:pos x="348" y="378"/>
                </a:cxn>
                <a:cxn ang="0">
                  <a:pos x="328" y="356"/>
                </a:cxn>
                <a:cxn ang="0">
                  <a:pos x="328" y="321"/>
                </a:cxn>
                <a:cxn ang="0">
                  <a:pos x="349" y="286"/>
                </a:cxn>
                <a:cxn ang="0">
                  <a:pos x="385" y="241"/>
                </a:cxn>
              </a:cxnLst>
              <a:rect l="0" t="0" r="r" b="b"/>
              <a:pathLst>
                <a:path w="458" h="830">
                  <a:moveTo>
                    <a:pt x="368" y="222"/>
                  </a:moveTo>
                  <a:lnTo>
                    <a:pt x="356" y="213"/>
                  </a:lnTo>
                  <a:lnTo>
                    <a:pt x="342" y="201"/>
                  </a:lnTo>
                  <a:lnTo>
                    <a:pt x="336" y="194"/>
                  </a:lnTo>
                  <a:lnTo>
                    <a:pt x="331" y="185"/>
                  </a:lnTo>
                  <a:lnTo>
                    <a:pt x="327" y="174"/>
                  </a:lnTo>
                  <a:lnTo>
                    <a:pt x="325" y="162"/>
                  </a:lnTo>
                  <a:lnTo>
                    <a:pt x="327" y="149"/>
                  </a:lnTo>
                  <a:lnTo>
                    <a:pt x="329" y="138"/>
                  </a:lnTo>
                  <a:lnTo>
                    <a:pt x="334" y="128"/>
                  </a:lnTo>
                  <a:lnTo>
                    <a:pt x="340" y="120"/>
                  </a:lnTo>
                  <a:lnTo>
                    <a:pt x="348" y="112"/>
                  </a:lnTo>
                  <a:lnTo>
                    <a:pt x="356" y="104"/>
                  </a:lnTo>
                  <a:lnTo>
                    <a:pt x="365" y="97"/>
                  </a:lnTo>
                  <a:lnTo>
                    <a:pt x="373" y="91"/>
                  </a:lnTo>
                  <a:lnTo>
                    <a:pt x="368" y="80"/>
                  </a:lnTo>
                  <a:lnTo>
                    <a:pt x="364" y="65"/>
                  </a:lnTo>
                  <a:lnTo>
                    <a:pt x="361" y="51"/>
                  </a:lnTo>
                  <a:lnTo>
                    <a:pt x="356" y="36"/>
                  </a:lnTo>
                  <a:lnTo>
                    <a:pt x="353" y="29"/>
                  </a:lnTo>
                  <a:lnTo>
                    <a:pt x="350" y="23"/>
                  </a:lnTo>
                  <a:lnTo>
                    <a:pt x="345" y="16"/>
                  </a:lnTo>
                  <a:lnTo>
                    <a:pt x="341" y="11"/>
                  </a:lnTo>
                  <a:lnTo>
                    <a:pt x="334" y="7"/>
                  </a:lnTo>
                  <a:lnTo>
                    <a:pt x="327" y="3"/>
                  </a:lnTo>
                  <a:lnTo>
                    <a:pt x="317" y="0"/>
                  </a:lnTo>
                  <a:lnTo>
                    <a:pt x="308" y="0"/>
                  </a:lnTo>
                  <a:lnTo>
                    <a:pt x="299" y="0"/>
                  </a:lnTo>
                  <a:lnTo>
                    <a:pt x="292" y="1"/>
                  </a:lnTo>
                  <a:lnTo>
                    <a:pt x="285" y="4"/>
                  </a:lnTo>
                  <a:lnTo>
                    <a:pt x="280" y="5"/>
                  </a:lnTo>
                  <a:lnTo>
                    <a:pt x="273" y="8"/>
                  </a:lnTo>
                  <a:lnTo>
                    <a:pt x="265" y="11"/>
                  </a:lnTo>
                  <a:lnTo>
                    <a:pt x="257" y="12"/>
                  </a:lnTo>
                  <a:lnTo>
                    <a:pt x="247" y="12"/>
                  </a:lnTo>
                  <a:lnTo>
                    <a:pt x="233" y="12"/>
                  </a:lnTo>
                  <a:lnTo>
                    <a:pt x="220" y="11"/>
                  </a:lnTo>
                  <a:lnTo>
                    <a:pt x="209" y="8"/>
                  </a:lnTo>
                  <a:lnTo>
                    <a:pt x="199" y="5"/>
                  </a:lnTo>
                  <a:lnTo>
                    <a:pt x="189" y="4"/>
                  </a:lnTo>
                  <a:lnTo>
                    <a:pt x="177" y="1"/>
                  </a:lnTo>
                  <a:lnTo>
                    <a:pt x="165" y="0"/>
                  </a:lnTo>
                  <a:lnTo>
                    <a:pt x="151" y="0"/>
                  </a:lnTo>
                  <a:lnTo>
                    <a:pt x="143" y="0"/>
                  </a:lnTo>
                  <a:lnTo>
                    <a:pt x="136" y="1"/>
                  </a:lnTo>
                  <a:lnTo>
                    <a:pt x="131" y="3"/>
                  </a:lnTo>
                  <a:lnTo>
                    <a:pt x="125" y="4"/>
                  </a:lnTo>
                  <a:lnTo>
                    <a:pt x="117" y="11"/>
                  </a:lnTo>
                  <a:lnTo>
                    <a:pt x="109" y="17"/>
                  </a:lnTo>
                  <a:lnTo>
                    <a:pt x="115" y="47"/>
                  </a:lnTo>
                  <a:lnTo>
                    <a:pt x="121" y="72"/>
                  </a:lnTo>
                  <a:lnTo>
                    <a:pt x="129" y="95"/>
                  </a:lnTo>
                  <a:lnTo>
                    <a:pt x="137" y="117"/>
                  </a:lnTo>
                  <a:lnTo>
                    <a:pt x="145" y="141"/>
                  </a:lnTo>
                  <a:lnTo>
                    <a:pt x="151" y="166"/>
                  </a:lnTo>
                  <a:lnTo>
                    <a:pt x="153" y="181"/>
                  </a:lnTo>
                  <a:lnTo>
                    <a:pt x="155" y="197"/>
                  </a:lnTo>
                  <a:lnTo>
                    <a:pt x="156" y="216"/>
                  </a:lnTo>
                  <a:lnTo>
                    <a:pt x="157" y="234"/>
                  </a:lnTo>
                  <a:lnTo>
                    <a:pt x="157" y="256"/>
                  </a:lnTo>
                  <a:lnTo>
                    <a:pt x="159" y="273"/>
                  </a:lnTo>
                  <a:lnTo>
                    <a:pt x="160" y="281"/>
                  </a:lnTo>
                  <a:lnTo>
                    <a:pt x="161" y="288"/>
                  </a:lnTo>
                  <a:lnTo>
                    <a:pt x="164" y="294"/>
                  </a:lnTo>
                  <a:lnTo>
                    <a:pt x="167" y="300"/>
                  </a:lnTo>
                  <a:lnTo>
                    <a:pt x="171" y="305"/>
                  </a:lnTo>
                  <a:lnTo>
                    <a:pt x="175" y="309"/>
                  </a:lnTo>
                  <a:lnTo>
                    <a:pt x="179" y="313"/>
                  </a:lnTo>
                  <a:lnTo>
                    <a:pt x="185" y="317"/>
                  </a:lnTo>
                  <a:lnTo>
                    <a:pt x="192" y="320"/>
                  </a:lnTo>
                  <a:lnTo>
                    <a:pt x="199" y="322"/>
                  </a:lnTo>
                  <a:lnTo>
                    <a:pt x="208" y="324"/>
                  </a:lnTo>
                  <a:lnTo>
                    <a:pt x="217" y="325"/>
                  </a:lnTo>
                  <a:lnTo>
                    <a:pt x="217" y="361"/>
                  </a:lnTo>
                  <a:lnTo>
                    <a:pt x="204" y="377"/>
                  </a:lnTo>
                  <a:lnTo>
                    <a:pt x="192" y="390"/>
                  </a:lnTo>
                  <a:lnTo>
                    <a:pt x="188" y="397"/>
                  </a:lnTo>
                  <a:lnTo>
                    <a:pt x="184" y="402"/>
                  </a:lnTo>
                  <a:lnTo>
                    <a:pt x="181" y="409"/>
                  </a:lnTo>
                  <a:lnTo>
                    <a:pt x="181" y="416"/>
                  </a:lnTo>
                  <a:lnTo>
                    <a:pt x="181" y="430"/>
                  </a:lnTo>
                  <a:lnTo>
                    <a:pt x="184" y="444"/>
                  </a:lnTo>
                  <a:lnTo>
                    <a:pt x="187" y="457"/>
                  </a:lnTo>
                  <a:lnTo>
                    <a:pt x="191" y="469"/>
                  </a:lnTo>
                  <a:lnTo>
                    <a:pt x="193" y="482"/>
                  </a:lnTo>
                  <a:lnTo>
                    <a:pt x="196" y="494"/>
                  </a:lnTo>
                  <a:lnTo>
                    <a:pt x="199" y="509"/>
                  </a:lnTo>
                  <a:lnTo>
                    <a:pt x="199" y="524"/>
                  </a:lnTo>
                  <a:lnTo>
                    <a:pt x="199" y="528"/>
                  </a:lnTo>
                  <a:lnTo>
                    <a:pt x="196" y="530"/>
                  </a:lnTo>
                  <a:lnTo>
                    <a:pt x="193" y="534"/>
                  </a:lnTo>
                  <a:lnTo>
                    <a:pt x="188" y="538"/>
                  </a:lnTo>
                  <a:lnTo>
                    <a:pt x="177" y="546"/>
                  </a:lnTo>
                  <a:lnTo>
                    <a:pt x="164" y="554"/>
                  </a:lnTo>
                  <a:lnTo>
                    <a:pt x="151" y="561"/>
                  </a:lnTo>
                  <a:lnTo>
                    <a:pt x="139" y="566"/>
                  </a:lnTo>
                  <a:lnTo>
                    <a:pt x="128" y="570"/>
                  </a:lnTo>
                  <a:lnTo>
                    <a:pt x="121" y="572"/>
                  </a:lnTo>
                  <a:lnTo>
                    <a:pt x="103" y="562"/>
                  </a:lnTo>
                  <a:lnTo>
                    <a:pt x="84" y="554"/>
                  </a:lnTo>
                  <a:lnTo>
                    <a:pt x="79" y="554"/>
                  </a:lnTo>
                  <a:lnTo>
                    <a:pt x="73" y="557"/>
                  </a:lnTo>
                  <a:lnTo>
                    <a:pt x="69" y="561"/>
                  </a:lnTo>
                  <a:lnTo>
                    <a:pt x="65" y="565"/>
                  </a:lnTo>
                  <a:lnTo>
                    <a:pt x="64" y="570"/>
                  </a:lnTo>
                  <a:lnTo>
                    <a:pt x="61" y="577"/>
                  </a:lnTo>
                  <a:lnTo>
                    <a:pt x="61" y="584"/>
                  </a:lnTo>
                  <a:lnTo>
                    <a:pt x="60" y="590"/>
                  </a:lnTo>
                  <a:lnTo>
                    <a:pt x="61" y="598"/>
                  </a:lnTo>
                  <a:lnTo>
                    <a:pt x="64" y="608"/>
                  </a:lnTo>
                  <a:lnTo>
                    <a:pt x="68" y="616"/>
                  </a:lnTo>
                  <a:lnTo>
                    <a:pt x="72" y="624"/>
                  </a:lnTo>
                  <a:lnTo>
                    <a:pt x="77" y="630"/>
                  </a:lnTo>
                  <a:lnTo>
                    <a:pt x="81" y="640"/>
                  </a:lnTo>
                  <a:lnTo>
                    <a:pt x="84" y="648"/>
                  </a:lnTo>
                  <a:lnTo>
                    <a:pt x="84" y="656"/>
                  </a:lnTo>
                  <a:lnTo>
                    <a:pt x="84" y="665"/>
                  </a:lnTo>
                  <a:lnTo>
                    <a:pt x="81" y="673"/>
                  </a:lnTo>
                  <a:lnTo>
                    <a:pt x="77" y="681"/>
                  </a:lnTo>
                  <a:lnTo>
                    <a:pt x="72" y="686"/>
                  </a:lnTo>
                  <a:lnTo>
                    <a:pt x="57" y="695"/>
                  </a:lnTo>
                  <a:lnTo>
                    <a:pt x="43" y="705"/>
                  </a:lnTo>
                  <a:lnTo>
                    <a:pt x="27" y="713"/>
                  </a:lnTo>
                  <a:lnTo>
                    <a:pt x="13" y="722"/>
                  </a:lnTo>
                  <a:lnTo>
                    <a:pt x="8" y="727"/>
                  </a:lnTo>
                  <a:lnTo>
                    <a:pt x="4" y="735"/>
                  </a:lnTo>
                  <a:lnTo>
                    <a:pt x="1" y="743"/>
                  </a:lnTo>
                  <a:lnTo>
                    <a:pt x="0" y="753"/>
                  </a:lnTo>
                  <a:lnTo>
                    <a:pt x="1" y="758"/>
                  </a:lnTo>
                  <a:lnTo>
                    <a:pt x="3" y="762"/>
                  </a:lnTo>
                  <a:lnTo>
                    <a:pt x="5" y="767"/>
                  </a:lnTo>
                  <a:lnTo>
                    <a:pt x="9" y="771"/>
                  </a:lnTo>
                  <a:lnTo>
                    <a:pt x="17" y="778"/>
                  </a:lnTo>
                  <a:lnTo>
                    <a:pt x="28" y="783"/>
                  </a:lnTo>
                  <a:lnTo>
                    <a:pt x="39" y="787"/>
                  </a:lnTo>
                  <a:lnTo>
                    <a:pt x="48" y="793"/>
                  </a:lnTo>
                  <a:lnTo>
                    <a:pt x="56" y="797"/>
                  </a:lnTo>
                  <a:lnTo>
                    <a:pt x="60" y="801"/>
                  </a:lnTo>
                  <a:lnTo>
                    <a:pt x="84" y="806"/>
                  </a:lnTo>
                  <a:lnTo>
                    <a:pt x="100" y="807"/>
                  </a:lnTo>
                  <a:lnTo>
                    <a:pt x="115" y="810"/>
                  </a:lnTo>
                  <a:lnTo>
                    <a:pt x="131" y="814"/>
                  </a:lnTo>
                  <a:lnTo>
                    <a:pt x="145" y="818"/>
                  </a:lnTo>
                  <a:lnTo>
                    <a:pt x="160" y="823"/>
                  </a:lnTo>
                  <a:lnTo>
                    <a:pt x="175" y="827"/>
                  </a:lnTo>
                  <a:lnTo>
                    <a:pt x="189" y="830"/>
                  </a:lnTo>
                  <a:lnTo>
                    <a:pt x="205" y="830"/>
                  </a:lnTo>
                  <a:lnTo>
                    <a:pt x="229" y="826"/>
                  </a:lnTo>
                  <a:lnTo>
                    <a:pt x="255" y="823"/>
                  </a:lnTo>
                  <a:lnTo>
                    <a:pt x="279" y="822"/>
                  </a:lnTo>
                  <a:lnTo>
                    <a:pt x="304" y="821"/>
                  </a:lnTo>
                  <a:lnTo>
                    <a:pt x="328" y="821"/>
                  </a:lnTo>
                  <a:lnTo>
                    <a:pt x="352" y="821"/>
                  </a:lnTo>
                  <a:lnTo>
                    <a:pt x="374" y="822"/>
                  </a:lnTo>
                  <a:lnTo>
                    <a:pt x="397" y="825"/>
                  </a:lnTo>
                  <a:lnTo>
                    <a:pt x="388" y="814"/>
                  </a:lnTo>
                  <a:lnTo>
                    <a:pt x="382" y="806"/>
                  </a:lnTo>
                  <a:lnTo>
                    <a:pt x="377" y="799"/>
                  </a:lnTo>
                  <a:lnTo>
                    <a:pt x="368" y="789"/>
                  </a:lnTo>
                  <a:lnTo>
                    <a:pt x="368" y="674"/>
                  </a:lnTo>
                  <a:lnTo>
                    <a:pt x="381" y="680"/>
                  </a:lnTo>
                  <a:lnTo>
                    <a:pt x="393" y="685"/>
                  </a:lnTo>
                  <a:lnTo>
                    <a:pt x="401" y="691"/>
                  </a:lnTo>
                  <a:lnTo>
                    <a:pt x="409" y="698"/>
                  </a:lnTo>
                  <a:lnTo>
                    <a:pt x="416" y="705"/>
                  </a:lnTo>
                  <a:lnTo>
                    <a:pt x="424" y="711"/>
                  </a:lnTo>
                  <a:lnTo>
                    <a:pt x="434" y="717"/>
                  </a:lnTo>
                  <a:lnTo>
                    <a:pt x="446" y="722"/>
                  </a:lnTo>
                  <a:lnTo>
                    <a:pt x="452" y="703"/>
                  </a:lnTo>
                  <a:lnTo>
                    <a:pt x="456" y="686"/>
                  </a:lnTo>
                  <a:lnTo>
                    <a:pt x="457" y="670"/>
                  </a:lnTo>
                  <a:lnTo>
                    <a:pt x="458" y="654"/>
                  </a:lnTo>
                  <a:lnTo>
                    <a:pt x="458" y="621"/>
                  </a:lnTo>
                  <a:lnTo>
                    <a:pt x="458" y="578"/>
                  </a:lnTo>
                  <a:lnTo>
                    <a:pt x="458" y="529"/>
                  </a:lnTo>
                  <a:lnTo>
                    <a:pt x="458" y="481"/>
                  </a:lnTo>
                  <a:lnTo>
                    <a:pt x="457" y="470"/>
                  </a:lnTo>
                  <a:lnTo>
                    <a:pt x="454" y="460"/>
                  </a:lnTo>
                  <a:lnTo>
                    <a:pt x="452" y="449"/>
                  </a:lnTo>
                  <a:lnTo>
                    <a:pt x="448" y="438"/>
                  </a:lnTo>
                  <a:lnTo>
                    <a:pt x="442" y="429"/>
                  </a:lnTo>
                  <a:lnTo>
                    <a:pt x="437" y="420"/>
                  </a:lnTo>
                  <a:lnTo>
                    <a:pt x="430" y="412"/>
                  </a:lnTo>
                  <a:lnTo>
                    <a:pt x="421" y="404"/>
                  </a:lnTo>
                  <a:lnTo>
                    <a:pt x="416" y="400"/>
                  </a:lnTo>
                  <a:lnTo>
                    <a:pt x="409" y="396"/>
                  </a:lnTo>
                  <a:lnTo>
                    <a:pt x="401" y="393"/>
                  </a:lnTo>
                  <a:lnTo>
                    <a:pt x="394" y="392"/>
                  </a:lnTo>
                  <a:lnTo>
                    <a:pt x="378" y="388"/>
                  </a:lnTo>
                  <a:lnTo>
                    <a:pt x="362" y="384"/>
                  </a:lnTo>
                  <a:lnTo>
                    <a:pt x="354" y="381"/>
                  </a:lnTo>
                  <a:lnTo>
                    <a:pt x="348" y="378"/>
                  </a:lnTo>
                  <a:lnTo>
                    <a:pt x="341" y="374"/>
                  </a:lnTo>
                  <a:lnTo>
                    <a:pt x="336" y="369"/>
                  </a:lnTo>
                  <a:lnTo>
                    <a:pt x="332" y="364"/>
                  </a:lnTo>
                  <a:lnTo>
                    <a:pt x="328" y="356"/>
                  </a:lnTo>
                  <a:lnTo>
                    <a:pt x="327" y="348"/>
                  </a:lnTo>
                  <a:lnTo>
                    <a:pt x="325" y="337"/>
                  </a:lnTo>
                  <a:lnTo>
                    <a:pt x="327" y="328"/>
                  </a:lnTo>
                  <a:lnTo>
                    <a:pt x="328" y="321"/>
                  </a:lnTo>
                  <a:lnTo>
                    <a:pt x="329" y="314"/>
                  </a:lnTo>
                  <a:lnTo>
                    <a:pt x="332" y="308"/>
                  </a:lnTo>
                  <a:lnTo>
                    <a:pt x="340" y="297"/>
                  </a:lnTo>
                  <a:lnTo>
                    <a:pt x="349" y="286"/>
                  </a:lnTo>
                  <a:lnTo>
                    <a:pt x="358" y="277"/>
                  </a:lnTo>
                  <a:lnTo>
                    <a:pt x="369" y="266"/>
                  </a:lnTo>
                  <a:lnTo>
                    <a:pt x="378" y="254"/>
                  </a:lnTo>
                  <a:lnTo>
                    <a:pt x="385" y="241"/>
                  </a:lnTo>
                  <a:lnTo>
                    <a:pt x="368" y="22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80" name="Freeform 76"/>
            <p:cNvSpPr>
              <a:spLocks/>
            </p:cNvSpPr>
            <p:nvPr/>
          </p:nvSpPr>
          <p:spPr bwMode="auto">
            <a:xfrm>
              <a:off x="646434" y="4779963"/>
              <a:ext cx="442913" cy="501650"/>
            </a:xfrm>
            <a:custGeom>
              <a:avLst/>
              <a:gdLst/>
              <a:ahLst/>
              <a:cxnLst>
                <a:cxn ang="0">
                  <a:pos x="789" y="57"/>
                </a:cxn>
                <a:cxn ang="0">
                  <a:pos x="711" y="41"/>
                </a:cxn>
                <a:cxn ang="0">
                  <a:pos x="633" y="0"/>
                </a:cxn>
                <a:cxn ang="0">
                  <a:pos x="612" y="12"/>
                </a:cxn>
                <a:cxn ang="0">
                  <a:pos x="605" y="67"/>
                </a:cxn>
                <a:cxn ang="0">
                  <a:pos x="495" y="95"/>
                </a:cxn>
                <a:cxn ang="0">
                  <a:pos x="512" y="145"/>
                </a:cxn>
                <a:cxn ang="0">
                  <a:pos x="439" y="140"/>
                </a:cxn>
                <a:cxn ang="0">
                  <a:pos x="422" y="216"/>
                </a:cxn>
                <a:cxn ang="0">
                  <a:pos x="376" y="277"/>
                </a:cxn>
                <a:cxn ang="0">
                  <a:pos x="310" y="290"/>
                </a:cxn>
                <a:cxn ang="0">
                  <a:pos x="224" y="208"/>
                </a:cxn>
                <a:cxn ang="0">
                  <a:pos x="178" y="215"/>
                </a:cxn>
                <a:cxn ang="0">
                  <a:pos x="142" y="205"/>
                </a:cxn>
                <a:cxn ang="0">
                  <a:pos x="98" y="181"/>
                </a:cxn>
                <a:cxn ang="0">
                  <a:pos x="30" y="220"/>
                </a:cxn>
                <a:cxn ang="0">
                  <a:pos x="38" y="277"/>
                </a:cxn>
                <a:cxn ang="0">
                  <a:pos x="146" y="332"/>
                </a:cxn>
                <a:cxn ang="0">
                  <a:pos x="131" y="365"/>
                </a:cxn>
                <a:cxn ang="0">
                  <a:pos x="42" y="378"/>
                </a:cxn>
                <a:cxn ang="0">
                  <a:pos x="66" y="445"/>
                </a:cxn>
                <a:cxn ang="0">
                  <a:pos x="154" y="470"/>
                </a:cxn>
                <a:cxn ang="0">
                  <a:pos x="199" y="524"/>
                </a:cxn>
                <a:cxn ang="0">
                  <a:pos x="171" y="580"/>
                </a:cxn>
                <a:cxn ang="0">
                  <a:pos x="160" y="645"/>
                </a:cxn>
                <a:cxn ang="0">
                  <a:pos x="218" y="714"/>
                </a:cxn>
                <a:cxn ang="0">
                  <a:pos x="212" y="820"/>
                </a:cxn>
                <a:cxn ang="0">
                  <a:pos x="238" y="820"/>
                </a:cxn>
                <a:cxn ang="0">
                  <a:pos x="288" y="839"/>
                </a:cxn>
                <a:cxn ang="0">
                  <a:pos x="335" y="820"/>
                </a:cxn>
                <a:cxn ang="0">
                  <a:pos x="387" y="843"/>
                </a:cxn>
                <a:cxn ang="0">
                  <a:pos x="415" y="810"/>
                </a:cxn>
                <a:cxn ang="0">
                  <a:pos x="464" y="853"/>
                </a:cxn>
                <a:cxn ang="0">
                  <a:pos x="528" y="929"/>
                </a:cxn>
                <a:cxn ang="0">
                  <a:pos x="553" y="1009"/>
                </a:cxn>
                <a:cxn ang="0">
                  <a:pos x="595" y="1021"/>
                </a:cxn>
                <a:cxn ang="0">
                  <a:pos x="641" y="1035"/>
                </a:cxn>
                <a:cxn ang="0">
                  <a:pos x="663" y="999"/>
                </a:cxn>
                <a:cxn ang="0">
                  <a:pos x="680" y="961"/>
                </a:cxn>
                <a:cxn ang="0">
                  <a:pos x="836" y="887"/>
                </a:cxn>
                <a:cxn ang="0">
                  <a:pos x="820" y="808"/>
                </a:cxn>
                <a:cxn ang="0">
                  <a:pos x="784" y="825"/>
                </a:cxn>
                <a:cxn ang="0">
                  <a:pos x="768" y="802"/>
                </a:cxn>
                <a:cxn ang="0">
                  <a:pos x="733" y="754"/>
                </a:cxn>
                <a:cxn ang="0">
                  <a:pos x="676" y="676"/>
                </a:cxn>
                <a:cxn ang="0">
                  <a:pos x="691" y="602"/>
                </a:cxn>
                <a:cxn ang="0">
                  <a:pos x="679" y="542"/>
                </a:cxn>
                <a:cxn ang="0">
                  <a:pos x="645" y="500"/>
                </a:cxn>
                <a:cxn ang="0">
                  <a:pos x="689" y="446"/>
                </a:cxn>
                <a:cxn ang="0">
                  <a:pos x="768" y="442"/>
                </a:cxn>
                <a:cxn ang="0">
                  <a:pos x="829" y="448"/>
                </a:cxn>
                <a:cxn ang="0">
                  <a:pos x="844" y="368"/>
                </a:cxn>
                <a:cxn ang="0">
                  <a:pos x="851" y="265"/>
                </a:cxn>
                <a:cxn ang="0">
                  <a:pos x="905" y="203"/>
                </a:cxn>
                <a:cxn ang="0">
                  <a:pos x="913" y="135"/>
                </a:cxn>
                <a:cxn ang="0">
                  <a:pos x="881" y="68"/>
                </a:cxn>
              </a:cxnLst>
              <a:rect l="0" t="0" r="r" b="b"/>
              <a:pathLst>
                <a:path w="916" h="1035">
                  <a:moveTo>
                    <a:pt x="849" y="43"/>
                  </a:moveTo>
                  <a:lnTo>
                    <a:pt x="839" y="43"/>
                  </a:lnTo>
                  <a:lnTo>
                    <a:pt x="829" y="45"/>
                  </a:lnTo>
                  <a:lnTo>
                    <a:pt x="820" y="48"/>
                  </a:lnTo>
                  <a:lnTo>
                    <a:pt x="811" y="52"/>
                  </a:lnTo>
                  <a:lnTo>
                    <a:pt x="800" y="55"/>
                  </a:lnTo>
                  <a:lnTo>
                    <a:pt x="789" y="57"/>
                  </a:lnTo>
                  <a:lnTo>
                    <a:pt x="779" y="60"/>
                  </a:lnTo>
                  <a:lnTo>
                    <a:pt x="765" y="60"/>
                  </a:lnTo>
                  <a:lnTo>
                    <a:pt x="753" y="60"/>
                  </a:lnTo>
                  <a:lnTo>
                    <a:pt x="743" y="57"/>
                  </a:lnTo>
                  <a:lnTo>
                    <a:pt x="733" y="55"/>
                  </a:lnTo>
                  <a:lnTo>
                    <a:pt x="725" y="51"/>
                  </a:lnTo>
                  <a:lnTo>
                    <a:pt x="711" y="41"/>
                  </a:lnTo>
                  <a:lnTo>
                    <a:pt x="697" y="31"/>
                  </a:lnTo>
                  <a:lnTo>
                    <a:pt x="684" y="19"/>
                  </a:lnTo>
                  <a:lnTo>
                    <a:pt x="669" y="9"/>
                  </a:lnTo>
                  <a:lnTo>
                    <a:pt x="661" y="5"/>
                  </a:lnTo>
                  <a:lnTo>
                    <a:pt x="653" y="3"/>
                  </a:lnTo>
                  <a:lnTo>
                    <a:pt x="644" y="1"/>
                  </a:lnTo>
                  <a:lnTo>
                    <a:pt x="633" y="0"/>
                  </a:lnTo>
                  <a:lnTo>
                    <a:pt x="627" y="0"/>
                  </a:lnTo>
                  <a:lnTo>
                    <a:pt x="623" y="1"/>
                  </a:lnTo>
                  <a:lnTo>
                    <a:pt x="619" y="3"/>
                  </a:lnTo>
                  <a:lnTo>
                    <a:pt x="616" y="4"/>
                  </a:lnTo>
                  <a:lnTo>
                    <a:pt x="615" y="7"/>
                  </a:lnTo>
                  <a:lnTo>
                    <a:pt x="613" y="9"/>
                  </a:lnTo>
                  <a:lnTo>
                    <a:pt x="612" y="12"/>
                  </a:lnTo>
                  <a:lnTo>
                    <a:pt x="613" y="16"/>
                  </a:lnTo>
                  <a:lnTo>
                    <a:pt x="613" y="24"/>
                  </a:lnTo>
                  <a:lnTo>
                    <a:pt x="615" y="33"/>
                  </a:lnTo>
                  <a:lnTo>
                    <a:pt x="616" y="44"/>
                  </a:lnTo>
                  <a:lnTo>
                    <a:pt x="615" y="55"/>
                  </a:lnTo>
                  <a:lnTo>
                    <a:pt x="611" y="61"/>
                  </a:lnTo>
                  <a:lnTo>
                    <a:pt x="605" y="67"/>
                  </a:lnTo>
                  <a:lnTo>
                    <a:pt x="599" y="71"/>
                  </a:lnTo>
                  <a:lnTo>
                    <a:pt x="593" y="75"/>
                  </a:lnTo>
                  <a:lnTo>
                    <a:pt x="579" y="80"/>
                  </a:lnTo>
                  <a:lnTo>
                    <a:pt x="564" y="83"/>
                  </a:lnTo>
                  <a:lnTo>
                    <a:pt x="531" y="85"/>
                  </a:lnTo>
                  <a:lnTo>
                    <a:pt x="495" y="84"/>
                  </a:lnTo>
                  <a:lnTo>
                    <a:pt x="495" y="95"/>
                  </a:lnTo>
                  <a:lnTo>
                    <a:pt x="498" y="103"/>
                  </a:lnTo>
                  <a:lnTo>
                    <a:pt x="500" y="111"/>
                  </a:lnTo>
                  <a:lnTo>
                    <a:pt x="504" y="117"/>
                  </a:lnTo>
                  <a:lnTo>
                    <a:pt x="507" y="123"/>
                  </a:lnTo>
                  <a:lnTo>
                    <a:pt x="510" y="129"/>
                  </a:lnTo>
                  <a:lnTo>
                    <a:pt x="512" y="136"/>
                  </a:lnTo>
                  <a:lnTo>
                    <a:pt x="512" y="145"/>
                  </a:lnTo>
                  <a:lnTo>
                    <a:pt x="496" y="145"/>
                  </a:lnTo>
                  <a:lnTo>
                    <a:pt x="483" y="145"/>
                  </a:lnTo>
                  <a:lnTo>
                    <a:pt x="472" y="143"/>
                  </a:lnTo>
                  <a:lnTo>
                    <a:pt x="464" y="140"/>
                  </a:lnTo>
                  <a:lnTo>
                    <a:pt x="456" y="139"/>
                  </a:lnTo>
                  <a:lnTo>
                    <a:pt x="448" y="139"/>
                  </a:lnTo>
                  <a:lnTo>
                    <a:pt x="439" y="140"/>
                  </a:lnTo>
                  <a:lnTo>
                    <a:pt x="428" y="145"/>
                  </a:lnTo>
                  <a:lnTo>
                    <a:pt x="428" y="168"/>
                  </a:lnTo>
                  <a:lnTo>
                    <a:pt x="428" y="181"/>
                  </a:lnTo>
                  <a:lnTo>
                    <a:pt x="428" y="189"/>
                  </a:lnTo>
                  <a:lnTo>
                    <a:pt x="427" y="197"/>
                  </a:lnTo>
                  <a:lnTo>
                    <a:pt x="424" y="207"/>
                  </a:lnTo>
                  <a:lnTo>
                    <a:pt x="422" y="216"/>
                  </a:lnTo>
                  <a:lnTo>
                    <a:pt x="416" y="227"/>
                  </a:lnTo>
                  <a:lnTo>
                    <a:pt x="412" y="236"/>
                  </a:lnTo>
                  <a:lnTo>
                    <a:pt x="407" y="245"/>
                  </a:lnTo>
                  <a:lnTo>
                    <a:pt x="400" y="253"/>
                  </a:lnTo>
                  <a:lnTo>
                    <a:pt x="392" y="262"/>
                  </a:lnTo>
                  <a:lnTo>
                    <a:pt x="386" y="270"/>
                  </a:lnTo>
                  <a:lnTo>
                    <a:pt x="376" y="277"/>
                  </a:lnTo>
                  <a:lnTo>
                    <a:pt x="367" y="284"/>
                  </a:lnTo>
                  <a:lnTo>
                    <a:pt x="358" y="288"/>
                  </a:lnTo>
                  <a:lnTo>
                    <a:pt x="348" y="292"/>
                  </a:lnTo>
                  <a:lnTo>
                    <a:pt x="338" y="294"/>
                  </a:lnTo>
                  <a:lnTo>
                    <a:pt x="326" y="296"/>
                  </a:lnTo>
                  <a:lnTo>
                    <a:pt x="318" y="294"/>
                  </a:lnTo>
                  <a:lnTo>
                    <a:pt x="310" y="290"/>
                  </a:lnTo>
                  <a:lnTo>
                    <a:pt x="302" y="286"/>
                  </a:lnTo>
                  <a:lnTo>
                    <a:pt x="294" y="280"/>
                  </a:lnTo>
                  <a:lnTo>
                    <a:pt x="279" y="265"/>
                  </a:lnTo>
                  <a:lnTo>
                    <a:pt x="264" y="247"/>
                  </a:lnTo>
                  <a:lnTo>
                    <a:pt x="250" y="229"/>
                  </a:lnTo>
                  <a:lnTo>
                    <a:pt x="232" y="215"/>
                  </a:lnTo>
                  <a:lnTo>
                    <a:pt x="224" y="208"/>
                  </a:lnTo>
                  <a:lnTo>
                    <a:pt x="215" y="203"/>
                  </a:lnTo>
                  <a:lnTo>
                    <a:pt x="204" y="200"/>
                  </a:lnTo>
                  <a:lnTo>
                    <a:pt x="194" y="199"/>
                  </a:lnTo>
                  <a:lnTo>
                    <a:pt x="190" y="201"/>
                  </a:lnTo>
                  <a:lnTo>
                    <a:pt x="184" y="208"/>
                  </a:lnTo>
                  <a:lnTo>
                    <a:pt x="180" y="212"/>
                  </a:lnTo>
                  <a:lnTo>
                    <a:pt x="178" y="215"/>
                  </a:lnTo>
                  <a:lnTo>
                    <a:pt x="174" y="216"/>
                  </a:lnTo>
                  <a:lnTo>
                    <a:pt x="170" y="217"/>
                  </a:lnTo>
                  <a:lnTo>
                    <a:pt x="164" y="217"/>
                  </a:lnTo>
                  <a:lnTo>
                    <a:pt x="159" y="216"/>
                  </a:lnTo>
                  <a:lnTo>
                    <a:pt x="154" y="213"/>
                  </a:lnTo>
                  <a:lnTo>
                    <a:pt x="150" y="212"/>
                  </a:lnTo>
                  <a:lnTo>
                    <a:pt x="142" y="205"/>
                  </a:lnTo>
                  <a:lnTo>
                    <a:pt x="134" y="199"/>
                  </a:lnTo>
                  <a:lnTo>
                    <a:pt x="126" y="192"/>
                  </a:lnTo>
                  <a:lnTo>
                    <a:pt x="118" y="187"/>
                  </a:lnTo>
                  <a:lnTo>
                    <a:pt x="112" y="184"/>
                  </a:lnTo>
                  <a:lnTo>
                    <a:pt x="108" y="183"/>
                  </a:lnTo>
                  <a:lnTo>
                    <a:pt x="103" y="181"/>
                  </a:lnTo>
                  <a:lnTo>
                    <a:pt x="98" y="181"/>
                  </a:lnTo>
                  <a:lnTo>
                    <a:pt x="91" y="181"/>
                  </a:lnTo>
                  <a:lnTo>
                    <a:pt x="83" y="183"/>
                  </a:lnTo>
                  <a:lnTo>
                    <a:pt x="76" y="185"/>
                  </a:lnTo>
                  <a:lnTo>
                    <a:pt x="70" y="189"/>
                  </a:lnTo>
                  <a:lnTo>
                    <a:pt x="55" y="197"/>
                  </a:lnTo>
                  <a:lnTo>
                    <a:pt x="42" y="208"/>
                  </a:lnTo>
                  <a:lnTo>
                    <a:pt x="30" y="220"/>
                  </a:lnTo>
                  <a:lnTo>
                    <a:pt x="19" y="232"/>
                  </a:lnTo>
                  <a:lnTo>
                    <a:pt x="8" y="243"/>
                  </a:lnTo>
                  <a:lnTo>
                    <a:pt x="0" y="253"/>
                  </a:lnTo>
                  <a:lnTo>
                    <a:pt x="10" y="260"/>
                  </a:lnTo>
                  <a:lnTo>
                    <a:pt x="19" y="266"/>
                  </a:lnTo>
                  <a:lnTo>
                    <a:pt x="28" y="273"/>
                  </a:lnTo>
                  <a:lnTo>
                    <a:pt x="38" y="277"/>
                  </a:lnTo>
                  <a:lnTo>
                    <a:pt x="55" y="285"/>
                  </a:lnTo>
                  <a:lnTo>
                    <a:pt x="72" y="292"/>
                  </a:lnTo>
                  <a:lnTo>
                    <a:pt x="102" y="300"/>
                  </a:lnTo>
                  <a:lnTo>
                    <a:pt x="122" y="308"/>
                  </a:lnTo>
                  <a:lnTo>
                    <a:pt x="131" y="316"/>
                  </a:lnTo>
                  <a:lnTo>
                    <a:pt x="140" y="324"/>
                  </a:lnTo>
                  <a:lnTo>
                    <a:pt x="146" y="332"/>
                  </a:lnTo>
                  <a:lnTo>
                    <a:pt x="150" y="338"/>
                  </a:lnTo>
                  <a:lnTo>
                    <a:pt x="152" y="345"/>
                  </a:lnTo>
                  <a:lnTo>
                    <a:pt x="151" y="350"/>
                  </a:lnTo>
                  <a:lnTo>
                    <a:pt x="150" y="356"/>
                  </a:lnTo>
                  <a:lnTo>
                    <a:pt x="146" y="360"/>
                  </a:lnTo>
                  <a:lnTo>
                    <a:pt x="139" y="362"/>
                  </a:lnTo>
                  <a:lnTo>
                    <a:pt x="131" y="365"/>
                  </a:lnTo>
                  <a:lnTo>
                    <a:pt x="122" y="366"/>
                  </a:lnTo>
                  <a:lnTo>
                    <a:pt x="110" y="368"/>
                  </a:lnTo>
                  <a:lnTo>
                    <a:pt x="96" y="368"/>
                  </a:lnTo>
                  <a:lnTo>
                    <a:pt x="80" y="366"/>
                  </a:lnTo>
                  <a:lnTo>
                    <a:pt x="63" y="364"/>
                  </a:lnTo>
                  <a:lnTo>
                    <a:pt x="43" y="361"/>
                  </a:lnTo>
                  <a:lnTo>
                    <a:pt x="42" y="378"/>
                  </a:lnTo>
                  <a:lnTo>
                    <a:pt x="40" y="398"/>
                  </a:lnTo>
                  <a:lnTo>
                    <a:pt x="40" y="410"/>
                  </a:lnTo>
                  <a:lnTo>
                    <a:pt x="40" y="422"/>
                  </a:lnTo>
                  <a:lnTo>
                    <a:pt x="42" y="434"/>
                  </a:lnTo>
                  <a:lnTo>
                    <a:pt x="43" y="446"/>
                  </a:lnTo>
                  <a:lnTo>
                    <a:pt x="54" y="445"/>
                  </a:lnTo>
                  <a:lnTo>
                    <a:pt x="66" y="445"/>
                  </a:lnTo>
                  <a:lnTo>
                    <a:pt x="78" y="446"/>
                  </a:lnTo>
                  <a:lnTo>
                    <a:pt x="91" y="449"/>
                  </a:lnTo>
                  <a:lnTo>
                    <a:pt x="103" y="452"/>
                  </a:lnTo>
                  <a:lnTo>
                    <a:pt x="116" y="456"/>
                  </a:lnTo>
                  <a:lnTo>
                    <a:pt x="130" y="460"/>
                  </a:lnTo>
                  <a:lnTo>
                    <a:pt x="142" y="465"/>
                  </a:lnTo>
                  <a:lnTo>
                    <a:pt x="154" y="470"/>
                  </a:lnTo>
                  <a:lnTo>
                    <a:pt x="164" y="477"/>
                  </a:lnTo>
                  <a:lnTo>
                    <a:pt x="174" y="484"/>
                  </a:lnTo>
                  <a:lnTo>
                    <a:pt x="183" y="490"/>
                  </a:lnTo>
                  <a:lnTo>
                    <a:pt x="190" y="498"/>
                  </a:lnTo>
                  <a:lnTo>
                    <a:pt x="195" y="506"/>
                  </a:lnTo>
                  <a:lnTo>
                    <a:pt x="199" y="516"/>
                  </a:lnTo>
                  <a:lnTo>
                    <a:pt x="199" y="524"/>
                  </a:lnTo>
                  <a:lnTo>
                    <a:pt x="199" y="530"/>
                  </a:lnTo>
                  <a:lnTo>
                    <a:pt x="198" y="537"/>
                  </a:lnTo>
                  <a:lnTo>
                    <a:pt x="196" y="542"/>
                  </a:lnTo>
                  <a:lnTo>
                    <a:pt x="194" y="548"/>
                  </a:lnTo>
                  <a:lnTo>
                    <a:pt x="186" y="558"/>
                  </a:lnTo>
                  <a:lnTo>
                    <a:pt x="179" y="569"/>
                  </a:lnTo>
                  <a:lnTo>
                    <a:pt x="171" y="580"/>
                  </a:lnTo>
                  <a:lnTo>
                    <a:pt x="164" y="593"/>
                  </a:lnTo>
                  <a:lnTo>
                    <a:pt x="162" y="600"/>
                  </a:lnTo>
                  <a:lnTo>
                    <a:pt x="159" y="608"/>
                  </a:lnTo>
                  <a:lnTo>
                    <a:pt x="158" y="617"/>
                  </a:lnTo>
                  <a:lnTo>
                    <a:pt x="158" y="626"/>
                  </a:lnTo>
                  <a:lnTo>
                    <a:pt x="158" y="636"/>
                  </a:lnTo>
                  <a:lnTo>
                    <a:pt x="160" y="645"/>
                  </a:lnTo>
                  <a:lnTo>
                    <a:pt x="163" y="653"/>
                  </a:lnTo>
                  <a:lnTo>
                    <a:pt x="168" y="660"/>
                  </a:lnTo>
                  <a:lnTo>
                    <a:pt x="179" y="673"/>
                  </a:lnTo>
                  <a:lnTo>
                    <a:pt x="191" y="685"/>
                  </a:lnTo>
                  <a:lnTo>
                    <a:pt x="203" y="696"/>
                  </a:lnTo>
                  <a:lnTo>
                    <a:pt x="214" y="708"/>
                  </a:lnTo>
                  <a:lnTo>
                    <a:pt x="218" y="714"/>
                  </a:lnTo>
                  <a:lnTo>
                    <a:pt x="220" y="720"/>
                  </a:lnTo>
                  <a:lnTo>
                    <a:pt x="223" y="728"/>
                  </a:lnTo>
                  <a:lnTo>
                    <a:pt x="224" y="734"/>
                  </a:lnTo>
                  <a:lnTo>
                    <a:pt x="222" y="757"/>
                  </a:lnTo>
                  <a:lnTo>
                    <a:pt x="218" y="777"/>
                  </a:lnTo>
                  <a:lnTo>
                    <a:pt x="214" y="797"/>
                  </a:lnTo>
                  <a:lnTo>
                    <a:pt x="212" y="820"/>
                  </a:lnTo>
                  <a:lnTo>
                    <a:pt x="212" y="817"/>
                  </a:lnTo>
                  <a:lnTo>
                    <a:pt x="212" y="817"/>
                  </a:lnTo>
                  <a:lnTo>
                    <a:pt x="214" y="817"/>
                  </a:lnTo>
                  <a:lnTo>
                    <a:pt x="216" y="817"/>
                  </a:lnTo>
                  <a:lnTo>
                    <a:pt x="222" y="818"/>
                  </a:lnTo>
                  <a:lnTo>
                    <a:pt x="230" y="820"/>
                  </a:lnTo>
                  <a:lnTo>
                    <a:pt x="238" y="820"/>
                  </a:lnTo>
                  <a:lnTo>
                    <a:pt x="246" y="821"/>
                  </a:lnTo>
                  <a:lnTo>
                    <a:pt x="252" y="824"/>
                  </a:lnTo>
                  <a:lnTo>
                    <a:pt x="259" y="828"/>
                  </a:lnTo>
                  <a:lnTo>
                    <a:pt x="271" y="839"/>
                  </a:lnTo>
                  <a:lnTo>
                    <a:pt x="284" y="855"/>
                  </a:lnTo>
                  <a:lnTo>
                    <a:pt x="286" y="846"/>
                  </a:lnTo>
                  <a:lnTo>
                    <a:pt x="288" y="839"/>
                  </a:lnTo>
                  <a:lnTo>
                    <a:pt x="292" y="833"/>
                  </a:lnTo>
                  <a:lnTo>
                    <a:pt x="298" y="828"/>
                  </a:lnTo>
                  <a:lnTo>
                    <a:pt x="304" y="824"/>
                  </a:lnTo>
                  <a:lnTo>
                    <a:pt x="312" y="821"/>
                  </a:lnTo>
                  <a:lnTo>
                    <a:pt x="319" y="820"/>
                  </a:lnTo>
                  <a:lnTo>
                    <a:pt x="326" y="820"/>
                  </a:lnTo>
                  <a:lnTo>
                    <a:pt x="335" y="820"/>
                  </a:lnTo>
                  <a:lnTo>
                    <a:pt x="343" y="822"/>
                  </a:lnTo>
                  <a:lnTo>
                    <a:pt x="350" y="826"/>
                  </a:lnTo>
                  <a:lnTo>
                    <a:pt x="356" y="832"/>
                  </a:lnTo>
                  <a:lnTo>
                    <a:pt x="363" y="836"/>
                  </a:lnTo>
                  <a:lnTo>
                    <a:pt x="370" y="839"/>
                  </a:lnTo>
                  <a:lnTo>
                    <a:pt x="378" y="842"/>
                  </a:lnTo>
                  <a:lnTo>
                    <a:pt x="387" y="843"/>
                  </a:lnTo>
                  <a:lnTo>
                    <a:pt x="391" y="842"/>
                  </a:lnTo>
                  <a:lnTo>
                    <a:pt x="395" y="842"/>
                  </a:lnTo>
                  <a:lnTo>
                    <a:pt x="398" y="841"/>
                  </a:lnTo>
                  <a:lnTo>
                    <a:pt x="400" y="838"/>
                  </a:lnTo>
                  <a:lnTo>
                    <a:pt x="406" y="833"/>
                  </a:lnTo>
                  <a:lnTo>
                    <a:pt x="408" y="826"/>
                  </a:lnTo>
                  <a:lnTo>
                    <a:pt x="415" y="810"/>
                  </a:lnTo>
                  <a:lnTo>
                    <a:pt x="423" y="796"/>
                  </a:lnTo>
                  <a:lnTo>
                    <a:pt x="447" y="796"/>
                  </a:lnTo>
                  <a:lnTo>
                    <a:pt x="447" y="808"/>
                  </a:lnTo>
                  <a:lnTo>
                    <a:pt x="450" y="821"/>
                  </a:lnTo>
                  <a:lnTo>
                    <a:pt x="454" y="832"/>
                  </a:lnTo>
                  <a:lnTo>
                    <a:pt x="458" y="842"/>
                  </a:lnTo>
                  <a:lnTo>
                    <a:pt x="464" y="853"/>
                  </a:lnTo>
                  <a:lnTo>
                    <a:pt x="471" y="862"/>
                  </a:lnTo>
                  <a:lnTo>
                    <a:pt x="478" y="870"/>
                  </a:lnTo>
                  <a:lnTo>
                    <a:pt x="486" y="879"/>
                  </a:lnTo>
                  <a:lnTo>
                    <a:pt x="500" y="895"/>
                  </a:lnTo>
                  <a:lnTo>
                    <a:pt x="515" y="911"/>
                  </a:lnTo>
                  <a:lnTo>
                    <a:pt x="521" y="919"/>
                  </a:lnTo>
                  <a:lnTo>
                    <a:pt x="528" y="929"/>
                  </a:lnTo>
                  <a:lnTo>
                    <a:pt x="533" y="937"/>
                  </a:lnTo>
                  <a:lnTo>
                    <a:pt x="537" y="946"/>
                  </a:lnTo>
                  <a:lnTo>
                    <a:pt x="543" y="971"/>
                  </a:lnTo>
                  <a:lnTo>
                    <a:pt x="547" y="995"/>
                  </a:lnTo>
                  <a:lnTo>
                    <a:pt x="548" y="999"/>
                  </a:lnTo>
                  <a:lnTo>
                    <a:pt x="551" y="1005"/>
                  </a:lnTo>
                  <a:lnTo>
                    <a:pt x="553" y="1009"/>
                  </a:lnTo>
                  <a:lnTo>
                    <a:pt x="556" y="1011"/>
                  </a:lnTo>
                  <a:lnTo>
                    <a:pt x="560" y="1014"/>
                  </a:lnTo>
                  <a:lnTo>
                    <a:pt x="565" y="1017"/>
                  </a:lnTo>
                  <a:lnTo>
                    <a:pt x="572" y="1017"/>
                  </a:lnTo>
                  <a:lnTo>
                    <a:pt x="579" y="1018"/>
                  </a:lnTo>
                  <a:lnTo>
                    <a:pt x="587" y="1018"/>
                  </a:lnTo>
                  <a:lnTo>
                    <a:pt x="595" y="1021"/>
                  </a:lnTo>
                  <a:lnTo>
                    <a:pt x="601" y="1023"/>
                  </a:lnTo>
                  <a:lnTo>
                    <a:pt x="608" y="1027"/>
                  </a:lnTo>
                  <a:lnTo>
                    <a:pt x="615" y="1030"/>
                  </a:lnTo>
                  <a:lnTo>
                    <a:pt x="620" y="1033"/>
                  </a:lnTo>
                  <a:lnTo>
                    <a:pt x="627" y="1035"/>
                  </a:lnTo>
                  <a:lnTo>
                    <a:pt x="633" y="1035"/>
                  </a:lnTo>
                  <a:lnTo>
                    <a:pt x="641" y="1035"/>
                  </a:lnTo>
                  <a:lnTo>
                    <a:pt x="648" y="1034"/>
                  </a:lnTo>
                  <a:lnTo>
                    <a:pt x="653" y="1030"/>
                  </a:lnTo>
                  <a:lnTo>
                    <a:pt x="657" y="1027"/>
                  </a:lnTo>
                  <a:lnTo>
                    <a:pt x="660" y="1022"/>
                  </a:lnTo>
                  <a:lnTo>
                    <a:pt x="661" y="1015"/>
                  </a:lnTo>
                  <a:lnTo>
                    <a:pt x="663" y="1009"/>
                  </a:lnTo>
                  <a:lnTo>
                    <a:pt x="663" y="999"/>
                  </a:lnTo>
                  <a:lnTo>
                    <a:pt x="667" y="994"/>
                  </a:lnTo>
                  <a:lnTo>
                    <a:pt x="668" y="989"/>
                  </a:lnTo>
                  <a:lnTo>
                    <a:pt x="669" y="982"/>
                  </a:lnTo>
                  <a:lnTo>
                    <a:pt x="671" y="977"/>
                  </a:lnTo>
                  <a:lnTo>
                    <a:pt x="672" y="970"/>
                  </a:lnTo>
                  <a:lnTo>
                    <a:pt x="675" y="965"/>
                  </a:lnTo>
                  <a:lnTo>
                    <a:pt x="680" y="961"/>
                  </a:lnTo>
                  <a:lnTo>
                    <a:pt x="687" y="958"/>
                  </a:lnTo>
                  <a:lnTo>
                    <a:pt x="745" y="938"/>
                  </a:lnTo>
                  <a:lnTo>
                    <a:pt x="797" y="919"/>
                  </a:lnTo>
                  <a:lnTo>
                    <a:pt x="809" y="913"/>
                  </a:lnTo>
                  <a:lnTo>
                    <a:pt x="819" y="906"/>
                  </a:lnTo>
                  <a:lnTo>
                    <a:pt x="828" y="897"/>
                  </a:lnTo>
                  <a:lnTo>
                    <a:pt x="836" y="887"/>
                  </a:lnTo>
                  <a:lnTo>
                    <a:pt x="841" y="875"/>
                  </a:lnTo>
                  <a:lnTo>
                    <a:pt x="847" y="863"/>
                  </a:lnTo>
                  <a:lnTo>
                    <a:pt x="849" y="847"/>
                  </a:lnTo>
                  <a:lnTo>
                    <a:pt x="849" y="832"/>
                  </a:lnTo>
                  <a:lnTo>
                    <a:pt x="849" y="821"/>
                  </a:lnTo>
                  <a:lnTo>
                    <a:pt x="849" y="808"/>
                  </a:lnTo>
                  <a:lnTo>
                    <a:pt x="820" y="808"/>
                  </a:lnTo>
                  <a:lnTo>
                    <a:pt x="813" y="816"/>
                  </a:lnTo>
                  <a:lnTo>
                    <a:pt x="809" y="821"/>
                  </a:lnTo>
                  <a:lnTo>
                    <a:pt x="807" y="822"/>
                  </a:lnTo>
                  <a:lnTo>
                    <a:pt x="803" y="824"/>
                  </a:lnTo>
                  <a:lnTo>
                    <a:pt x="797" y="825"/>
                  </a:lnTo>
                  <a:lnTo>
                    <a:pt x="789" y="825"/>
                  </a:lnTo>
                  <a:lnTo>
                    <a:pt x="784" y="825"/>
                  </a:lnTo>
                  <a:lnTo>
                    <a:pt x="779" y="822"/>
                  </a:lnTo>
                  <a:lnTo>
                    <a:pt x="776" y="820"/>
                  </a:lnTo>
                  <a:lnTo>
                    <a:pt x="773" y="816"/>
                  </a:lnTo>
                  <a:lnTo>
                    <a:pt x="772" y="808"/>
                  </a:lnTo>
                  <a:lnTo>
                    <a:pt x="772" y="801"/>
                  </a:lnTo>
                  <a:lnTo>
                    <a:pt x="771" y="802"/>
                  </a:lnTo>
                  <a:lnTo>
                    <a:pt x="768" y="802"/>
                  </a:lnTo>
                  <a:lnTo>
                    <a:pt x="767" y="798"/>
                  </a:lnTo>
                  <a:lnTo>
                    <a:pt x="765" y="789"/>
                  </a:lnTo>
                  <a:lnTo>
                    <a:pt x="760" y="765"/>
                  </a:lnTo>
                  <a:lnTo>
                    <a:pt x="753" y="764"/>
                  </a:lnTo>
                  <a:lnTo>
                    <a:pt x="747" y="762"/>
                  </a:lnTo>
                  <a:lnTo>
                    <a:pt x="740" y="760"/>
                  </a:lnTo>
                  <a:lnTo>
                    <a:pt x="733" y="754"/>
                  </a:lnTo>
                  <a:lnTo>
                    <a:pt x="720" y="744"/>
                  </a:lnTo>
                  <a:lnTo>
                    <a:pt x="707" y="730"/>
                  </a:lnTo>
                  <a:lnTo>
                    <a:pt x="693" y="714"/>
                  </a:lnTo>
                  <a:lnTo>
                    <a:pt x="684" y="698"/>
                  </a:lnTo>
                  <a:lnTo>
                    <a:pt x="680" y="690"/>
                  </a:lnTo>
                  <a:lnTo>
                    <a:pt x="677" y="684"/>
                  </a:lnTo>
                  <a:lnTo>
                    <a:pt x="676" y="676"/>
                  </a:lnTo>
                  <a:lnTo>
                    <a:pt x="675" y="669"/>
                  </a:lnTo>
                  <a:lnTo>
                    <a:pt x="676" y="656"/>
                  </a:lnTo>
                  <a:lnTo>
                    <a:pt x="679" y="644"/>
                  </a:lnTo>
                  <a:lnTo>
                    <a:pt x="681" y="633"/>
                  </a:lnTo>
                  <a:lnTo>
                    <a:pt x="684" y="624"/>
                  </a:lnTo>
                  <a:lnTo>
                    <a:pt x="688" y="613"/>
                  </a:lnTo>
                  <a:lnTo>
                    <a:pt x="691" y="602"/>
                  </a:lnTo>
                  <a:lnTo>
                    <a:pt x="692" y="590"/>
                  </a:lnTo>
                  <a:lnTo>
                    <a:pt x="693" y="578"/>
                  </a:lnTo>
                  <a:lnTo>
                    <a:pt x="693" y="570"/>
                  </a:lnTo>
                  <a:lnTo>
                    <a:pt x="691" y="564"/>
                  </a:lnTo>
                  <a:lnTo>
                    <a:pt x="689" y="558"/>
                  </a:lnTo>
                  <a:lnTo>
                    <a:pt x="685" y="553"/>
                  </a:lnTo>
                  <a:lnTo>
                    <a:pt x="679" y="542"/>
                  </a:lnTo>
                  <a:lnTo>
                    <a:pt x="669" y="534"/>
                  </a:lnTo>
                  <a:lnTo>
                    <a:pt x="660" y="526"/>
                  </a:lnTo>
                  <a:lnTo>
                    <a:pt x="652" y="518"/>
                  </a:lnTo>
                  <a:lnTo>
                    <a:pt x="649" y="514"/>
                  </a:lnTo>
                  <a:lnTo>
                    <a:pt x="647" y="510"/>
                  </a:lnTo>
                  <a:lnTo>
                    <a:pt x="645" y="505"/>
                  </a:lnTo>
                  <a:lnTo>
                    <a:pt x="645" y="500"/>
                  </a:lnTo>
                  <a:lnTo>
                    <a:pt x="645" y="494"/>
                  </a:lnTo>
                  <a:lnTo>
                    <a:pt x="648" y="489"/>
                  </a:lnTo>
                  <a:lnTo>
                    <a:pt x="651" y="482"/>
                  </a:lnTo>
                  <a:lnTo>
                    <a:pt x="655" y="477"/>
                  </a:lnTo>
                  <a:lnTo>
                    <a:pt x="664" y="466"/>
                  </a:lnTo>
                  <a:lnTo>
                    <a:pt x="676" y="456"/>
                  </a:lnTo>
                  <a:lnTo>
                    <a:pt x="689" y="446"/>
                  </a:lnTo>
                  <a:lnTo>
                    <a:pt x="704" y="440"/>
                  </a:lnTo>
                  <a:lnTo>
                    <a:pt x="717" y="436"/>
                  </a:lnTo>
                  <a:lnTo>
                    <a:pt x="729" y="433"/>
                  </a:lnTo>
                  <a:lnTo>
                    <a:pt x="740" y="434"/>
                  </a:lnTo>
                  <a:lnTo>
                    <a:pt x="751" y="437"/>
                  </a:lnTo>
                  <a:lnTo>
                    <a:pt x="760" y="440"/>
                  </a:lnTo>
                  <a:lnTo>
                    <a:pt x="768" y="442"/>
                  </a:lnTo>
                  <a:lnTo>
                    <a:pt x="777" y="446"/>
                  </a:lnTo>
                  <a:lnTo>
                    <a:pt x="787" y="449"/>
                  </a:lnTo>
                  <a:lnTo>
                    <a:pt x="797" y="450"/>
                  </a:lnTo>
                  <a:lnTo>
                    <a:pt x="808" y="452"/>
                  </a:lnTo>
                  <a:lnTo>
                    <a:pt x="816" y="452"/>
                  </a:lnTo>
                  <a:lnTo>
                    <a:pt x="823" y="450"/>
                  </a:lnTo>
                  <a:lnTo>
                    <a:pt x="829" y="448"/>
                  </a:lnTo>
                  <a:lnTo>
                    <a:pt x="833" y="445"/>
                  </a:lnTo>
                  <a:lnTo>
                    <a:pt x="837" y="441"/>
                  </a:lnTo>
                  <a:lnTo>
                    <a:pt x="840" y="436"/>
                  </a:lnTo>
                  <a:lnTo>
                    <a:pt x="843" y="432"/>
                  </a:lnTo>
                  <a:lnTo>
                    <a:pt x="844" y="425"/>
                  </a:lnTo>
                  <a:lnTo>
                    <a:pt x="845" y="398"/>
                  </a:lnTo>
                  <a:lnTo>
                    <a:pt x="844" y="368"/>
                  </a:lnTo>
                  <a:lnTo>
                    <a:pt x="844" y="354"/>
                  </a:lnTo>
                  <a:lnTo>
                    <a:pt x="844" y="336"/>
                  </a:lnTo>
                  <a:lnTo>
                    <a:pt x="844" y="314"/>
                  </a:lnTo>
                  <a:lnTo>
                    <a:pt x="844" y="296"/>
                  </a:lnTo>
                  <a:lnTo>
                    <a:pt x="845" y="284"/>
                  </a:lnTo>
                  <a:lnTo>
                    <a:pt x="847" y="273"/>
                  </a:lnTo>
                  <a:lnTo>
                    <a:pt x="851" y="265"/>
                  </a:lnTo>
                  <a:lnTo>
                    <a:pt x="855" y="257"/>
                  </a:lnTo>
                  <a:lnTo>
                    <a:pt x="867" y="243"/>
                  </a:lnTo>
                  <a:lnTo>
                    <a:pt x="880" y="231"/>
                  </a:lnTo>
                  <a:lnTo>
                    <a:pt x="887" y="224"/>
                  </a:lnTo>
                  <a:lnTo>
                    <a:pt x="893" y="217"/>
                  </a:lnTo>
                  <a:lnTo>
                    <a:pt x="900" y="211"/>
                  </a:lnTo>
                  <a:lnTo>
                    <a:pt x="905" y="203"/>
                  </a:lnTo>
                  <a:lnTo>
                    <a:pt x="909" y="193"/>
                  </a:lnTo>
                  <a:lnTo>
                    <a:pt x="913" y="183"/>
                  </a:lnTo>
                  <a:lnTo>
                    <a:pt x="916" y="171"/>
                  </a:lnTo>
                  <a:lnTo>
                    <a:pt x="916" y="157"/>
                  </a:lnTo>
                  <a:lnTo>
                    <a:pt x="916" y="149"/>
                  </a:lnTo>
                  <a:lnTo>
                    <a:pt x="915" y="141"/>
                  </a:lnTo>
                  <a:lnTo>
                    <a:pt x="913" y="135"/>
                  </a:lnTo>
                  <a:lnTo>
                    <a:pt x="911" y="128"/>
                  </a:lnTo>
                  <a:lnTo>
                    <a:pt x="905" y="116"/>
                  </a:lnTo>
                  <a:lnTo>
                    <a:pt x="899" y="104"/>
                  </a:lnTo>
                  <a:lnTo>
                    <a:pt x="892" y="92"/>
                  </a:lnTo>
                  <a:lnTo>
                    <a:pt x="885" y="80"/>
                  </a:lnTo>
                  <a:lnTo>
                    <a:pt x="884" y="73"/>
                  </a:lnTo>
                  <a:lnTo>
                    <a:pt x="881" y="68"/>
                  </a:lnTo>
                  <a:lnTo>
                    <a:pt x="880" y="61"/>
                  </a:lnTo>
                  <a:lnTo>
                    <a:pt x="880" y="55"/>
                  </a:lnTo>
                  <a:lnTo>
                    <a:pt x="877" y="52"/>
                  </a:lnTo>
                  <a:lnTo>
                    <a:pt x="869" y="48"/>
                  </a:lnTo>
                  <a:lnTo>
                    <a:pt x="860" y="44"/>
                  </a:lnTo>
                  <a:lnTo>
                    <a:pt x="849" y="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81" name="Freeform 77"/>
            <p:cNvSpPr>
              <a:spLocks/>
            </p:cNvSpPr>
            <p:nvPr/>
          </p:nvSpPr>
          <p:spPr bwMode="auto">
            <a:xfrm>
              <a:off x="762322" y="4403725"/>
              <a:ext cx="242888" cy="319087"/>
            </a:xfrm>
            <a:custGeom>
              <a:avLst/>
              <a:gdLst/>
              <a:ahLst/>
              <a:cxnLst>
                <a:cxn ang="0">
                  <a:pos x="333" y="645"/>
                </a:cxn>
                <a:cxn ang="0">
                  <a:pos x="342" y="613"/>
                </a:cxn>
                <a:cxn ang="0">
                  <a:pos x="371" y="574"/>
                </a:cxn>
                <a:cxn ang="0">
                  <a:pos x="406" y="542"/>
                </a:cxn>
                <a:cxn ang="0">
                  <a:pos x="438" y="509"/>
                </a:cxn>
                <a:cxn ang="0">
                  <a:pos x="454" y="476"/>
                </a:cxn>
                <a:cxn ang="0">
                  <a:pos x="457" y="452"/>
                </a:cxn>
                <a:cxn ang="0">
                  <a:pos x="447" y="412"/>
                </a:cxn>
                <a:cxn ang="0">
                  <a:pos x="465" y="396"/>
                </a:cxn>
                <a:cxn ang="0">
                  <a:pos x="483" y="376"/>
                </a:cxn>
                <a:cxn ang="0">
                  <a:pos x="465" y="349"/>
                </a:cxn>
                <a:cxn ang="0">
                  <a:pos x="446" y="325"/>
                </a:cxn>
                <a:cxn ang="0">
                  <a:pos x="453" y="315"/>
                </a:cxn>
                <a:cxn ang="0">
                  <a:pos x="466" y="287"/>
                </a:cxn>
                <a:cxn ang="0">
                  <a:pos x="474" y="249"/>
                </a:cxn>
                <a:cxn ang="0">
                  <a:pos x="473" y="193"/>
                </a:cxn>
                <a:cxn ang="0">
                  <a:pos x="390" y="169"/>
                </a:cxn>
                <a:cxn ang="0">
                  <a:pos x="302" y="145"/>
                </a:cxn>
                <a:cxn ang="0">
                  <a:pos x="257" y="125"/>
                </a:cxn>
                <a:cxn ang="0">
                  <a:pos x="237" y="99"/>
                </a:cxn>
                <a:cxn ang="0">
                  <a:pos x="209" y="55"/>
                </a:cxn>
                <a:cxn ang="0">
                  <a:pos x="189" y="44"/>
                </a:cxn>
                <a:cxn ang="0">
                  <a:pos x="153" y="43"/>
                </a:cxn>
                <a:cxn ang="0">
                  <a:pos x="129" y="41"/>
                </a:cxn>
                <a:cxn ang="0">
                  <a:pos x="110" y="28"/>
                </a:cxn>
                <a:cxn ang="0">
                  <a:pos x="82" y="8"/>
                </a:cxn>
                <a:cxn ang="0">
                  <a:pos x="68" y="33"/>
                </a:cxn>
                <a:cxn ang="0">
                  <a:pos x="48" y="75"/>
                </a:cxn>
                <a:cxn ang="0">
                  <a:pos x="22" y="95"/>
                </a:cxn>
                <a:cxn ang="0">
                  <a:pos x="4" y="112"/>
                </a:cxn>
                <a:cxn ang="0">
                  <a:pos x="0" y="127"/>
                </a:cxn>
                <a:cxn ang="0">
                  <a:pos x="5" y="153"/>
                </a:cxn>
                <a:cxn ang="0">
                  <a:pos x="16" y="168"/>
                </a:cxn>
                <a:cxn ang="0">
                  <a:pos x="37" y="177"/>
                </a:cxn>
                <a:cxn ang="0">
                  <a:pos x="58" y="185"/>
                </a:cxn>
                <a:cxn ang="0">
                  <a:pos x="70" y="201"/>
                </a:cxn>
                <a:cxn ang="0">
                  <a:pos x="77" y="224"/>
                </a:cxn>
                <a:cxn ang="0">
                  <a:pos x="80" y="264"/>
                </a:cxn>
                <a:cxn ang="0">
                  <a:pos x="88" y="287"/>
                </a:cxn>
                <a:cxn ang="0">
                  <a:pos x="108" y="301"/>
                </a:cxn>
                <a:cxn ang="0">
                  <a:pos x="157" y="315"/>
                </a:cxn>
                <a:cxn ang="0">
                  <a:pos x="192" y="329"/>
                </a:cxn>
                <a:cxn ang="0">
                  <a:pos x="198" y="344"/>
                </a:cxn>
                <a:cxn ang="0">
                  <a:pos x="198" y="397"/>
                </a:cxn>
                <a:cxn ang="0">
                  <a:pos x="194" y="449"/>
                </a:cxn>
                <a:cxn ang="0">
                  <a:pos x="200" y="477"/>
                </a:cxn>
                <a:cxn ang="0">
                  <a:pos x="210" y="497"/>
                </a:cxn>
                <a:cxn ang="0">
                  <a:pos x="226" y="506"/>
                </a:cxn>
                <a:cxn ang="0">
                  <a:pos x="252" y="516"/>
                </a:cxn>
                <a:cxn ang="0">
                  <a:pos x="262" y="525"/>
                </a:cxn>
                <a:cxn ang="0">
                  <a:pos x="307" y="614"/>
                </a:cxn>
              </a:cxnLst>
              <a:rect l="0" t="0" r="r" b="b"/>
              <a:pathLst>
                <a:path w="499" h="662">
                  <a:moveTo>
                    <a:pt x="331" y="662"/>
                  </a:moveTo>
                  <a:lnTo>
                    <a:pt x="331" y="653"/>
                  </a:lnTo>
                  <a:lnTo>
                    <a:pt x="333" y="645"/>
                  </a:lnTo>
                  <a:lnTo>
                    <a:pt x="334" y="636"/>
                  </a:lnTo>
                  <a:lnTo>
                    <a:pt x="337" y="628"/>
                  </a:lnTo>
                  <a:lnTo>
                    <a:pt x="342" y="613"/>
                  </a:lnTo>
                  <a:lnTo>
                    <a:pt x="350" y="600"/>
                  </a:lnTo>
                  <a:lnTo>
                    <a:pt x="361" y="586"/>
                  </a:lnTo>
                  <a:lnTo>
                    <a:pt x="371" y="574"/>
                  </a:lnTo>
                  <a:lnTo>
                    <a:pt x="382" y="564"/>
                  </a:lnTo>
                  <a:lnTo>
                    <a:pt x="394" y="553"/>
                  </a:lnTo>
                  <a:lnTo>
                    <a:pt x="406" y="542"/>
                  </a:lnTo>
                  <a:lnTo>
                    <a:pt x="417" y="532"/>
                  </a:lnTo>
                  <a:lnTo>
                    <a:pt x="427" y="520"/>
                  </a:lnTo>
                  <a:lnTo>
                    <a:pt x="438" y="509"/>
                  </a:lnTo>
                  <a:lnTo>
                    <a:pt x="446" y="496"/>
                  </a:lnTo>
                  <a:lnTo>
                    <a:pt x="451" y="482"/>
                  </a:lnTo>
                  <a:lnTo>
                    <a:pt x="454" y="476"/>
                  </a:lnTo>
                  <a:lnTo>
                    <a:pt x="455" y="468"/>
                  </a:lnTo>
                  <a:lnTo>
                    <a:pt x="457" y="460"/>
                  </a:lnTo>
                  <a:lnTo>
                    <a:pt x="457" y="452"/>
                  </a:lnTo>
                  <a:lnTo>
                    <a:pt x="451" y="432"/>
                  </a:lnTo>
                  <a:lnTo>
                    <a:pt x="445" y="416"/>
                  </a:lnTo>
                  <a:lnTo>
                    <a:pt x="447" y="412"/>
                  </a:lnTo>
                  <a:lnTo>
                    <a:pt x="451" y="407"/>
                  </a:lnTo>
                  <a:lnTo>
                    <a:pt x="457" y="401"/>
                  </a:lnTo>
                  <a:lnTo>
                    <a:pt x="465" y="396"/>
                  </a:lnTo>
                  <a:lnTo>
                    <a:pt x="471" y="391"/>
                  </a:lnTo>
                  <a:lnTo>
                    <a:pt x="478" y="384"/>
                  </a:lnTo>
                  <a:lnTo>
                    <a:pt x="483" y="376"/>
                  </a:lnTo>
                  <a:lnTo>
                    <a:pt x="487" y="368"/>
                  </a:lnTo>
                  <a:lnTo>
                    <a:pt x="478" y="363"/>
                  </a:lnTo>
                  <a:lnTo>
                    <a:pt x="465" y="349"/>
                  </a:lnTo>
                  <a:lnTo>
                    <a:pt x="451" y="337"/>
                  </a:lnTo>
                  <a:lnTo>
                    <a:pt x="445" y="332"/>
                  </a:lnTo>
                  <a:lnTo>
                    <a:pt x="446" y="325"/>
                  </a:lnTo>
                  <a:lnTo>
                    <a:pt x="447" y="321"/>
                  </a:lnTo>
                  <a:lnTo>
                    <a:pt x="450" y="317"/>
                  </a:lnTo>
                  <a:lnTo>
                    <a:pt x="453" y="315"/>
                  </a:lnTo>
                  <a:lnTo>
                    <a:pt x="461" y="309"/>
                  </a:lnTo>
                  <a:lnTo>
                    <a:pt x="470" y="301"/>
                  </a:lnTo>
                  <a:lnTo>
                    <a:pt x="466" y="287"/>
                  </a:lnTo>
                  <a:lnTo>
                    <a:pt x="463" y="272"/>
                  </a:lnTo>
                  <a:lnTo>
                    <a:pt x="466" y="264"/>
                  </a:lnTo>
                  <a:lnTo>
                    <a:pt x="474" y="249"/>
                  </a:lnTo>
                  <a:lnTo>
                    <a:pt x="486" y="231"/>
                  </a:lnTo>
                  <a:lnTo>
                    <a:pt x="499" y="205"/>
                  </a:lnTo>
                  <a:lnTo>
                    <a:pt x="473" y="193"/>
                  </a:lnTo>
                  <a:lnTo>
                    <a:pt x="445" y="184"/>
                  </a:lnTo>
                  <a:lnTo>
                    <a:pt x="418" y="176"/>
                  </a:lnTo>
                  <a:lnTo>
                    <a:pt x="390" y="169"/>
                  </a:lnTo>
                  <a:lnTo>
                    <a:pt x="361" y="163"/>
                  </a:lnTo>
                  <a:lnTo>
                    <a:pt x="331" y="155"/>
                  </a:lnTo>
                  <a:lnTo>
                    <a:pt x="302" y="145"/>
                  </a:lnTo>
                  <a:lnTo>
                    <a:pt x="270" y="133"/>
                  </a:lnTo>
                  <a:lnTo>
                    <a:pt x="264" y="129"/>
                  </a:lnTo>
                  <a:lnTo>
                    <a:pt x="257" y="125"/>
                  </a:lnTo>
                  <a:lnTo>
                    <a:pt x="252" y="120"/>
                  </a:lnTo>
                  <a:lnTo>
                    <a:pt x="246" y="113"/>
                  </a:lnTo>
                  <a:lnTo>
                    <a:pt x="237" y="99"/>
                  </a:lnTo>
                  <a:lnTo>
                    <a:pt x="228" y="83"/>
                  </a:lnTo>
                  <a:lnTo>
                    <a:pt x="220" y="68"/>
                  </a:lnTo>
                  <a:lnTo>
                    <a:pt x="209" y="55"/>
                  </a:lnTo>
                  <a:lnTo>
                    <a:pt x="204" y="49"/>
                  </a:lnTo>
                  <a:lnTo>
                    <a:pt x="197" y="47"/>
                  </a:lnTo>
                  <a:lnTo>
                    <a:pt x="189" y="44"/>
                  </a:lnTo>
                  <a:lnTo>
                    <a:pt x="181" y="43"/>
                  </a:lnTo>
                  <a:lnTo>
                    <a:pt x="165" y="43"/>
                  </a:lnTo>
                  <a:lnTo>
                    <a:pt x="153" y="43"/>
                  </a:lnTo>
                  <a:lnTo>
                    <a:pt x="144" y="43"/>
                  </a:lnTo>
                  <a:lnTo>
                    <a:pt x="138" y="43"/>
                  </a:lnTo>
                  <a:lnTo>
                    <a:pt x="129" y="41"/>
                  </a:lnTo>
                  <a:lnTo>
                    <a:pt x="121" y="39"/>
                  </a:lnTo>
                  <a:lnTo>
                    <a:pt x="114" y="35"/>
                  </a:lnTo>
                  <a:lnTo>
                    <a:pt x="110" y="28"/>
                  </a:lnTo>
                  <a:lnTo>
                    <a:pt x="101" y="15"/>
                  </a:lnTo>
                  <a:lnTo>
                    <a:pt x="90" y="0"/>
                  </a:lnTo>
                  <a:lnTo>
                    <a:pt x="82" y="8"/>
                  </a:lnTo>
                  <a:lnTo>
                    <a:pt x="76" y="16"/>
                  </a:lnTo>
                  <a:lnTo>
                    <a:pt x="72" y="24"/>
                  </a:lnTo>
                  <a:lnTo>
                    <a:pt x="68" y="33"/>
                  </a:lnTo>
                  <a:lnTo>
                    <a:pt x="61" y="51"/>
                  </a:lnTo>
                  <a:lnTo>
                    <a:pt x="54" y="67"/>
                  </a:lnTo>
                  <a:lnTo>
                    <a:pt x="48" y="75"/>
                  </a:lnTo>
                  <a:lnTo>
                    <a:pt x="41" y="83"/>
                  </a:lnTo>
                  <a:lnTo>
                    <a:pt x="32" y="88"/>
                  </a:lnTo>
                  <a:lnTo>
                    <a:pt x="22" y="95"/>
                  </a:lnTo>
                  <a:lnTo>
                    <a:pt x="14" y="101"/>
                  </a:lnTo>
                  <a:lnTo>
                    <a:pt x="6" y="108"/>
                  </a:lnTo>
                  <a:lnTo>
                    <a:pt x="4" y="112"/>
                  </a:lnTo>
                  <a:lnTo>
                    <a:pt x="1" y="117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1" y="137"/>
                  </a:lnTo>
                  <a:lnTo>
                    <a:pt x="2" y="147"/>
                  </a:lnTo>
                  <a:lnTo>
                    <a:pt x="5" y="153"/>
                  </a:lnTo>
                  <a:lnTo>
                    <a:pt x="8" y="159"/>
                  </a:lnTo>
                  <a:lnTo>
                    <a:pt x="12" y="164"/>
                  </a:lnTo>
                  <a:lnTo>
                    <a:pt x="16" y="168"/>
                  </a:lnTo>
                  <a:lnTo>
                    <a:pt x="21" y="171"/>
                  </a:lnTo>
                  <a:lnTo>
                    <a:pt x="26" y="173"/>
                  </a:lnTo>
                  <a:lnTo>
                    <a:pt x="37" y="177"/>
                  </a:lnTo>
                  <a:lnTo>
                    <a:pt x="48" y="181"/>
                  </a:lnTo>
                  <a:lnTo>
                    <a:pt x="53" y="183"/>
                  </a:lnTo>
                  <a:lnTo>
                    <a:pt x="58" y="185"/>
                  </a:lnTo>
                  <a:lnTo>
                    <a:pt x="62" y="189"/>
                  </a:lnTo>
                  <a:lnTo>
                    <a:pt x="66" y="193"/>
                  </a:lnTo>
                  <a:lnTo>
                    <a:pt x="70" y="201"/>
                  </a:lnTo>
                  <a:lnTo>
                    <a:pt x="73" y="209"/>
                  </a:lnTo>
                  <a:lnTo>
                    <a:pt x="76" y="216"/>
                  </a:lnTo>
                  <a:lnTo>
                    <a:pt x="77" y="224"/>
                  </a:lnTo>
                  <a:lnTo>
                    <a:pt x="78" y="237"/>
                  </a:lnTo>
                  <a:lnTo>
                    <a:pt x="78" y="251"/>
                  </a:lnTo>
                  <a:lnTo>
                    <a:pt x="80" y="264"/>
                  </a:lnTo>
                  <a:lnTo>
                    <a:pt x="82" y="276"/>
                  </a:lnTo>
                  <a:lnTo>
                    <a:pt x="84" y="281"/>
                  </a:lnTo>
                  <a:lnTo>
                    <a:pt x="88" y="287"/>
                  </a:lnTo>
                  <a:lnTo>
                    <a:pt x="92" y="291"/>
                  </a:lnTo>
                  <a:lnTo>
                    <a:pt x="96" y="296"/>
                  </a:lnTo>
                  <a:lnTo>
                    <a:pt x="108" y="301"/>
                  </a:lnTo>
                  <a:lnTo>
                    <a:pt x="122" y="307"/>
                  </a:lnTo>
                  <a:lnTo>
                    <a:pt x="140" y="311"/>
                  </a:lnTo>
                  <a:lnTo>
                    <a:pt x="157" y="315"/>
                  </a:lnTo>
                  <a:lnTo>
                    <a:pt x="173" y="320"/>
                  </a:lnTo>
                  <a:lnTo>
                    <a:pt x="186" y="327"/>
                  </a:lnTo>
                  <a:lnTo>
                    <a:pt x="192" y="329"/>
                  </a:lnTo>
                  <a:lnTo>
                    <a:pt x="196" y="333"/>
                  </a:lnTo>
                  <a:lnTo>
                    <a:pt x="198" y="339"/>
                  </a:lnTo>
                  <a:lnTo>
                    <a:pt x="198" y="344"/>
                  </a:lnTo>
                  <a:lnTo>
                    <a:pt x="198" y="360"/>
                  </a:lnTo>
                  <a:lnTo>
                    <a:pt x="198" y="379"/>
                  </a:lnTo>
                  <a:lnTo>
                    <a:pt x="198" y="397"/>
                  </a:lnTo>
                  <a:lnTo>
                    <a:pt x="198" y="411"/>
                  </a:lnTo>
                  <a:lnTo>
                    <a:pt x="197" y="431"/>
                  </a:lnTo>
                  <a:lnTo>
                    <a:pt x="194" y="449"/>
                  </a:lnTo>
                  <a:lnTo>
                    <a:pt x="194" y="458"/>
                  </a:lnTo>
                  <a:lnTo>
                    <a:pt x="196" y="468"/>
                  </a:lnTo>
                  <a:lnTo>
                    <a:pt x="200" y="477"/>
                  </a:lnTo>
                  <a:lnTo>
                    <a:pt x="205" y="488"/>
                  </a:lnTo>
                  <a:lnTo>
                    <a:pt x="208" y="493"/>
                  </a:lnTo>
                  <a:lnTo>
                    <a:pt x="210" y="497"/>
                  </a:lnTo>
                  <a:lnTo>
                    <a:pt x="213" y="501"/>
                  </a:lnTo>
                  <a:lnTo>
                    <a:pt x="217" y="504"/>
                  </a:lnTo>
                  <a:lnTo>
                    <a:pt x="226" y="506"/>
                  </a:lnTo>
                  <a:lnTo>
                    <a:pt x="234" y="509"/>
                  </a:lnTo>
                  <a:lnTo>
                    <a:pt x="244" y="512"/>
                  </a:lnTo>
                  <a:lnTo>
                    <a:pt x="252" y="516"/>
                  </a:lnTo>
                  <a:lnTo>
                    <a:pt x="256" y="518"/>
                  </a:lnTo>
                  <a:lnTo>
                    <a:pt x="260" y="521"/>
                  </a:lnTo>
                  <a:lnTo>
                    <a:pt x="262" y="525"/>
                  </a:lnTo>
                  <a:lnTo>
                    <a:pt x="265" y="530"/>
                  </a:lnTo>
                  <a:lnTo>
                    <a:pt x="285" y="572"/>
                  </a:lnTo>
                  <a:lnTo>
                    <a:pt x="307" y="614"/>
                  </a:lnTo>
                  <a:lnTo>
                    <a:pt x="323" y="649"/>
                  </a:lnTo>
                  <a:lnTo>
                    <a:pt x="331" y="66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82" name="Freeform 78"/>
            <p:cNvSpPr>
              <a:spLocks/>
            </p:cNvSpPr>
            <p:nvPr/>
          </p:nvSpPr>
          <p:spPr bwMode="auto">
            <a:xfrm>
              <a:off x="2724472" y="3171825"/>
              <a:ext cx="98425" cy="84137"/>
            </a:xfrm>
            <a:custGeom>
              <a:avLst/>
              <a:gdLst/>
              <a:ahLst/>
              <a:cxnLst>
                <a:cxn ang="0">
                  <a:pos x="174" y="89"/>
                </a:cxn>
                <a:cxn ang="0">
                  <a:pos x="172" y="89"/>
                </a:cxn>
                <a:cxn ang="0">
                  <a:pos x="169" y="87"/>
                </a:cxn>
                <a:cxn ang="0">
                  <a:pos x="166" y="83"/>
                </a:cxn>
                <a:cxn ang="0">
                  <a:pos x="162" y="77"/>
                </a:cxn>
                <a:cxn ang="0">
                  <a:pos x="156" y="64"/>
                </a:cxn>
                <a:cxn ang="0">
                  <a:pos x="148" y="50"/>
                </a:cxn>
                <a:cxn ang="0">
                  <a:pos x="134" y="19"/>
                </a:cxn>
                <a:cxn ang="0">
                  <a:pos x="126" y="0"/>
                </a:cxn>
                <a:cxn ang="0">
                  <a:pos x="116" y="2"/>
                </a:cxn>
                <a:cxn ang="0">
                  <a:pos x="105" y="3"/>
                </a:cxn>
                <a:cxn ang="0">
                  <a:pos x="94" y="7"/>
                </a:cxn>
                <a:cxn ang="0">
                  <a:pos x="84" y="10"/>
                </a:cxn>
                <a:cxn ang="0">
                  <a:pos x="73" y="15"/>
                </a:cxn>
                <a:cxn ang="0">
                  <a:pos x="62" y="20"/>
                </a:cxn>
                <a:cxn ang="0">
                  <a:pos x="53" y="26"/>
                </a:cxn>
                <a:cxn ang="0">
                  <a:pos x="42" y="34"/>
                </a:cxn>
                <a:cxn ang="0">
                  <a:pos x="34" y="40"/>
                </a:cxn>
                <a:cxn ang="0">
                  <a:pos x="27" y="50"/>
                </a:cxn>
                <a:cxn ang="0">
                  <a:pos x="19" y="59"/>
                </a:cxn>
                <a:cxn ang="0">
                  <a:pos x="12" y="69"/>
                </a:cxn>
                <a:cxn ang="0">
                  <a:pos x="8" y="80"/>
                </a:cxn>
                <a:cxn ang="0">
                  <a:pos x="4" y="92"/>
                </a:cxn>
                <a:cxn ang="0">
                  <a:pos x="1" y="105"/>
                </a:cxn>
                <a:cxn ang="0">
                  <a:pos x="0" y="120"/>
                </a:cxn>
                <a:cxn ang="0">
                  <a:pos x="0" y="133"/>
                </a:cxn>
                <a:cxn ang="0">
                  <a:pos x="1" y="144"/>
                </a:cxn>
                <a:cxn ang="0">
                  <a:pos x="1" y="153"/>
                </a:cxn>
                <a:cxn ang="0">
                  <a:pos x="4" y="161"/>
                </a:cxn>
                <a:cxn ang="0">
                  <a:pos x="8" y="167"/>
                </a:cxn>
                <a:cxn ang="0">
                  <a:pos x="13" y="171"/>
                </a:cxn>
                <a:cxn ang="0">
                  <a:pos x="20" y="173"/>
                </a:cxn>
                <a:cxn ang="0">
                  <a:pos x="31" y="175"/>
                </a:cxn>
                <a:cxn ang="0">
                  <a:pos x="42" y="173"/>
                </a:cxn>
                <a:cxn ang="0">
                  <a:pos x="54" y="172"/>
                </a:cxn>
                <a:cxn ang="0">
                  <a:pos x="65" y="168"/>
                </a:cxn>
                <a:cxn ang="0">
                  <a:pos x="74" y="165"/>
                </a:cxn>
                <a:cxn ang="0">
                  <a:pos x="82" y="161"/>
                </a:cxn>
                <a:cxn ang="0">
                  <a:pos x="92" y="159"/>
                </a:cxn>
                <a:cxn ang="0">
                  <a:pos x="100" y="157"/>
                </a:cxn>
                <a:cxn ang="0">
                  <a:pos x="109" y="156"/>
                </a:cxn>
                <a:cxn ang="0">
                  <a:pos x="132" y="156"/>
                </a:cxn>
                <a:cxn ang="0">
                  <a:pos x="148" y="156"/>
                </a:cxn>
                <a:cxn ang="0">
                  <a:pos x="162" y="156"/>
                </a:cxn>
                <a:cxn ang="0">
                  <a:pos x="174" y="156"/>
                </a:cxn>
                <a:cxn ang="0">
                  <a:pos x="182" y="156"/>
                </a:cxn>
                <a:cxn ang="0">
                  <a:pos x="192" y="153"/>
                </a:cxn>
                <a:cxn ang="0">
                  <a:pos x="197" y="151"/>
                </a:cxn>
                <a:cxn ang="0">
                  <a:pos x="201" y="147"/>
                </a:cxn>
                <a:cxn ang="0">
                  <a:pos x="204" y="140"/>
                </a:cxn>
                <a:cxn ang="0">
                  <a:pos x="205" y="132"/>
                </a:cxn>
                <a:cxn ang="0">
                  <a:pos x="204" y="125"/>
                </a:cxn>
                <a:cxn ang="0">
                  <a:pos x="202" y="117"/>
                </a:cxn>
                <a:cxn ang="0">
                  <a:pos x="198" y="111"/>
                </a:cxn>
                <a:cxn ang="0">
                  <a:pos x="194" y="104"/>
                </a:cxn>
                <a:cxn ang="0">
                  <a:pos x="189" y="99"/>
                </a:cxn>
                <a:cxn ang="0">
                  <a:pos x="185" y="93"/>
                </a:cxn>
                <a:cxn ang="0">
                  <a:pos x="180" y="91"/>
                </a:cxn>
                <a:cxn ang="0">
                  <a:pos x="174" y="89"/>
                </a:cxn>
              </a:cxnLst>
              <a:rect l="0" t="0" r="r" b="b"/>
              <a:pathLst>
                <a:path w="205" h="175">
                  <a:moveTo>
                    <a:pt x="174" y="89"/>
                  </a:moveTo>
                  <a:lnTo>
                    <a:pt x="172" y="89"/>
                  </a:lnTo>
                  <a:lnTo>
                    <a:pt x="169" y="87"/>
                  </a:lnTo>
                  <a:lnTo>
                    <a:pt x="166" y="83"/>
                  </a:lnTo>
                  <a:lnTo>
                    <a:pt x="162" y="77"/>
                  </a:lnTo>
                  <a:lnTo>
                    <a:pt x="156" y="64"/>
                  </a:lnTo>
                  <a:lnTo>
                    <a:pt x="148" y="50"/>
                  </a:lnTo>
                  <a:lnTo>
                    <a:pt x="134" y="19"/>
                  </a:lnTo>
                  <a:lnTo>
                    <a:pt x="126" y="0"/>
                  </a:lnTo>
                  <a:lnTo>
                    <a:pt x="116" y="2"/>
                  </a:lnTo>
                  <a:lnTo>
                    <a:pt x="105" y="3"/>
                  </a:lnTo>
                  <a:lnTo>
                    <a:pt x="94" y="7"/>
                  </a:lnTo>
                  <a:lnTo>
                    <a:pt x="84" y="10"/>
                  </a:lnTo>
                  <a:lnTo>
                    <a:pt x="73" y="15"/>
                  </a:lnTo>
                  <a:lnTo>
                    <a:pt x="62" y="20"/>
                  </a:lnTo>
                  <a:lnTo>
                    <a:pt x="53" y="26"/>
                  </a:lnTo>
                  <a:lnTo>
                    <a:pt x="42" y="34"/>
                  </a:lnTo>
                  <a:lnTo>
                    <a:pt x="34" y="40"/>
                  </a:lnTo>
                  <a:lnTo>
                    <a:pt x="27" y="50"/>
                  </a:lnTo>
                  <a:lnTo>
                    <a:pt x="19" y="59"/>
                  </a:lnTo>
                  <a:lnTo>
                    <a:pt x="12" y="69"/>
                  </a:lnTo>
                  <a:lnTo>
                    <a:pt x="8" y="80"/>
                  </a:lnTo>
                  <a:lnTo>
                    <a:pt x="4" y="92"/>
                  </a:lnTo>
                  <a:lnTo>
                    <a:pt x="1" y="105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1" y="144"/>
                  </a:lnTo>
                  <a:lnTo>
                    <a:pt x="1" y="153"/>
                  </a:lnTo>
                  <a:lnTo>
                    <a:pt x="4" y="161"/>
                  </a:lnTo>
                  <a:lnTo>
                    <a:pt x="8" y="167"/>
                  </a:lnTo>
                  <a:lnTo>
                    <a:pt x="13" y="171"/>
                  </a:lnTo>
                  <a:lnTo>
                    <a:pt x="20" y="173"/>
                  </a:lnTo>
                  <a:lnTo>
                    <a:pt x="31" y="175"/>
                  </a:lnTo>
                  <a:lnTo>
                    <a:pt x="42" y="173"/>
                  </a:lnTo>
                  <a:lnTo>
                    <a:pt x="54" y="172"/>
                  </a:lnTo>
                  <a:lnTo>
                    <a:pt x="65" y="168"/>
                  </a:lnTo>
                  <a:lnTo>
                    <a:pt x="74" y="165"/>
                  </a:lnTo>
                  <a:lnTo>
                    <a:pt x="82" y="161"/>
                  </a:lnTo>
                  <a:lnTo>
                    <a:pt x="92" y="159"/>
                  </a:lnTo>
                  <a:lnTo>
                    <a:pt x="100" y="157"/>
                  </a:lnTo>
                  <a:lnTo>
                    <a:pt x="109" y="156"/>
                  </a:lnTo>
                  <a:lnTo>
                    <a:pt x="132" y="156"/>
                  </a:lnTo>
                  <a:lnTo>
                    <a:pt x="148" y="156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2" y="156"/>
                  </a:lnTo>
                  <a:lnTo>
                    <a:pt x="192" y="153"/>
                  </a:lnTo>
                  <a:lnTo>
                    <a:pt x="197" y="151"/>
                  </a:lnTo>
                  <a:lnTo>
                    <a:pt x="201" y="147"/>
                  </a:lnTo>
                  <a:lnTo>
                    <a:pt x="204" y="140"/>
                  </a:lnTo>
                  <a:lnTo>
                    <a:pt x="205" y="132"/>
                  </a:lnTo>
                  <a:lnTo>
                    <a:pt x="204" y="125"/>
                  </a:lnTo>
                  <a:lnTo>
                    <a:pt x="202" y="117"/>
                  </a:lnTo>
                  <a:lnTo>
                    <a:pt x="198" y="111"/>
                  </a:lnTo>
                  <a:lnTo>
                    <a:pt x="194" y="104"/>
                  </a:lnTo>
                  <a:lnTo>
                    <a:pt x="189" y="99"/>
                  </a:lnTo>
                  <a:lnTo>
                    <a:pt x="185" y="93"/>
                  </a:lnTo>
                  <a:lnTo>
                    <a:pt x="180" y="91"/>
                  </a:lnTo>
                  <a:lnTo>
                    <a:pt x="174" y="8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83" name="Freeform 79"/>
            <p:cNvSpPr>
              <a:spLocks/>
            </p:cNvSpPr>
            <p:nvPr/>
          </p:nvSpPr>
          <p:spPr bwMode="auto">
            <a:xfrm>
              <a:off x="1852934" y="3987800"/>
              <a:ext cx="555625" cy="650875"/>
            </a:xfrm>
            <a:custGeom>
              <a:avLst/>
              <a:gdLst/>
              <a:ahLst/>
              <a:cxnLst>
                <a:cxn ang="0">
                  <a:pos x="1045" y="534"/>
                </a:cxn>
                <a:cxn ang="0">
                  <a:pos x="1117" y="581"/>
                </a:cxn>
                <a:cxn ang="0">
                  <a:pos x="1143" y="632"/>
                </a:cxn>
                <a:cxn ang="0">
                  <a:pos x="1114" y="690"/>
                </a:cxn>
                <a:cxn ang="0">
                  <a:pos x="1037" y="745"/>
                </a:cxn>
                <a:cxn ang="0">
                  <a:pos x="1017" y="825"/>
                </a:cxn>
                <a:cxn ang="0">
                  <a:pos x="985" y="941"/>
                </a:cxn>
                <a:cxn ang="0">
                  <a:pos x="906" y="965"/>
                </a:cxn>
                <a:cxn ang="0">
                  <a:pos x="762" y="874"/>
                </a:cxn>
                <a:cxn ang="0">
                  <a:pos x="717" y="889"/>
                </a:cxn>
                <a:cxn ang="0">
                  <a:pos x="677" y="977"/>
                </a:cxn>
                <a:cxn ang="0">
                  <a:pos x="636" y="1039"/>
                </a:cxn>
                <a:cxn ang="0">
                  <a:pos x="590" y="1039"/>
                </a:cxn>
                <a:cxn ang="0">
                  <a:pos x="540" y="1033"/>
                </a:cxn>
                <a:cxn ang="0">
                  <a:pos x="510" y="1082"/>
                </a:cxn>
                <a:cxn ang="0">
                  <a:pos x="493" y="1171"/>
                </a:cxn>
                <a:cxn ang="0">
                  <a:pos x="437" y="1221"/>
                </a:cxn>
                <a:cxn ang="0">
                  <a:pos x="424" y="1303"/>
                </a:cxn>
                <a:cxn ang="0">
                  <a:pos x="378" y="1299"/>
                </a:cxn>
                <a:cxn ang="0">
                  <a:pos x="321" y="1167"/>
                </a:cxn>
                <a:cxn ang="0">
                  <a:pos x="340" y="1109"/>
                </a:cxn>
                <a:cxn ang="0">
                  <a:pos x="337" y="1061"/>
                </a:cxn>
                <a:cxn ang="0">
                  <a:pos x="325" y="1009"/>
                </a:cxn>
                <a:cxn ang="0">
                  <a:pos x="300" y="977"/>
                </a:cxn>
                <a:cxn ang="0">
                  <a:pos x="292" y="935"/>
                </a:cxn>
                <a:cxn ang="0">
                  <a:pos x="247" y="919"/>
                </a:cxn>
                <a:cxn ang="0">
                  <a:pos x="213" y="887"/>
                </a:cxn>
                <a:cxn ang="0">
                  <a:pos x="120" y="873"/>
                </a:cxn>
                <a:cxn ang="0">
                  <a:pos x="56" y="837"/>
                </a:cxn>
                <a:cxn ang="0">
                  <a:pos x="5" y="799"/>
                </a:cxn>
                <a:cxn ang="0">
                  <a:pos x="19" y="746"/>
                </a:cxn>
                <a:cxn ang="0">
                  <a:pos x="80" y="701"/>
                </a:cxn>
                <a:cxn ang="0">
                  <a:pos x="129" y="714"/>
                </a:cxn>
                <a:cxn ang="0">
                  <a:pos x="183" y="708"/>
                </a:cxn>
                <a:cxn ang="0">
                  <a:pos x="165" y="593"/>
                </a:cxn>
                <a:cxn ang="0">
                  <a:pos x="140" y="510"/>
                </a:cxn>
                <a:cxn ang="0">
                  <a:pos x="179" y="465"/>
                </a:cxn>
                <a:cxn ang="0">
                  <a:pos x="342" y="460"/>
                </a:cxn>
                <a:cxn ang="0">
                  <a:pos x="377" y="433"/>
                </a:cxn>
                <a:cxn ang="0">
                  <a:pos x="393" y="318"/>
                </a:cxn>
                <a:cxn ang="0">
                  <a:pos x="433" y="156"/>
                </a:cxn>
                <a:cxn ang="0">
                  <a:pos x="574" y="5"/>
                </a:cxn>
                <a:cxn ang="0">
                  <a:pos x="642" y="7"/>
                </a:cxn>
                <a:cxn ang="0">
                  <a:pos x="674" y="39"/>
                </a:cxn>
                <a:cxn ang="0">
                  <a:pos x="681" y="111"/>
                </a:cxn>
                <a:cxn ang="0">
                  <a:pos x="652" y="185"/>
                </a:cxn>
                <a:cxn ang="0">
                  <a:pos x="602" y="309"/>
                </a:cxn>
                <a:cxn ang="0">
                  <a:pos x="572" y="349"/>
                </a:cxn>
                <a:cxn ang="0">
                  <a:pos x="614" y="390"/>
                </a:cxn>
                <a:cxn ang="0">
                  <a:pos x="609" y="512"/>
                </a:cxn>
                <a:cxn ang="0">
                  <a:pos x="650" y="546"/>
                </a:cxn>
                <a:cxn ang="0">
                  <a:pos x="716" y="486"/>
                </a:cxn>
                <a:cxn ang="0">
                  <a:pos x="796" y="484"/>
                </a:cxn>
                <a:cxn ang="0">
                  <a:pos x="857" y="481"/>
                </a:cxn>
                <a:cxn ang="0">
                  <a:pos x="896" y="513"/>
                </a:cxn>
                <a:cxn ang="0">
                  <a:pos x="926" y="522"/>
                </a:cxn>
                <a:cxn ang="0">
                  <a:pos x="976" y="490"/>
                </a:cxn>
              </a:cxnLst>
              <a:rect l="0" t="0" r="r" b="b"/>
              <a:pathLst>
                <a:path w="1143" h="1342">
                  <a:moveTo>
                    <a:pt x="1024" y="488"/>
                  </a:moveTo>
                  <a:lnTo>
                    <a:pt x="1025" y="494"/>
                  </a:lnTo>
                  <a:lnTo>
                    <a:pt x="1026" y="502"/>
                  </a:lnTo>
                  <a:lnTo>
                    <a:pt x="1028" y="509"/>
                  </a:lnTo>
                  <a:lnTo>
                    <a:pt x="1030" y="514"/>
                  </a:lnTo>
                  <a:lnTo>
                    <a:pt x="1037" y="525"/>
                  </a:lnTo>
                  <a:lnTo>
                    <a:pt x="1045" y="534"/>
                  </a:lnTo>
                  <a:lnTo>
                    <a:pt x="1054" y="542"/>
                  </a:lnTo>
                  <a:lnTo>
                    <a:pt x="1065" y="549"/>
                  </a:lnTo>
                  <a:lnTo>
                    <a:pt x="1075" y="556"/>
                  </a:lnTo>
                  <a:lnTo>
                    <a:pt x="1086" y="562"/>
                  </a:lnTo>
                  <a:lnTo>
                    <a:pt x="1097" y="568"/>
                  </a:lnTo>
                  <a:lnTo>
                    <a:pt x="1107" y="574"/>
                  </a:lnTo>
                  <a:lnTo>
                    <a:pt x="1117" y="581"/>
                  </a:lnTo>
                  <a:lnTo>
                    <a:pt x="1126" y="588"/>
                  </a:lnTo>
                  <a:lnTo>
                    <a:pt x="1133" y="597"/>
                  </a:lnTo>
                  <a:lnTo>
                    <a:pt x="1139" y="606"/>
                  </a:lnTo>
                  <a:lnTo>
                    <a:pt x="1141" y="612"/>
                  </a:lnTo>
                  <a:lnTo>
                    <a:pt x="1142" y="618"/>
                  </a:lnTo>
                  <a:lnTo>
                    <a:pt x="1143" y="625"/>
                  </a:lnTo>
                  <a:lnTo>
                    <a:pt x="1143" y="632"/>
                  </a:lnTo>
                  <a:lnTo>
                    <a:pt x="1143" y="640"/>
                  </a:lnTo>
                  <a:lnTo>
                    <a:pt x="1142" y="646"/>
                  </a:lnTo>
                  <a:lnTo>
                    <a:pt x="1141" y="653"/>
                  </a:lnTo>
                  <a:lnTo>
                    <a:pt x="1138" y="660"/>
                  </a:lnTo>
                  <a:lnTo>
                    <a:pt x="1133" y="670"/>
                  </a:lnTo>
                  <a:lnTo>
                    <a:pt x="1123" y="681"/>
                  </a:lnTo>
                  <a:lnTo>
                    <a:pt x="1114" y="690"/>
                  </a:lnTo>
                  <a:lnTo>
                    <a:pt x="1103" y="698"/>
                  </a:lnTo>
                  <a:lnTo>
                    <a:pt x="1093" y="706"/>
                  </a:lnTo>
                  <a:lnTo>
                    <a:pt x="1081" y="713"/>
                  </a:lnTo>
                  <a:lnTo>
                    <a:pt x="1069" y="721"/>
                  </a:lnTo>
                  <a:lnTo>
                    <a:pt x="1057" y="727"/>
                  </a:lnTo>
                  <a:lnTo>
                    <a:pt x="1046" y="737"/>
                  </a:lnTo>
                  <a:lnTo>
                    <a:pt x="1037" y="745"/>
                  </a:lnTo>
                  <a:lnTo>
                    <a:pt x="1029" y="755"/>
                  </a:lnTo>
                  <a:lnTo>
                    <a:pt x="1022" y="766"/>
                  </a:lnTo>
                  <a:lnTo>
                    <a:pt x="1021" y="773"/>
                  </a:lnTo>
                  <a:lnTo>
                    <a:pt x="1018" y="779"/>
                  </a:lnTo>
                  <a:lnTo>
                    <a:pt x="1018" y="786"/>
                  </a:lnTo>
                  <a:lnTo>
                    <a:pt x="1017" y="794"/>
                  </a:lnTo>
                  <a:lnTo>
                    <a:pt x="1017" y="825"/>
                  </a:lnTo>
                  <a:lnTo>
                    <a:pt x="1017" y="853"/>
                  </a:lnTo>
                  <a:lnTo>
                    <a:pt x="1017" y="882"/>
                  </a:lnTo>
                  <a:lnTo>
                    <a:pt x="1017" y="915"/>
                  </a:lnTo>
                  <a:lnTo>
                    <a:pt x="1012" y="927"/>
                  </a:lnTo>
                  <a:lnTo>
                    <a:pt x="1002" y="930"/>
                  </a:lnTo>
                  <a:lnTo>
                    <a:pt x="993" y="934"/>
                  </a:lnTo>
                  <a:lnTo>
                    <a:pt x="985" y="941"/>
                  </a:lnTo>
                  <a:lnTo>
                    <a:pt x="977" y="949"/>
                  </a:lnTo>
                  <a:lnTo>
                    <a:pt x="969" y="958"/>
                  </a:lnTo>
                  <a:lnTo>
                    <a:pt x="962" y="969"/>
                  </a:lnTo>
                  <a:lnTo>
                    <a:pt x="957" y="981"/>
                  </a:lnTo>
                  <a:lnTo>
                    <a:pt x="952" y="993"/>
                  </a:lnTo>
                  <a:lnTo>
                    <a:pt x="930" y="981"/>
                  </a:lnTo>
                  <a:lnTo>
                    <a:pt x="906" y="965"/>
                  </a:lnTo>
                  <a:lnTo>
                    <a:pt x="880" y="945"/>
                  </a:lnTo>
                  <a:lnTo>
                    <a:pt x="852" y="923"/>
                  </a:lnTo>
                  <a:lnTo>
                    <a:pt x="824" y="905"/>
                  </a:lnTo>
                  <a:lnTo>
                    <a:pt x="797" y="887"/>
                  </a:lnTo>
                  <a:lnTo>
                    <a:pt x="785" y="882"/>
                  </a:lnTo>
                  <a:lnTo>
                    <a:pt x="773" y="877"/>
                  </a:lnTo>
                  <a:lnTo>
                    <a:pt x="762" y="874"/>
                  </a:lnTo>
                  <a:lnTo>
                    <a:pt x="753" y="873"/>
                  </a:lnTo>
                  <a:lnTo>
                    <a:pt x="745" y="873"/>
                  </a:lnTo>
                  <a:lnTo>
                    <a:pt x="738" y="874"/>
                  </a:lnTo>
                  <a:lnTo>
                    <a:pt x="733" y="877"/>
                  </a:lnTo>
                  <a:lnTo>
                    <a:pt x="728" y="881"/>
                  </a:lnTo>
                  <a:lnTo>
                    <a:pt x="722" y="883"/>
                  </a:lnTo>
                  <a:lnTo>
                    <a:pt x="717" y="889"/>
                  </a:lnTo>
                  <a:lnTo>
                    <a:pt x="713" y="894"/>
                  </a:lnTo>
                  <a:lnTo>
                    <a:pt x="709" y="899"/>
                  </a:lnTo>
                  <a:lnTo>
                    <a:pt x="701" y="913"/>
                  </a:lnTo>
                  <a:lnTo>
                    <a:pt x="694" y="927"/>
                  </a:lnTo>
                  <a:lnTo>
                    <a:pt x="689" y="943"/>
                  </a:lnTo>
                  <a:lnTo>
                    <a:pt x="682" y="959"/>
                  </a:lnTo>
                  <a:lnTo>
                    <a:pt x="677" y="977"/>
                  </a:lnTo>
                  <a:lnTo>
                    <a:pt x="670" y="991"/>
                  </a:lnTo>
                  <a:lnTo>
                    <a:pt x="664" y="1007"/>
                  </a:lnTo>
                  <a:lnTo>
                    <a:pt x="656" y="1019"/>
                  </a:lnTo>
                  <a:lnTo>
                    <a:pt x="650" y="1026"/>
                  </a:lnTo>
                  <a:lnTo>
                    <a:pt x="646" y="1031"/>
                  </a:lnTo>
                  <a:lnTo>
                    <a:pt x="641" y="1035"/>
                  </a:lnTo>
                  <a:lnTo>
                    <a:pt x="636" y="1039"/>
                  </a:lnTo>
                  <a:lnTo>
                    <a:pt x="629" y="1043"/>
                  </a:lnTo>
                  <a:lnTo>
                    <a:pt x="622" y="1045"/>
                  </a:lnTo>
                  <a:lnTo>
                    <a:pt x="616" y="1047"/>
                  </a:lnTo>
                  <a:lnTo>
                    <a:pt x="608" y="1047"/>
                  </a:lnTo>
                  <a:lnTo>
                    <a:pt x="600" y="1046"/>
                  </a:lnTo>
                  <a:lnTo>
                    <a:pt x="594" y="1043"/>
                  </a:lnTo>
                  <a:lnTo>
                    <a:pt x="590" y="1039"/>
                  </a:lnTo>
                  <a:lnTo>
                    <a:pt x="586" y="1035"/>
                  </a:lnTo>
                  <a:lnTo>
                    <a:pt x="584" y="1031"/>
                  </a:lnTo>
                  <a:lnTo>
                    <a:pt x="580" y="1027"/>
                  </a:lnTo>
                  <a:lnTo>
                    <a:pt x="573" y="1025"/>
                  </a:lnTo>
                  <a:lnTo>
                    <a:pt x="566" y="1023"/>
                  </a:lnTo>
                  <a:lnTo>
                    <a:pt x="556" y="1026"/>
                  </a:lnTo>
                  <a:lnTo>
                    <a:pt x="540" y="1033"/>
                  </a:lnTo>
                  <a:lnTo>
                    <a:pt x="532" y="1037"/>
                  </a:lnTo>
                  <a:lnTo>
                    <a:pt x="524" y="1041"/>
                  </a:lnTo>
                  <a:lnTo>
                    <a:pt x="520" y="1045"/>
                  </a:lnTo>
                  <a:lnTo>
                    <a:pt x="517" y="1047"/>
                  </a:lnTo>
                  <a:lnTo>
                    <a:pt x="514" y="1057"/>
                  </a:lnTo>
                  <a:lnTo>
                    <a:pt x="512" y="1069"/>
                  </a:lnTo>
                  <a:lnTo>
                    <a:pt x="510" y="1082"/>
                  </a:lnTo>
                  <a:lnTo>
                    <a:pt x="509" y="1097"/>
                  </a:lnTo>
                  <a:lnTo>
                    <a:pt x="508" y="1111"/>
                  </a:lnTo>
                  <a:lnTo>
                    <a:pt x="506" y="1127"/>
                  </a:lnTo>
                  <a:lnTo>
                    <a:pt x="504" y="1142"/>
                  </a:lnTo>
                  <a:lnTo>
                    <a:pt x="500" y="1155"/>
                  </a:lnTo>
                  <a:lnTo>
                    <a:pt x="497" y="1165"/>
                  </a:lnTo>
                  <a:lnTo>
                    <a:pt x="493" y="1171"/>
                  </a:lnTo>
                  <a:lnTo>
                    <a:pt x="488" y="1178"/>
                  </a:lnTo>
                  <a:lnTo>
                    <a:pt x="482" y="1183"/>
                  </a:lnTo>
                  <a:lnTo>
                    <a:pt x="469" y="1194"/>
                  </a:lnTo>
                  <a:lnTo>
                    <a:pt x="456" y="1203"/>
                  </a:lnTo>
                  <a:lnTo>
                    <a:pt x="449" y="1209"/>
                  </a:lnTo>
                  <a:lnTo>
                    <a:pt x="442" y="1215"/>
                  </a:lnTo>
                  <a:lnTo>
                    <a:pt x="437" y="1221"/>
                  </a:lnTo>
                  <a:lnTo>
                    <a:pt x="432" y="1229"/>
                  </a:lnTo>
                  <a:lnTo>
                    <a:pt x="428" y="1237"/>
                  </a:lnTo>
                  <a:lnTo>
                    <a:pt x="424" y="1246"/>
                  </a:lnTo>
                  <a:lnTo>
                    <a:pt x="422" y="1258"/>
                  </a:lnTo>
                  <a:lnTo>
                    <a:pt x="421" y="1270"/>
                  </a:lnTo>
                  <a:lnTo>
                    <a:pt x="422" y="1287"/>
                  </a:lnTo>
                  <a:lnTo>
                    <a:pt x="424" y="1303"/>
                  </a:lnTo>
                  <a:lnTo>
                    <a:pt x="424" y="1322"/>
                  </a:lnTo>
                  <a:lnTo>
                    <a:pt x="421" y="1342"/>
                  </a:lnTo>
                  <a:lnTo>
                    <a:pt x="413" y="1338"/>
                  </a:lnTo>
                  <a:lnTo>
                    <a:pt x="405" y="1332"/>
                  </a:lnTo>
                  <a:lnTo>
                    <a:pt x="396" y="1323"/>
                  </a:lnTo>
                  <a:lnTo>
                    <a:pt x="388" y="1312"/>
                  </a:lnTo>
                  <a:lnTo>
                    <a:pt x="378" y="1299"/>
                  </a:lnTo>
                  <a:lnTo>
                    <a:pt x="370" y="1286"/>
                  </a:lnTo>
                  <a:lnTo>
                    <a:pt x="362" y="1270"/>
                  </a:lnTo>
                  <a:lnTo>
                    <a:pt x="354" y="1255"/>
                  </a:lnTo>
                  <a:lnTo>
                    <a:pt x="340" y="1223"/>
                  </a:lnTo>
                  <a:lnTo>
                    <a:pt x="329" y="1193"/>
                  </a:lnTo>
                  <a:lnTo>
                    <a:pt x="325" y="1179"/>
                  </a:lnTo>
                  <a:lnTo>
                    <a:pt x="321" y="1167"/>
                  </a:lnTo>
                  <a:lnTo>
                    <a:pt x="320" y="1158"/>
                  </a:lnTo>
                  <a:lnTo>
                    <a:pt x="318" y="1150"/>
                  </a:lnTo>
                  <a:lnTo>
                    <a:pt x="320" y="1139"/>
                  </a:lnTo>
                  <a:lnTo>
                    <a:pt x="324" y="1130"/>
                  </a:lnTo>
                  <a:lnTo>
                    <a:pt x="328" y="1122"/>
                  </a:lnTo>
                  <a:lnTo>
                    <a:pt x="334" y="1115"/>
                  </a:lnTo>
                  <a:lnTo>
                    <a:pt x="340" y="1109"/>
                  </a:lnTo>
                  <a:lnTo>
                    <a:pt x="344" y="1102"/>
                  </a:lnTo>
                  <a:lnTo>
                    <a:pt x="348" y="1095"/>
                  </a:lnTo>
                  <a:lnTo>
                    <a:pt x="349" y="1090"/>
                  </a:lnTo>
                  <a:lnTo>
                    <a:pt x="348" y="1082"/>
                  </a:lnTo>
                  <a:lnTo>
                    <a:pt x="345" y="1075"/>
                  </a:lnTo>
                  <a:lnTo>
                    <a:pt x="341" y="1067"/>
                  </a:lnTo>
                  <a:lnTo>
                    <a:pt x="337" y="1061"/>
                  </a:lnTo>
                  <a:lnTo>
                    <a:pt x="333" y="1053"/>
                  </a:lnTo>
                  <a:lnTo>
                    <a:pt x="329" y="1046"/>
                  </a:lnTo>
                  <a:lnTo>
                    <a:pt x="326" y="1041"/>
                  </a:lnTo>
                  <a:lnTo>
                    <a:pt x="325" y="1035"/>
                  </a:lnTo>
                  <a:lnTo>
                    <a:pt x="325" y="1027"/>
                  </a:lnTo>
                  <a:lnTo>
                    <a:pt x="325" y="1018"/>
                  </a:lnTo>
                  <a:lnTo>
                    <a:pt x="325" y="1009"/>
                  </a:lnTo>
                  <a:lnTo>
                    <a:pt x="325" y="993"/>
                  </a:lnTo>
                  <a:lnTo>
                    <a:pt x="317" y="993"/>
                  </a:lnTo>
                  <a:lnTo>
                    <a:pt x="312" y="991"/>
                  </a:lnTo>
                  <a:lnTo>
                    <a:pt x="308" y="989"/>
                  </a:lnTo>
                  <a:lnTo>
                    <a:pt x="304" y="985"/>
                  </a:lnTo>
                  <a:lnTo>
                    <a:pt x="301" y="982"/>
                  </a:lnTo>
                  <a:lnTo>
                    <a:pt x="300" y="977"/>
                  </a:lnTo>
                  <a:lnTo>
                    <a:pt x="299" y="973"/>
                  </a:lnTo>
                  <a:lnTo>
                    <a:pt x="299" y="967"/>
                  </a:lnTo>
                  <a:lnTo>
                    <a:pt x="297" y="957"/>
                  </a:lnTo>
                  <a:lnTo>
                    <a:pt x="296" y="947"/>
                  </a:lnTo>
                  <a:lnTo>
                    <a:pt x="296" y="943"/>
                  </a:lnTo>
                  <a:lnTo>
                    <a:pt x="293" y="939"/>
                  </a:lnTo>
                  <a:lnTo>
                    <a:pt x="292" y="935"/>
                  </a:lnTo>
                  <a:lnTo>
                    <a:pt x="289" y="933"/>
                  </a:lnTo>
                  <a:lnTo>
                    <a:pt x="277" y="933"/>
                  </a:lnTo>
                  <a:lnTo>
                    <a:pt x="265" y="933"/>
                  </a:lnTo>
                  <a:lnTo>
                    <a:pt x="259" y="931"/>
                  </a:lnTo>
                  <a:lnTo>
                    <a:pt x="255" y="929"/>
                  </a:lnTo>
                  <a:lnTo>
                    <a:pt x="251" y="925"/>
                  </a:lnTo>
                  <a:lnTo>
                    <a:pt x="247" y="919"/>
                  </a:lnTo>
                  <a:lnTo>
                    <a:pt x="244" y="914"/>
                  </a:lnTo>
                  <a:lnTo>
                    <a:pt x="240" y="907"/>
                  </a:lnTo>
                  <a:lnTo>
                    <a:pt x="235" y="902"/>
                  </a:lnTo>
                  <a:lnTo>
                    <a:pt x="229" y="897"/>
                  </a:lnTo>
                  <a:lnTo>
                    <a:pt x="224" y="893"/>
                  </a:lnTo>
                  <a:lnTo>
                    <a:pt x="219" y="890"/>
                  </a:lnTo>
                  <a:lnTo>
                    <a:pt x="213" y="887"/>
                  </a:lnTo>
                  <a:lnTo>
                    <a:pt x="208" y="885"/>
                  </a:lnTo>
                  <a:lnTo>
                    <a:pt x="195" y="883"/>
                  </a:lnTo>
                  <a:lnTo>
                    <a:pt x="181" y="882"/>
                  </a:lnTo>
                  <a:lnTo>
                    <a:pt x="167" y="882"/>
                  </a:lnTo>
                  <a:lnTo>
                    <a:pt x="152" y="881"/>
                  </a:lnTo>
                  <a:lnTo>
                    <a:pt x="136" y="878"/>
                  </a:lnTo>
                  <a:lnTo>
                    <a:pt x="120" y="873"/>
                  </a:lnTo>
                  <a:lnTo>
                    <a:pt x="108" y="870"/>
                  </a:lnTo>
                  <a:lnTo>
                    <a:pt x="99" y="866"/>
                  </a:lnTo>
                  <a:lnTo>
                    <a:pt x="91" y="861"/>
                  </a:lnTo>
                  <a:lnTo>
                    <a:pt x="84" y="855"/>
                  </a:lnTo>
                  <a:lnTo>
                    <a:pt x="76" y="850"/>
                  </a:lnTo>
                  <a:lnTo>
                    <a:pt x="67" y="843"/>
                  </a:lnTo>
                  <a:lnTo>
                    <a:pt x="56" y="837"/>
                  </a:lnTo>
                  <a:lnTo>
                    <a:pt x="41" y="830"/>
                  </a:lnTo>
                  <a:lnTo>
                    <a:pt x="37" y="829"/>
                  </a:lnTo>
                  <a:lnTo>
                    <a:pt x="31" y="826"/>
                  </a:lnTo>
                  <a:lnTo>
                    <a:pt x="24" y="821"/>
                  </a:lnTo>
                  <a:lnTo>
                    <a:pt x="16" y="814"/>
                  </a:lnTo>
                  <a:lnTo>
                    <a:pt x="9" y="807"/>
                  </a:lnTo>
                  <a:lnTo>
                    <a:pt x="5" y="799"/>
                  </a:lnTo>
                  <a:lnTo>
                    <a:pt x="1" y="794"/>
                  </a:lnTo>
                  <a:lnTo>
                    <a:pt x="0" y="789"/>
                  </a:lnTo>
                  <a:lnTo>
                    <a:pt x="0" y="782"/>
                  </a:lnTo>
                  <a:lnTo>
                    <a:pt x="3" y="775"/>
                  </a:lnTo>
                  <a:lnTo>
                    <a:pt x="5" y="769"/>
                  </a:lnTo>
                  <a:lnTo>
                    <a:pt x="9" y="762"/>
                  </a:lnTo>
                  <a:lnTo>
                    <a:pt x="19" y="746"/>
                  </a:lnTo>
                  <a:lnTo>
                    <a:pt x="32" y="731"/>
                  </a:lnTo>
                  <a:lnTo>
                    <a:pt x="40" y="725"/>
                  </a:lnTo>
                  <a:lnTo>
                    <a:pt x="47" y="718"/>
                  </a:lnTo>
                  <a:lnTo>
                    <a:pt x="55" y="713"/>
                  </a:lnTo>
                  <a:lnTo>
                    <a:pt x="64" y="708"/>
                  </a:lnTo>
                  <a:lnTo>
                    <a:pt x="72" y="704"/>
                  </a:lnTo>
                  <a:lnTo>
                    <a:pt x="80" y="701"/>
                  </a:lnTo>
                  <a:lnTo>
                    <a:pt x="88" y="698"/>
                  </a:lnTo>
                  <a:lnTo>
                    <a:pt x="96" y="698"/>
                  </a:lnTo>
                  <a:lnTo>
                    <a:pt x="104" y="700"/>
                  </a:lnTo>
                  <a:lnTo>
                    <a:pt x="112" y="702"/>
                  </a:lnTo>
                  <a:lnTo>
                    <a:pt x="117" y="706"/>
                  </a:lnTo>
                  <a:lnTo>
                    <a:pt x="123" y="710"/>
                  </a:lnTo>
                  <a:lnTo>
                    <a:pt x="129" y="714"/>
                  </a:lnTo>
                  <a:lnTo>
                    <a:pt x="135" y="718"/>
                  </a:lnTo>
                  <a:lnTo>
                    <a:pt x="143" y="721"/>
                  </a:lnTo>
                  <a:lnTo>
                    <a:pt x="151" y="722"/>
                  </a:lnTo>
                  <a:lnTo>
                    <a:pt x="159" y="721"/>
                  </a:lnTo>
                  <a:lnTo>
                    <a:pt x="167" y="717"/>
                  </a:lnTo>
                  <a:lnTo>
                    <a:pt x="175" y="713"/>
                  </a:lnTo>
                  <a:lnTo>
                    <a:pt x="183" y="708"/>
                  </a:lnTo>
                  <a:lnTo>
                    <a:pt x="191" y="701"/>
                  </a:lnTo>
                  <a:lnTo>
                    <a:pt x="200" y="697"/>
                  </a:lnTo>
                  <a:lnTo>
                    <a:pt x="211" y="693"/>
                  </a:lnTo>
                  <a:lnTo>
                    <a:pt x="223" y="692"/>
                  </a:lnTo>
                  <a:lnTo>
                    <a:pt x="223" y="662"/>
                  </a:lnTo>
                  <a:lnTo>
                    <a:pt x="199" y="636"/>
                  </a:lnTo>
                  <a:lnTo>
                    <a:pt x="165" y="593"/>
                  </a:lnTo>
                  <a:lnTo>
                    <a:pt x="148" y="572"/>
                  </a:lnTo>
                  <a:lnTo>
                    <a:pt x="133" y="553"/>
                  </a:lnTo>
                  <a:lnTo>
                    <a:pt x="124" y="538"/>
                  </a:lnTo>
                  <a:lnTo>
                    <a:pt x="120" y="529"/>
                  </a:lnTo>
                  <a:lnTo>
                    <a:pt x="123" y="524"/>
                  </a:lnTo>
                  <a:lnTo>
                    <a:pt x="131" y="517"/>
                  </a:lnTo>
                  <a:lnTo>
                    <a:pt x="140" y="510"/>
                  </a:lnTo>
                  <a:lnTo>
                    <a:pt x="151" y="505"/>
                  </a:lnTo>
                  <a:lnTo>
                    <a:pt x="156" y="500"/>
                  </a:lnTo>
                  <a:lnTo>
                    <a:pt x="161" y="493"/>
                  </a:lnTo>
                  <a:lnTo>
                    <a:pt x="165" y="486"/>
                  </a:lnTo>
                  <a:lnTo>
                    <a:pt x="169" y="480"/>
                  </a:lnTo>
                  <a:lnTo>
                    <a:pt x="173" y="472"/>
                  </a:lnTo>
                  <a:lnTo>
                    <a:pt x="179" y="465"/>
                  </a:lnTo>
                  <a:lnTo>
                    <a:pt x="184" y="461"/>
                  </a:lnTo>
                  <a:lnTo>
                    <a:pt x="192" y="457"/>
                  </a:lnTo>
                  <a:lnTo>
                    <a:pt x="237" y="460"/>
                  </a:lnTo>
                  <a:lnTo>
                    <a:pt x="300" y="464"/>
                  </a:lnTo>
                  <a:lnTo>
                    <a:pt x="314" y="464"/>
                  </a:lnTo>
                  <a:lnTo>
                    <a:pt x="329" y="462"/>
                  </a:lnTo>
                  <a:lnTo>
                    <a:pt x="342" y="460"/>
                  </a:lnTo>
                  <a:lnTo>
                    <a:pt x="354" y="456"/>
                  </a:lnTo>
                  <a:lnTo>
                    <a:pt x="360" y="454"/>
                  </a:lnTo>
                  <a:lnTo>
                    <a:pt x="365" y="450"/>
                  </a:lnTo>
                  <a:lnTo>
                    <a:pt x="369" y="448"/>
                  </a:lnTo>
                  <a:lnTo>
                    <a:pt x="373" y="444"/>
                  </a:lnTo>
                  <a:lnTo>
                    <a:pt x="376" y="438"/>
                  </a:lnTo>
                  <a:lnTo>
                    <a:pt x="377" y="433"/>
                  </a:lnTo>
                  <a:lnTo>
                    <a:pt x="378" y="428"/>
                  </a:lnTo>
                  <a:lnTo>
                    <a:pt x="380" y="421"/>
                  </a:lnTo>
                  <a:lnTo>
                    <a:pt x="380" y="401"/>
                  </a:lnTo>
                  <a:lnTo>
                    <a:pt x="381" y="382"/>
                  </a:lnTo>
                  <a:lnTo>
                    <a:pt x="382" y="365"/>
                  </a:lnTo>
                  <a:lnTo>
                    <a:pt x="386" y="349"/>
                  </a:lnTo>
                  <a:lnTo>
                    <a:pt x="393" y="318"/>
                  </a:lnTo>
                  <a:lnTo>
                    <a:pt x="401" y="289"/>
                  </a:lnTo>
                  <a:lnTo>
                    <a:pt x="410" y="258"/>
                  </a:lnTo>
                  <a:lnTo>
                    <a:pt x="420" y="228"/>
                  </a:lnTo>
                  <a:lnTo>
                    <a:pt x="424" y="212"/>
                  </a:lnTo>
                  <a:lnTo>
                    <a:pt x="428" y="194"/>
                  </a:lnTo>
                  <a:lnTo>
                    <a:pt x="430" y="176"/>
                  </a:lnTo>
                  <a:lnTo>
                    <a:pt x="433" y="156"/>
                  </a:lnTo>
                  <a:lnTo>
                    <a:pt x="469" y="112"/>
                  </a:lnTo>
                  <a:lnTo>
                    <a:pt x="502" y="69"/>
                  </a:lnTo>
                  <a:lnTo>
                    <a:pt x="520" y="49"/>
                  </a:lnTo>
                  <a:lnTo>
                    <a:pt x="537" y="31"/>
                  </a:lnTo>
                  <a:lnTo>
                    <a:pt x="554" y="15"/>
                  </a:lnTo>
                  <a:lnTo>
                    <a:pt x="572" y="0"/>
                  </a:lnTo>
                  <a:lnTo>
                    <a:pt x="574" y="5"/>
                  </a:lnTo>
                  <a:lnTo>
                    <a:pt x="578" y="9"/>
                  </a:lnTo>
                  <a:lnTo>
                    <a:pt x="584" y="12"/>
                  </a:lnTo>
                  <a:lnTo>
                    <a:pt x="589" y="13"/>
                  </a:lnTo>
                  <a:lnTo>
                    <a:pt x="601" y="13"/>
                  </a:lnTo>
                  <a:lnTo>
                    <a:pt x="614" y="11"/>
                  </a:lnTo>
                  <a:lnTo>
                    <a:pt x="629" y="8"/>
                  </a:lnTo>
                  <a:lnTo>
                    <a:pt x="642" y="7"/>
                  </a:lnTo>
                  <a:lnTo>
                    <a:pt x="648" y="8"/>
                  </a:lnTo>
                  <a:lnTo>
                    <a:pt x="653" y="9"/>
                  </a:lnTo>
                  <a:lnTo>
                    <a:pt x="658" y="13"/>
                  </a:lnTo>
                  <a:lnTo>
                    <a:pt x="662" y="17"/>
                  </a:lnTo>
                  <a:lnTo>
                    <a:pt x="668" y="24"/>
                  </a:lnTo>
                  <a:lnTo>
                    <a:pt x="672" y="32"/>
                  </a:lnTo>
                  <a:lnTo>
                    <a:pt x="674" y="39"/>
                  </a:lnTo>
                  <a:lnTo>
                    <a:pt x="676" y="45"/>
                  </a:lnTo>
                  <a:lnTo>
                    <a:pt x="678" y="60"/>
                  </a:lnTo>
                  <a:lnTo>
                    <a:pt x="678" y="73"/>
                  </a:lnTo>
                  <a:lnTo>
                    <a:pt x="678" y="87"/>
                  </a:lnTo>
                  <a:lnTo>
                    <a:pt x="680" y="99"/>
                  </a:lnTo>
                  <a:lnTo>
                    <a:pt x="680" y="105"/>
                  </a:lnTo>
                  <a:lnTo>
                    <a:pt x="681" y="111"/>
                  </a:lnTo>
                  <a:lnTo>
                    <a:pt x="684" y="116"/>
                  </a:lnTo>
                  <a:lnTo>
                    <a:pt x="686" y="120"/>
                  </a:lnTo>
                  <a:lnTo>
                    <a:pt x="678" y="129"/>
                  </a:lnTo>
                  <a:lnTo>
                    <a:pt x="672" y="140"/>
                  </a:lnTo>
                  <a:lnTo>
                    <a:pt x="666" y="150"/>
                  </a:lnTo>
                  <a:lnTo>
                    <a:pt x="661" y="161"/>
                  </a:lnTo>
                  <a:lnTo>
                    <a:pt x="652" y="185"/>
                  </a:lnTo>
                  <a:lnTo>
                    <a:pt x="644" y="209"/>
                  </a:lnTo>
                  <a:lnTo>
                    <a:pt x="636" y="233"/>
                  </a:lnTo>
                  <a:lnTo>
                    <a:pt x="629" y="256"/>
                  </a:lnTo>
                  <a:lnTo>
                    <a:pt x="622" y="277"/>
                  </a:lnTo>
                  <a:lnTo>
                    <a:pt x="614" y="294"/>
                  </a:lnTo>
                  <a:lnTo>
                    <a:pt x="609" y="302"/>
                  </a:lnTo>
                  <a:lnTo>
                    <a:pt x="602" y="309"/>
                  </a:lnTo>
                  <a:lnTo>
                    <a:pt x="596" y="314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7" y="333"/>
                  </a:lnTo>
                  <a:lnTo>
                    <a:pt x="574" y="338"/>
                  </a:lnTo>
                  <a:lnTo>
                    <a:pt x="573" y="342"/>
                  </a:lnTo>
                  <a:lnTo>
                    <a:pt x="572" y="349"/>
                  </a:lnTo>
                  <a:lnTo>
                    <a:pt x="572" y="354"/>
                  </a:lnTo>
                  <a:lnTo>
                    <a:pt x="573" y="362"/>
                  </a:lnTo>
                  <a:lnTo>
                    <a:pt x="577" y="370"/>
                  </a:lnTo>
                  <a:lnTo>
                    <a:pt x="582" y="376"/>
                  </a:lnTo>
                  <a:lnTo>
                    <a:pt x="589" y="380"/>
                  </a:lnTo>
                  <a:lnTo>
                    <a:pt x="602" y="386"/>
                  </a:lnTo>
                  <a:lnTo>
                    <a:pt x="614" y="390"/>
                  </a:lnTo>
                  <a:lnTo>
                    <a:pt x="584" y="464"/>
                  </a:lnTo>
                  <a:lnTo>
                    <a:pt x="589" y="468"/>
                  </a:lnTo>
                  <a:lnTo>
                    <a:pt x="593" y="472"/>
                  </a:lnTo>
                  <a:lnTo>
                    <a:pt x="597" y="478"/>
                  </a:lnTo>
                  <a:lnTo>
                    <a:pt x="600" y="484"/>
                  </a:lnTo>
                  <a:lnTo>
                    <a:pt x="605" y="498"/>
                  </a:lnTo>
                  <a:lnTo>
                    <a:pt x="609" y="512"/>
                  </a:lnTo>
                  <a:lnTo>
                    <a:pt x="614" y="525"/>
                  </a:lnTo>
                  <a:lnTo>
                    <a:pt x="621" y="537"/>
                  </a:lnTo>
                  <a:lnTo>
                    <a:pt x="625" y="541"/>
                  </a:lnTo>
                  <a:lnTo>
                    <a:pt x="630" y="545"/>
                  </a:lnTo>
                  <a:lnTo>
                    <a:pt x="637" y="546"/>
                  </a:lnTo>
                  <a:lnTo>
                    <a:pt x="644" y="548"/>
                  </a:lnTo>
                  <a:lnTo>
                    <a:pt x="650" y="546"/>
                  </a:lnTo>
                  <a:lnTo>
                    <a:pt x="657" y="545"/>
                  </a:lnTo>
                  <a:lnTo>
                    <a:pt x="662" y="541"/>
                  </a:lnTo>
                  <a:lnTo>
                    <a:pt x="668" y="536"/>
                  </a:lnTo>
                  <a:lnTo>
                    <a:pt x="678" y="525"/>
                  </a:lnTo>
                  <a:lnTo>
                    <a:pt x="689" y="512"/>
                  </a:lnTo>
                  <a:lnTo>
                    <a:pt x="701" y="498"/>
                  </a:lnTo>
                  <a:lnTo>
                    <a:pt x="716" y="486"/>
                  </a:lnTo>
                  <a:lnTo>
                    <a:pt x="724" y="482"/>
                  </a:lnTo>
                  <a:lnTo>
                    <a:pt x="732" y="478"/>
                  </a:lnTo>
                  <a:lnTo>
                    <a:pt x="742" y="476"/>
                  </a:lnTo>
                  <a:lnTo>
                    <a:pt x="753" y="476"/>
                  </a:lnTo>
                  <a:lnTo>
                    <a:pt x="770" y="477"/>
                  </a:lnTo>
                  <a:lnTo>
                    <a:pt x="786" y="481"/>
                  </a:lnTo>
                  <a:lnTo>
                    <a:pt x="796" y="484"/>
                  </a:lnTo>
                  <a:lnTo>
                    <a:pt x="804" y="485"/>
                  </a:lnTo>
                  <a:lnTo>
                    <a:pt x="814" y="486"/>
                  </a:lnTo>
                  <a:lnTo>
                    <a:pt x="825" y="488"/>
                  </a:lnTo>
                  <a:lnTo>
                    <a:pt x="836" y="486"/>
                  </a:lnTo>
                  <a:lnTo>
                    <a:pt x="844" y="485"/>
                  </a:lnTo>
                  <a:lnTo>
                    <a:pt x="850" y="484"/>
                  </a:lnTo>
                  <a:lnTo>
                    <a:pt x="857" y="481"/>
                  </a:lnTo>
                  <a:lnTo>
                    <a:pt x="870" y="474"/>
                  </a:lnTo>
                  <a:lnTo>
                    <a:pt x="885" y="469"/>
                  </a:lnTo>
                  <a:lnTo>
                    <a:pt x="885" y="478"/>
                  </a:lnTo>
                  <a:lnTo>
                    <a:pt x="886" y="488"/>
                  </a:lnTo>
                  <a:lnTo>
                    <a:pt x="888" y="497"/>
                  </a:lnTo>
                  <a:lnTo>
                    <a:pt x="892" y="505"/>
                  </a:lnTo>
                  <a:lnTo>
                    <a:pt x="896" y="513"/>
                  </a:lnTo>
                  <a:lnTo>
                    <a:pt x="900" y="518"/>
                  </a:lnTo>
                  <a:lnTo>
                    <a:pt x="904" y="521"/>
                  </a:lnTo>
                  <a:lnTo>
                    <a:pt x="906" y="522"/>
                  </a:lnTo>
                  <a:lnTo>
                    <a:pt x="910" y="524"/>
                  </a:lnTo>
                  <a:lnTo>
                    <a:pt x="916" y="524"/>
                  </a:lnTo>
                  <a:lnTo>
                    <a:pt x="921" y="524"/>
                  </a:lnTo>
                  <a:lnTo>
                    <a:pt x="926" y="522"/>
                  </a:lnTo>
                  <a:lnTo>
                    <a:pt x="930" y="520"/>
                  </a:lnTo>
                  <a:lnTo>
                    <a:pt x="934" y="518"/>
                  </a:lnTo>
                  <a:lnTo>
                    <a:pt x="944" y="512"/>
                  </a:lnTo>
                  <a:lnTo>
                    <a:pt x="952" y="505"/>
                  </a:lnTo>
                  <a:lnTo>
                    <a:pt x="961" y="498"/>
                  </a:lnTo>
                  <a:lnTo>
                    <a:pt x="970" y="493"/>
                  </a:lnTo>
                  <a:lnTo>
                    <a:pt x="976" y="490"/>
                  </a:lnTo>
                  <a:lnTo>
                    <a:pt x="981" y="489"/>
                  </a:lnTo>
                  <a:lnTo>
                    <a:pt x="986" y="488"/>
                  </a:lnTo>
                  <a:lnTo>
                    <a:pt x="993" y="488"/>
                  </a:lnTo>
                  <a:lnTo>
                    <a:pt x="1024" y="48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84" name="Freeform 80"/>
            <p:cNvSpPr>
              <a:spLocks/>
            </p:cNvSpPr>
            <p:nvPr/>
          </p:nvSpPr>
          <p:spPr bwMode="auto">
            <a:xfrm>
              <a:off x="3534097" y="4697413"/>
              <a:ext cx="877888" cy="668337"/>
            </a:xfrm>
            <a:custGeom>
              <a:avLst/>
              <a:gdLst/>
              <a:ahLst/>
              <a:cxnLst>
                <a:cxn ang="0">
                  <a:pos x="1241" y="1258"/>
                </a:cxn>
                <a:cxn ang="0">
                  <a:pos x="1321" y="1205"/>
                </a:cxn>
                <a:cxn ang="0">
                  <a:pos x="1381" y="1177"/>
                </a:cxn>
                <a:cxn ang="0">
                  <a:pos x="1446" y="1162"/>
                </a:cxn>
                <a:cxn ang="0">
                  <a:pos x="1511" y="1167"/>
                </a:cxn>
                <a:cxn ang="0">
                  <a:pos x="1596" y="1191"/>
                </a:cxn>
                <a:cxn ang="0">
                  <a:pos x="1660" y="1159"/>
                </a:cxn>
                <a:cxn ang="0">
                  <a:pos x="1716" y="1081"/>
                </a:cxn>
                <a:cxn ang="0">
                  <a:pos x="1744" y="988"/>
                </a:cxn>
                <a:cxn ang="0">
                  <a:pos x="1803" y="922"/>
                </a:cxn>
                <a:cxn ang="0">
                  <a:pos x="1796" y="861"/>
                </a:cxn>
                <a:cxn ang="0">
                  <a:pos x="1726" y="826"/>
                </a:cxn>
                <a:cxn ang="0">
                  <a:pos x="1655" y="790"/>
                </a:cxn>
                <a:cxn ang="0">
                  <a:pos x="1647" y="722"/>
                </a:cxn>
                <a:cxn ang="0">
                  <a:pos x="1698" y="634"/>
                </a:cxn>
                <a:cxn ang="0">
                  <a:pos x="1720" y="560"/>
                </a:cxn>
                <a:cxn ang="0">
                  <a:pos x="1676" y="529"/>
                </a:cxn>
                <a:cxn ang="0">
                  <a:pos x="1603" y="469"/>
                </a:cxn>
                <a:cxn ang="0">
                  <a:pos x="1548" y="411"/>
                </a:cxn>
                <a:cxn ang="0">
                  <a:pos x="1484" y="349"/>
                </a:cxn>
                <a:cxn ang="0">
                  <a:pos x="1374" y="343"/>
                </a:cxn>
                <a:cxn ang="0">
                  <a:pos x="1278" y="353"/>
                </a:cxn>
                <a:cxn ang="0">
                  <a:pos x="1253" y="312"/>
                </a:cxn>
                <a:cxn ang="0">
                  <a:pos x="1251" y="195"/>
                </a:cxn>
                <a:cxn ang="0">
                  <a:pos x="1214" y="131"/>
                </a:cxn>
                <a:cxn ang="0">
                  <a:pos x="1182" y="100"/>
                </a:cxn>
                <a:cxn ang="0">
                  <a:pos x="1115" y="55"/>
                </a:cxn>
                <a:cxn ang="0">
                  <a:pos x="1038" y="83"/>
                </a:cxn>
                <a:cxn ang="0">
                  <a:pos x="961" y="143"/>
                </a:cxn>
                <a:cxn ang="0">
                  <a:pos x="859" y="108"/>
                </a:cxn>
                <a:cxn ang="0">
                  <a:pos x="775" y="72"/>
                </a:cxn>
                <a:cxn ang="0">
                  <a:pos x="641" y="52"/>
                </a:cxn>
                <a:cxn ang="0">
                  <a:pos x="434" y="4"/>
                </a:cxn>
                <a:cxn ang="0">
                  <a:pos x="364" y="12"/>
                </a:cxn>
                <a:cxn ang="0">
                  <a:pos x="305" y="100"/>
                </a:cxn>
                <a:cxn ang="0">
                  <a:pos x="241" y="256"/>
                </a:cxn>
                <a:cxn ang="0">
                  <a:pos x="149" y="305"/>
                </a:cxn>
                <a:cxn ang="0">
                  <a:pos x="101" y="380"/>
                </a:cxn>
                <a:cxn ang="0">
                  <a:pos x="42" y="500"/>
                </a:cxn>
                <a:cxn ang="0">
                  <a:pos x="42" y="528"/>
                </a:cxn>
                <a:cxn ang="0">
                  <a:pos x="6" y="570"/>
                </a:cxn>
                <a:cxn ang="0">
                  <a:pos x="12" y="637"/>
                </a:cxn>
                <a:cxn ang="0">
                  <a:pos x="70" y="830"/>
                </a:cxn>
                <a:cxn ang="0">
                  <a:pos x="190" y="885"/>
                </a:cxn>
                <a:cxn ang="0">
                  <a:pos x="422" y="944"/>
                </a:cxn>
                <a:cxn ang="0">
                  <a:pos x="545" y="1037"/>
                </a:cxn>
                <a:cxn ang="0">
                  <a:pos x="578" y="1119"/>
                </a:cxn>
                <a:cxn ang="0">
                  <a:pos x="695" y="1127"/>
                </a:cxn>
                <a:cxn ang="0">
                  <a:pos x="795" y="1182"/>
                </a:cxn>
                <a:cxn ang="0">
                  <a:pos x="885" y="1182"/>
                </a:cxn>
                <a:cxn ang="0">
                  <a:pos x="966" y="1165"/>
                </a:cxn>
                <a:cxn ang="0">
                  <a:pos x="981" y="1205"/>
                </a:cxn>
                <a:cxn ang="0">
                  <a:pos x="963" y="1251"/>
                </a:cxn>
                <a:cxn ang="0">
                  <a:pos x="993" y="1302"/>
                </a:cxn>
                <a:cxn ang="0">
                  <a:pos x="1019" y="1367"/>
                </a:cxn>
                <a:cxn ang="0">
                  <a:pos x="1058" y="1314"/>
                </a:cxn>
                <a:cxn ang="0">
                  <a:pos x="1145" y="1282"/>
                </a:cxn>
              </a:cxnLst>
              <a:rect l="0" t="0" r="r" b="b"/>
              <a:pathLst>
                <a:path w="1807" h="1378">
                  <a:moveTo>
                    <a:pt x="1145" y="1282"/>
                  </a:moveTo>
                  <a:lnTo>
                    <a:pt x="1170" y="1275"/>
                  </a:lnTo>
                  <a:lnTo>
                    <a:pt x="1193" y="1267"/>
                  </a:lnTo>
                  <a:lnTo>
                    <a:pt x="1203" y="1263"/>
                  </a:lnTo>
                  <a:lnTo>
                    <a:pt x="1215" y="1261"/>
                  </a:lnTo>
                  <a:lnTo>
                    <a:pt x="1227" y="1259"/>
                  </a:lnTo>
                  <a:lnTo>
                    <a:pt x="1241" y="1258"/>
                  </a:lnTo>
                  <a:lnTo>
                    <a:pt x="1251" y="1257"/>
                  </a:lnTo>
                  <a:lnTo>
                    <a:pt x="1262" y="1254"/>
                  </a:lnTo>
                  <a:lnTo>
                    <a:pt x="1270" y="1251"/>
                  </a:lnTo>
                  <a:lnTo>
                    <a:pt x="1279" y="1246"/>
                  </a:lnTo>
                  <a:lnTo>
                    <a:pt x="1294" y="1233"/>
                  </a:lnTo>
                  <a:lnTo>
                    <a:pt x="1307" y="1219"/>
                  </a:lnTo>
                  <a:lnTo>
                    <a:pt x="1321" y="1205"/>
                  </a:lnTo>
                  <a:lnTo>
                    <a:pt x="1333" y="1191"/>
                  </a:lnTo>
                  <a:lnTo>
                    <a:pt x="1339" y="1187"/>
                  </a:lnTo>
                  <a:lnTo>
                    <a:pt x="1346" y="1183"/>
                  </a:lnTo>
                  <a:lnTo>
                    <a:pt x="1354" y="1181"/>
                  </a:lnTo>
                  <a:lnTo>
                    <a:pt x="1361" y="1179"/>
                  </a:lnTo>
                  <a:lnTo>
                    <a:pt x="1371" y="1179"/>
                  </a:lnTo>
                  <a:lnTo>
                    <a:pt x="1381" y="1177"/>
                  </a:lnTo>
                  <a:lnTo>
                    <a:pt x="1390" y="1174"/>
                  </a:lnTo>
                  <a:lnTo>
                    <a:pt x="1398" y="1170"/>
                  </a:lnTo>
                  <a:lnTo>
                    <a:pt x="1407" y="1167"/>
                  </a:lnTo>
                  <a:lnTo>
                    <a:pt x="1416" y="1165"/>
                  </a:lnTo>
                  <a:lnTo>
                    <a:pt x="1427" y="1162"/>
                  </a:lnTo>
                  <a:lnTo>
                    <a:pt x="1439" y="1162"/>
                  </a:lnTo>
                  <a:lnTo>
                    <a:pt x="1446" y="1162"/>
                  </a:lnTo>
                  <a:lnTo>
                    <a:pt x="1451" y="1166"/>
                  </a:lnTo>
                  <a:lnTo>
                    <a:pt x="1458" y="1170"/>
                  </a:lnTo>
                  <a:lnTo>
                    <a:pt x="1463" y="1174"/>
                  </a:lnTo>
                  <a:lnTo>
                    <a:pt x="1472" y="1185"/>
                  </a:lnTo>
                  <a:lnTo>
                    <a:pt x="1482" y="1191"/>
                  </a:lnTo>
                  <a:lnTo>
                    <a:pt x="1511" y="1191"/>
                  </a:lnTo>
                  <a:lnTo>
                    <a:pt x="1511" y="1167"/>
                  </a:lnTo>
                  <a:lnTo>
                    <a:pt x="1554" y="1167"/>
                  </a:lnTo>
                  <a:lnTo>
                    <a:pt x="1562" y="1174"/>
                  </a:lnTo>
                  <a:lnTo>
                    <a:pt x="1570" y="1182"/>
                  </a:lnTo>
                  <a:lnTo>
                    <a:pt x="1575" y="1186"/>
                  </a:lnTo>
                  <a:lnTo>
                    <a:pt x="1580" y="1189"/>
                  </a:lnTo>
                  <a:lnTo>
                    <a:pt x="1587" y="1191"/>
                  </a:lnTo>
                  <a:lnTo>
                    <a:pt x="1596" y="1191"/>
                  </a:lnTo>
                  <a:lnTo>
                    <a:pt x="1606" y="1191"/>
                  </a:lnTo>
                  <a:lnTo>
                    <a:pt x="1614" y="1190"/>
                  </a:lnTo>
                  <a:lnTo>
                    <a:pt x="1620" y="1187"/>
                  </a:lnTo>
                  <a:lnTo>
                    <a:pt x="1627" y="1185"/>
                  </a:lnTo>
                  <a:lnTo>
                    <a:pt x="1639" y="1177"/>
                  </a:lnTo>
                  <a:lnTo>
                    <a:pt x="1650" y="1167"/>
                  </a:lnTo>
                  <a:lnTo>
                    <a:pt x="1660" y="1159"/>
                  </a:lnTo>
                  <a:lnTo>
                    <a:pt x="1675" y="1151"/>
                  </a:lnTo>
                  <a:lnTo>
                    <a:pt x="1683" y="1147"/>
                  </a:lnTo>
                  <a:lnTo>
                    <a:pt x="1692" y="1146"/>
                  </a:lnTo>
                  <a:lnTo>
                    <a:pt x="1703" y="1145"/>
                  </a:lnTo>
                  <a:lnTo>
                    <a:pt x="1716" y="1143"/>
                  </a:lnTo>
                  <a:lnTo>
                    <a:pt x="1716" y="1111"/>
                  </a:lnTo>
                  <a:lnTo>
                    <a:pt x="1716" y="1081"/>
                  </a:lnTo>
                  <a:lnTo>
                    <a:pt x="1716" y="1057"/>
                  </a:lnTo>
                  <a:lnTo>
                    <a:pt x="1716" y="1041"/>
                  </a:lnTo>
                  <a:lnTo>
                    <a:pt x="1718" y="1030"/>
                  </a:lnTo>
                  <a:lnTo>
                    <a:pt x="1720" y="1019"/>
                  </a:lnTo>
                  <a:lnTo>
                    <a:pt x="1724" y="1010"/>
                  </a:lnTo>
                  <a:lnTo>
                    <a:pt x="1730" y="1002"/>
                  </a:lnTo>
                  <a:lnTo>
                    <a:pt x="1744" y="988"/>
                  </a:lnTo>
                  <a:lnTo>
                    <a:pt x="1762" y="973"/>
                  </a:lnTo>
                  <a:lnTo>
                    <a:pt x="1770" y="966"/>
                  </a:lnTo>
                  <a:lnTo>
                    <a:pt x="1778" y="960"/>
                  </a:lnTo>
                  <a:lnTo>
                    <a:pt x="1786" y="952"/>
                  </a:lnTo>
                  <a:lnTo>
                    <a:pt x="1792" y="944"/>
                  </a:lnTo>
                  <a:lnTo>
                    <a:pt x="1798" y="933"/>
                  </a:lnTo>
                  <a:lnTo>
                    <a:pt x="1803" y="922"/>
                  </a:lnTo>
                  <a:lnTo>
                    <a:pt x="1806" y="910"/>
                  </a:lnTo>
                  <a:lnTo>
                    <a:pt x="1807" y="897"/>
                  </a:lnTo>
                  <a:lnTo>
                    <a:pt x="1806" y="888"/>
                  </a:lnTo>
                  <a:lnTo>
                    <a:pt x="1804" y="881"/>
                  </a:lnTo>
                  <a:lnTo>
                    <a:pt x="1803" y="873"/>
                  </a:lnTo>
                  <a:lnTo>
                    <a:pt x="1799" y="868"/>
                  </a:lnTo>
                  <a:lnTo>
                    <a:pt x="1796" y="861"/>
                  </a:lnTo>
                  <a:lnTo>
                    <a:pt x="1791" y="857"/>
                  </a:lnTo>
                  <a:lnTo>
                    <a:pt x="1787" y="852"/>
                  </a:lnTo>
                  <a:lnTo>
                    <a:pt x="1782" y="848"/>
                  </a:lnTo>
                  <a:lnTo>
                    <a:pt x="1768" y="841"/>
                  </a:lnTo>
                  <a:lnTo>
                    <a:pt x="1755" y="836"/>
                  </a:lnTo>
                  <a:lnTo>
                    <a:pt x="1740" y="832"/>
                  </a:lnTo>
                  <a:lnTo>
                    <a:pt x="1726" y="826"/>
                  </a:lnTo>
                  <a:lnTo>
                    <a:pt x="1710" y="822"/>
                  </a:lnTo>
                  <a:lnTo>
                    <a:pt x="1695" y="817"/>
                  </a:lnTo>
                  <a:lnTo>
                    <a:pt x="1682" y="812"/>
                  </a:lnTo>
                  <a:lnTo>
                    <a:pt x="1670" y="805"/>
                  </a:lnTo>
                  <a:lnTo>
                    <a:pt x="1664" y="800"/>
                  </a:lnTo>
                  <a:lnTo>
                    <a:pt x="1659" y="796"/>
                  </a:lnTo>
                  <a:lnTo>
                    <a:pt x="1655" y="790"/>
                  </a:lnTo>
                  <a:lnTo>
                    <a:pt x="1651" y="784"/>
                  </a:lnTo>
                  <a:lnTo>
                    <a:pt x="1648" y="777"/>
                  </a:lnTo>
                  <a:lnTo>
                    <a:pt x="1646" y="770"/>
                  </a:lnTo>
                  <a:lnTo>
                    <a:pt x="1644" y="761"/>
                  </a:lnTo>
                  <a:lnTo>
                    <a:pt x="1644" y="752"/>
                  </a:lnTo>
                  <a:lnTo>
                    <a:pt x="1644" y="737"/>
                  </a:lnTo>
                  <a:lnTo>
                    <a:pt x="1647" y="722"/>
                  </a:lnTo>
                  <a:lnTo>
                    <a:pt x="1651" y="709"/>
                  </a:lnTo>
                  <a:lnTo>
                    <a:pt x="1656" y="697"/>
                  </a:lnTo>
                  <a:lnTo>
                    <a:pt x="1662" y="685"/>
                  </a:lnTo>
                  <a:lnTo>
                    <a:pt x="1668" y="674"/>
                  </a:lnTo>
                  <a:lnTo>
                    <a:pt x="1676" y="664"/>
                  </a:lnTo>
                  <a:lnTo>
                    <a:pt x="1683" y="653"/>
                  </a:lnTo>
                  <a:lnTo>
                    <a:pt x="1698" y="634"/>
                  </a:lnTo>
                  <a:lnTo>
                    <a:pt x="1710" y="616"/>
                  </a:lnTo>
                  <a:lnTo>
                    <a:pt x="1715" y="606"/>
                  </a:lnTo>
                  <a:lnTo>
                    <a:pt x="1719" y="597"/>
                  </a:lnTo>
                  <a:lnTo>
                    <a:pt x="1722" y="588"/>
                  </a:lnTo>
                  <a:lnTo>
                    <a:pt x="1722" y="577"/>
                  </a:lnTo>
                  <a:lnTo>
                    <a:pt x="1722" y="568"/>
                  </a:lnTo>
                  <a:lnTo>
                    <a:pt x="1720" y="560"/>
                  </a:lnTo>
                  <a:lnTo>
                    <a:pt x="1716" y="553"/>
                  </a:lnTo>
                  <a:lnTo>
                    <a:pt x="1714" y="548"/>
                  </a:lnTo>
                  <a:lnTo>
                    <a:pt x="1708" y="544"/>
                  </a:lnTo>
                  <a:lnTo>
                    <a:pt x="1703" y="540"/>
                  </a:lnTo>
                  <a:lnTo>
                    <a:pt x="1698" y="536"/>
                  </a:lnTo>
                  <a:lnTo>
                    <a:pt x="1691" y="533"/>
                  </a:lnTo>
                  <a:lnTo>
                    <a:pt x="1676" y="529"/>
                  </a:lnTo>
                  <a:lnTo>
                    <a:pt x="1662" y="524"/>
                  </a:lnTo>
                  <a:lnTo>
                    <a:pt x="1646" y="518"/>
                  </a:lnTo>
                  <a:lnTo>
                    <a:pt x="1632" y="512"/>
                  </a:lnTo>
                  <a:lnTo>
                    <a:pt x="1624" y="504"/>
                  </a:lnTo>
                  <a:lnTo>
                    <a:pt x="1618" y="493"/>
                  </a:lnTo>
                  <a:lnTo>
                    <a:pt x="1610" y="481"/>
                  </a:lnTo>
                  <a:lnTo>
                    <a:pt x="1603" y="469"/>
                  </a:lnTo>
                  <a:lnTo>
                    <a:pt x="1596" y="456"/>
                  </a:lnTo>
                  <a:lnTo>
                    <a:pt x="1591" y="442"/>
                  </a:lnTo>
                  <a:lnTo>
                    <a:pt x="1587" y="430"/>
                  </a:lnTo>
                  <a:lnTo>
                    <a:pt x="1584" y="421"/>
                  </a:lnTo>
                  <a:lnTo>
                    <a:pt x="1570" y="419"/>
                  </a:lnTo>
                  <a:lnTo>
                    <a:pt x="1559" y="416"/>
                  </a:lnTo>
                  <a:lnTo>
                    <a:pt x="1548" y="411"/>
                  </a:lnTo>
                  <a:lnTo>
                    <a:pt x="1540" y="405"/>
                  </a:lnTo>
                  <a:lnTo>
                    <a:pt x="1527" y="392"/>
                  </a:lnTo>
                  <a:lnTo>
                    <a:pt x="1515" y="377"/>
                  </a:lnTo>
                  <a:lnTo>
                    <a:pt x="1508" y="369"/>
                  </a:lnTo>
                  <a:lnTo>
                    <a:pt x="1500" y="361"/>
                  </a:lnTo>
                  <a:lnTo>
                    <a:pt x="1492" y="355"/>
                  </a:lnTo>
                  <a:lnTo>
                    <a:pt x="1484" y="349"/>
                  </a:lnTo>
                  <a:lnTo>
                    <a:pt x="1472" y="344"/>
                  </a:lnTo>
                  <a:lnTo>
                    <a:pt x="1460" y="340"/>
                  </a:lnTo>
                  <a:lnTo>
                    <a:pt x="1444" y="337"/>
                  </a:lnTo>
                  <a:lnTo>
                    <a:pt x="1427" y="337"/>
                  </a:lnTo>
                  <a:lnTo>
                    <a:pt x="1408" y="337"/>
                  </a:lnTo>
                  <a:lnTo>
                    <a:pt x="1390" y="340"/>
                  </a:lnTo>
                  <a:lnTo>
                    <a:pt x="1374" y="343"/>
                  </a:lnTo>
                  <a:lnTo>
                    <a:pt x="1358" y="345"/>
                  </a:lnTo>
                  <a:lnTo>
                    <a:pt x="1342" y="349"/>
                  </a:lnTo>
                  <a:lnTo>
                    <a:pt x="1326" y="352"/>
                  </a:lnTo>
                  <a:lnTo>
                    <a:pt x="1309" y="355"/>
                  </a:lnTo>
                  <a:lnTo>
                    <a:pt x="1289" y="355"/>
                  </a:lnTo>
                  <a:lnTo>
                    <a:pt x="1283" y="355"/>
                  </a:lnTo>
                  <a:lnTo>
                    <a:pt x="1278" y="353"/>
                  </a:lnTo>
                  <a:lnTo>
                    <a:pt x="1274" y="352"/>
                  </a:lnTo>
                  <a:lnTo>
                    <a:pt x="1270" y="349"/>
                  </a:lnTo>
                  <a:lnTo>
                    <a:pt x="1265" y="343"/>
                  </a:lnTo>
                  <a:lnTo>
                    <a:pt x="1259" y="336"/>
                  </a:lnTo>
                  <a:lnTo>
                    <a:pt x="1257" y="327"/>
                  </a:lnTo>
                  <a:lnTo>
                    <a:pt x="1254" y="320"/>
                  </a:lnTo>
                  <a:lnTo>
                    <a:pt x="1253" y="312"/>
                  </a:lnTo>
                  <a:lnTo>
                    <a:pt x="1253" y="307"/>
                  </a:lnTo>
                  <a:lnTo>
                    <a:pt x="1253" y="291"/>
                  </a:lnTo>
                  <a:lnTo>
                    <a:pt x="1253" y="268"/>
                  </a:lnTo>
                  <a:lnTo>
                    <a:pt x="1253" y="241"/>
                  </a:lnTo>
                  <a:lnTo>
                    <a:pt x="1253" y="211"/>
                  </a:lnTo>
                  <a:lnTo>
                    <a:pt x="1253" y="201"/>
                  </a:lnTo>
                  <a:lnTo>
                    <a:pt x="1251" y="195"/>
                  </a:lnTo>
                  <a:lnTo>
                    <a:pt x="1249" y="187"/>
                  </a:lnTo>
                  <a:lnTo>
                    <a:pt x="1246" y="181"/>
                  </a:lnTo>
                  <a:lnTo>
                    <a:pt x="1239" y="169"/>
                  </a:lnTo>
                  <a:lnTo>
                    <a:pt x="1231" y="159"/>
                  </a:lnTo>
                  <a:lnTo>
                    <a:pt x="1223" y="149"/>
                  </a:lnTo>
                  <a:lnTo>
                    <a:pt x="1217" y="137"/>
                  </a:lnTo>
                  <a:lnTo>
                    <a:pt x="1214" y="131"/>
                  </a:lnTo>
                  <a:lnTo>
                    <a:pt x="1213" y="124"/>
                  </a:lnTo>
                  <a:lnTo>
                    <a:pt x="1211" y="116"/>
                  </a:lnTo>
                  <a:lnTo>
                    <a:pt x="1210" y="108"/>
                  </a:lnTo>
                  <a:lnTo>
                    <a:pt x="1203" y="108"/>
                  </a:lnTo>
                  <a:lnTo>
                    <a:pt x="1195" y="105"/>
                  </a:lnTo>
                  <a:lnTo>
                    <a:pt x="1189" y="103"/>
                  </a:lnTo>
                  <a:lnTo>
                    <a:pt x="1182" y="100"/>
                  </a:lnTo>
                  <a:lnTo>
                    <a:pt x="1171" y="91"/>
                  </a:lnTo>
                  <a:lnTo>
                    <a:pt x="1159" y="81"/>
                  </a:lnTo>
                  <a:lnTo>
                    <a:pt x="1147" y="71"/>
                  </a:lnTo>
                  <a:lnTo>
                    <a:pt x="1135" y="63"/>
                  </a:lnTo>
                  <a:lnTo>
                    <a:pt x="1130" y="59"/>
                  </a:lnTo>
                  <a:lnTo>
                    <a:pt x="1123" y="56"/>
                  </a:lnTo>
                  <a:lnTo>
                    <a:pt x="1115" y="55"/>
                  </a:lnTo>
                  <a:lnTo>
                    <a:pt x="1109" y="53"/>
                  </a:lnTo>
                  <a:lnTo>
                    <a:pt x="1094" y="55"/>
                  </a:lnTo>
                  <a:lnTo>
                    <a:pt x="1081" y="57"/>
                  </a:lnTo>
                  <a:lnTo>
                    <a:pt x="1069" y="63"/>
                  </a:lnTo>
                  <a:lnTo>
                    <a:pt x="1058" y="68"/>
                  </a:lnTo>
                  <a:lnTo>
                    <a:pt x="1047" y="75"/>
                  </a:lnTo>
                  <a:lnTo>
                    <a:pt x="1038" y="83"/>
                  </a:lnTo>
                  <a:lnTo>
                    <a:pt x="1030" y="91"/>
                  </a:lnTo>
                  <a:lnTo>
                    <a:pt x="1021" y="99"/>
                  </a:lnTo>
                  <a:lnTo>
                    <a:pt x="1005" y="116"/>
                  </a:lnTo>
                  <a:lnTo>
                    <a:pt x="987" y="131"/>
                  </a:lnTo>
                  <a:lnTo>
                    <a:pt x="979" y="136"/>
                  </a:lnTo>
                  <a:lnTo>
                    <a:pt x="970" y="140"/>
                  </a:lnTo>
                  <a:lnTo>
                    <a:pt x="961" y="143"/>
                  </a:lnTo>
                  <a:lnTo>
                    <a:pt x="951" y="144"/>
                  </a:lnTo>
                  <a:lnTo>
                    <a:pt x="937" y="143"/>
                  </a:lnTo>
                  <a:lnTo>
                    <a:pt x="923" y="141"/>
                  </a:lnTo>
                  <a:lnTo>
                    <a:pt x="910" y="137"/>
                  </a:lnTo>
                  <a:lnTo>
                    <a:pt x="899" y="133"/>
                  </a:lnTo>
                  <a:lnTo>
                    <a:pt x="879" y="121"/>
                  </a:lnTo>
                  <a:lnTo>
                    <a:pt x="859" y="108"/>
                  </a:lnTo>
                  <a:lnTo>
                    <a:pt x="850" y="101"/>
                  </a:lnTo>
                  <a:lnTo>
                    <a:pt x="839" y="95"/>
                  </a:lnTo>
                  <a:lnTo>
                    <a:pt x="829" y="88"/>
                  </a:lnTo>
                  <a:lnTo>
                    <a:pt x="818" y="83"/>
                  </a:lnTo>
                  <a:lnTo>
                    <a:pt x="805" y="79"/>
                  </a:lnTo>
                  <a:lnTo>
                    <a:pt x="791" y="75"/>
                  </a:lnTo>
                  <a:lnTo>
                    <a:pt x="775" y="72"/>
                  </a:lnTo>
                  <a:lnTo>
                    <a:pt x="759" y="72"/>
                  </a:lnTo>
                  <a:lnTo>
                    <a:pt x="737" y="72"/>
                  </a:lnTo>
                  <a:lnTo>
                    <a:pt x="715" y="71"/>
                  </a:lnTo>
                  <a:lnTo>
                    <a:pt x="695" y="68"/>
                  </a:lnTo>
                  <a:lnTo>
                    <a:pt x="677" y="64"/>
                  </a:lnTo>
                  <a:lnTo>
                    <a:pt x="658" y="59"/>
                  </a:lnTo>
                  <a:lnTo>
                    <a:pt x="641" y="52"/>
                  </a:lnTo>
                  <a:lnTo>
                    <a:pt x="625" y="41"/>
                  </a:lnTo>
                  <a:lnTo>
                    <a:pt x="609" y="29"/>
                  </a:lnTo>
                  <a:lnTo>
                    <a:pt x="506" y="29"/>
                  </a:lnTo>
                  <a:lnTo>
                    <a:pt x="486" y="23"/>
                  </a:lnTo>
                  <a:lnTo>
                    <a:pt x="461" y="12"/>
                  </a:lnTo>
                  <a:lnTo>
                    <a:pt x="448" y="8"/>
                  </a:lnTo>
                  <a:lnTo>
                    <a:pt x="434" y="4"/>
                  </a:lnTo>
                  <a:lnTo>
                    <a:pt x="420" y="0"/>
                  </a:lnTo>
                  <a:lnTo>
                    <a:pt x="404" y="0"/>
                  </a:lnTo>
                  <a:lnTo>
                    <a:pt x="394" y="0"/>
                  </a:lnTo>
                  <a:lnTo>
                    <a:pt x="386" y="1"/>
                  </a:lnTo>
                  <a:lnTo>
                    <a:pt x="378" y="4"/>
                  </a:lnTo>
                  <a:lnTo>
                    <a:pt x="370" y="8"/>
                  </a:lnTo>
                  <a:lnTo>
                    <a:pt x="364" y="12"/>
                  </a:lnTo>
                  <a:lnTo>
                    <a:pt x="357" y="17"/>
                  </a:lnTo>
                  <a:lnTo>
                    <a:pt x="350" y="23"/>
                  </a:lnTo>
                  <a:lnTo>
                    <a:pt x="345" y="29"/>
                  </a:lnTo>
                  <a:lnTo>
                    <a:pt x="333" y="45"/>
                  </a:lnTo>
                  <a:lnTo>
                    <a:pt x="322" y="61"/>
                  </a:lnTo>
                  <a:lnTo>
                    <a:pt x="313" y="80"/>
                  </a:lnTo>
                  <a:lnTo>
                    <a:pt x="305" y="100"/>
                  </a:lnTo>
                  <a:lnTo>
                    <a:pt x="289" y="141"/>
                  </a:lnTo>
                  <a:lnTo>
                    <a:pt x="276" y="183"/>
                  </a:lnTo>
                  <a:lnTo>
                    <a:pt x="269" y="201"/>
                  </a:lnTo>
                  <a:lnTo>
                    <a:pt x="262" y="219"/>
                  </a:lnTo>
                  <a:lnTo>
                    <a:pt x="254" y="233"/>
                  </a:lnTo>
                  <a:lnTo>
                    <a:pt x="246" y="247"/>
                  </a:lnTo>
                  <a:lnTo>
                    <a:pt x="241" y="256"/>
                  </a:lnTo>
                  <a:lnTo>
                    <a:pt x="234" y="264"/>
                  </a:lnTo>
                  <a:lnTo>
                    <a:pt x="226" y="269"/>
                  </a:lnTo>
                  <a:lnTo>
                    <a:pt x="218" y="275"/>
                  </a:lnTo>
                  <a:lnTo>
                    <a:pt x="202" y="283"/>
                  </a:lnTo>
                  <a:lnTo>
                    <a:pt x="184" y="289"/>
                  </a:lnTo>
                  <a:lnTo>
                    <a:pt x="166" y="296"/>
                  </a:lnTo>
                  <a:lnTo>
                    <a:pt x="149" y="305"/>
                  </a:lnTo>
                  <a:lnTo>
                    <a:pt x="141" y="311"/>
                  </a:lnTo>
                  <a:lnTo>
                    <a:pt x="133" y="317"/>
                  </a:lnTo>
                  <a:lnTo>
                    <a:pt x="126" y="327"/>
                  </a:lnTo>
                  <a:lnTo>
                    <a:pt x="121" y="337"/>
                  </a:lnTo>
                  <a:lnTo>
                    <a:pt x="113" y="351"/>
                  </a:lnTo>
                  <a:lnTo>
                    <a:pt x="106" y="365"/>
                  </a:lnTo>
                  <a:lnTo>
                    <a:pt x="101" y="380"/>
                  </a:lnTo>
                  <a:lnTo>
                    <a:pt x="96" y="396"/>
                  </a:lnTo>
                  <a:lnTo>
                    <a:pt x="90" y="412"/>
                  </a:lnTo>
                  <a:lnTo>
                    <a:pt x="84" y="428"/>
                  </a:lnTo>
                  <a:lnTo>
                    <a:pt x="76" y="445"/>
                  </a:lnTo>
                  <a:lnTo>
                    <a:pt x="66" y="464"/>
                  </a:lnTo>
                  <a:lnTo>
                    <a:pt x="24" y="457"/>
                  </a:lnTo>
                  <a:lnTo>
                    <a:pt x="42" y="500"/>
                  </a:lnTo>
                  <a:lnTo>
                    <a:pt x="45" y="500"/>
                  </a:lnTo>
                  <a:lnTo>
                    <a:pt x="48" y="500"/>
                  </a:lnTo>
                  <a:lnTo>
                    <a:pt x="48" y="501"/>
                  </a:lnTo>
                  <a:lnTo>
                    <a:pt x="46" y="502"/>
                  </a:lnTo>
                  <a:lnTo>
                    <a:pt x="44" y="509"/>
                  </a:lnTo>
                  <a:lnTo>
                    <a:pt x="42" y="524"/>
                  </a:lnTo>
                  <a:lnTo>
                    <a:pt x="42" y="528"/>
                  </a:lnTo>
                  <a:lnTo>
                    <a:pt x="41" y="532"/>
                  </a:lnTo>
                  <a:lnTo>
                    <a:pt x="38" y="536"/>
                  </a:lnTo>
                  <a:lnTo>
                    <a:pt x="36" y="538"/>
                  </a:lnTo>
                  <a:lnTo>
                    <a:pt x="29" y="546"/>
                  </a:lnTo>
                  <a:lnTo>
                    <a:pt x="21" y="553"/>
                  </a:lnTo>
                  <a:lnTo>
                    <a:pt x="13" y="561"/>
                  </a:lnTo>
                  <a:lnTo>
                    <a:pt x="6" y="570"/>
                  </a:lnTo>
                  <a:lnTo>
                    <a:pt x="4" y="576"/>
                  </a:lnTo>
                  <a:lnTo>
                    <a:pt x="2" y="581"/>
                  </a:lnTo>
                  <a:lnTo>
                    <a:pt x="1" y="588"/>
                  </a:lnTo>
                  <a:lnTo>
                    <a:pt x="0" y="596"/>
                  </a:lnTo>
                  <a:lnTo>
                    <a:pt x="1" y="609"/>
                  </a:lnTo>
                  <a:lnTo>
                    <a:pt x="6" y="624"/>
                  </a:lnTo>
                  <a:lnTo>
                    <a:pt x="12" y="637"/>
                  </a:lnTo>
                  <a:lnTo>
                    <a:pt x="20" y="652"/>
                  </a:lnTo>
                  <a:lnTo>
                    <a:pt x="36" y="677"/>
                  </a:lnTo>
                  <a:lnTo>
                    <a:pt x="48" y="698"/>
                  </a:lnTo>
                  <a:lnTo>
                    <a:pt x="48" y="801"/>
                  </a:lnTo>
                  <a:lnTo>
                    <a:pt x="56" y="809"/>
                  </a:lnTo>
                  <a:lnTo>
                    <a:pt x="64" y="820"/>
                  </a:lnTo>
                  <a:lnTo>
                    <a:pt x="70" y="830"/>
                  </a:lnTo>
                  <a:lnTo>
                    <a:pt x="78" y="842"/>
                  </a:lnTo>
                  <a:lnTo>
                    <a:pt x="138" y="861"/>
                  </a:lnTo>
                  <a:lnTo>
                    <a:pt x="141" y="865"/>
                  </a:lnTo>
                  <a:lnTo>
                    <a:pt x="146" y="869"/>
                  </a:lnTo>
                  <a:lnTo>
                    <a:pt x="154" y="873"/>
                  </a:lnTo>
                  <a:lnTo>
                    <a:pt x="165" y="877"/>
                  </a:lnTo>
                  <a:lnTo>
                    <a:pt x="190" y="885"/>
                  </a:lnTo>
                  <a:lnTo>
                    <a:pt x="220" y="892"/>
                  </a:lnTo>
                  <a:lnTo>
                    <a:pt x="277" y="902"/>
                  </a:lnTo>
                  <a:lnTo>
                    <a:pt x="313" y="909"/>
                  </a:lnTo>
                  <a:lnTo>
                    <a:pt x="342" y="914"/>
                  </a:lnTo>
                  <a:lnTo>
                    <a:pt x="370" y="922"/>
                  </a:lnTo>
                  <a:lnTo>
                    <a:pt x="396" y="933"/>
                  </a:lnTo>
                  <a:lnTo>
                    <a:pt x="422" y="944"/>
                  </a:lnTo>
                  <a:lnTo>
                    <a:pt x="469" y="969"/>
                  </a:lnTo>
                  <a:lnTo>
                    <a:pt x="512" y="993"/>
                  </a:lnTo>
                  <a:lnTo>
                    <a:pt x="521" y="1000"/>
                  </a:lnTo>
                  <a:lnTo>
                    <a:pt x="528" y="1006"/>
                  </a:lnTo>
                  <a:lnTo>
                    <a:pt x="533" y="1013"/>
                  </a:lnTo>
                  <a:lnTo>
                    <a:pt x="537" y="1021"/>
                  </a:lnTo>
                  <a:lnTo>
                    <a:pt x="545" y="1037"/>
                  </a:lnTo>
                  <a:lnTo>
                    <a:pt x="550" y="1054"/>
                  </a:lnTo>
                  <a:lnTo>
                    <a:pt x="554" y="1071"/>
                  </a:lnTo>
                  <a:lnTo>
                    <a:pt x="560" y="1089"/>
                  </a:lnTo>
                  <a:lnTo>
                    <a:pt x="562" y="1097"/>
                  </a:lnTo>
                  <a:lnTo>
                    <a:pt x="568" y="1105"/>
                  </a:lnTo>
                  <a:lnTo>
                    <a:pt x="572" y="1113"/>
                  </a:lnTo>
                  <a:lnTo>
                    <a:pt x="578" y="1119"/>
                  </a:lnTo>
                  <a:lnTo>
                    <a:pt x="586" y="1123"/>
                  </a:lnTo>
                  <a:lnTo>
                    <a:pt x="598" y="1126"/>
                  </a:lnTo>
                  <a:lnTo>
                    <a:pt x="613" y="1126"/>
                  </a:lnTo>
                  <a:lnTo>
                    <a:pt x="628" y="1127"/>
                  </a:lnTo>
                  <a:lnTo>
                    <a:pt x="659" y="1126"/>
                  </a:lnTo>
                  <a:lnTo>
                    <a:pt x="686" y="1126"/>
                  </a:lnTo>
                  <a:lnTo>
                    <a:pt x="695" y="1127"/>
                  </a:lnTo>
                  <a:lnTo>
                    <a:pt x="705" y="1130"/>
                  </a:lnTo>
                  <a:lnTo>
                    <a:pt x="713" y="1134"/>
                  </a:lnTo>
                  <a:lnTo>
                    <a:pt x="721" y="1138"/>
                  </a:lnTo>
                  <a:lnTo>
                    <a:pt x="738" y="1149"/>
                  </a:lnTo>
                  <a:lnTo>
                    <a:pt x="755" y="1161"/>
                  </a:lnTo>
                  <a:lnTo>
                    <a:pt x="774" y="1173"/>
                  </a:lnTo>
                  <a:lnTo>
                    <a:pt x="795" y="1182"/>
                  </a:lnTo>
                  <a:lnTo>
                    <a:pt x="806" y="1186"/>
                  </a:lnTo>
                  <a:lnTo>
                    <a:pt x="818" y="1189"/>
                  </a:lnTo>
                  <a:lnTo>
                    <a:pt x="830" y="1191"/>
                  </a:lnTo>
                  <a:lnTo>
                    <a:pt x="843" y="1191"/>
                  </a:lnTo>
                  <a:lnTo>
                    <a:pt x="858" y="1190"/>
                  </a:lnTo>
                  <a:lnTo>
                    <a:pt x="871" y="1187"/>
                  </a:lnTo>
                  <a:lnTo>
                    <a:pt x="885" y="1182"/>
                  </a:lnTo>
                  <a:lnTo>
                    <a:pt x="897" y="1177"/>
                  </a:lnTo>
                  <a:lnTo>
                    <a:pt x="910" y="1171"/>
                  </a:lnTo>
                  <a:lnTo>
                    <a:pt x="923" y="1166"/>
                  </a:lnTo>
                  <a:lnTo>
                    <a:pt x="937" y="1163"/>
                  </a:lnTo>
                  <a:lnTo>
                    <a:pt x="951" y="1162"/>
                  </a:lnTo>
                  <a:lnTo>
                    <a:pt x="959" y="1162"/>
                  </a:lnTo>
                  <a:lnTo>
                    <a:pt x="966" y="1165"/>
                  </a:lnTo>
                  <a:lnTo>
                    <a:pt x="971" y="1169"/>
                  </a:lnTo>
                  <a:lnTo>
                    <a:pt x="975" y="1173"/>
                  </a:lnTo>
                  <a:lnTo>
                    <a:pt x="978" y="1178"/>
                  </a:lnTo>
                  <a:lnTo>
                    <a:pt x="981" y="1185"/>
                  </a:lnTo>
                  <a:lnTo>
                    <a:pt x="981" y="1191"/>
                  </a:lnTo>
                  <a:lnTo>
                    <a:pt x="982" y="1198"/>
                  </a:lnTo>
                  <a:lnTo>
                    <a:pt x="981" y="1205"/>
                  </a:lnTo>
                  <a:lnTo>
                    <a:pt x="979" y="1210"/>
                  </a:lnTo>
                  <a:lnTo>
                    <a:pt x="975" y="1217"/>
                  </a:lnTo>
                  <a:lnTo>
                    <a:pt x="973" y="1222"/>
                  </a:lnTo>
                  <a:lnTo>
                    <a:pt x="969" y="1229"/>
                  </a:lnTo>
                  <a:lnTo>
                    <a:pt x="966" y="1235"/>
                  </a:lnTo>
                  <a:lnTo>
                    <a:pt x="965" y="1243"/>
                  </a:lnTo>
                  <a:lnTo>
                    <a:pt x="963" y="1251"/>
                  </a:lnTo>
                  <a:lnTo>
                    <a:pt x="965" y="1261"/>
                  </a:lnTo>
                  <a:lnTo>
                    <a:pt x="969" y="1267"/>
                  </a:lnTo>
                  <a:lnTo>
                    <a:pt x="973" y="1274"/>
                  </a:lnTo>
                  <a:lnTo>
                    <a:pt x="978" y="1279"/>
                  </a:lnTo>
                  <a:lnTo>
                    <a:pt x="985" y="1286"/>
                  </a:lnTo>
                  <a:lnTo>
                    <a:pt x="989" y="1294"/>
                  </a:lnTo>
                  <a:lnTo>
                    <a:pt x="993" y="1302"/>
                  </a:lnTo>
                  <a:lnTo>
                    <a:pt x="994" y="1313"/>
                  </a:lnTo>
                  <a:lnTo>
                    <a:pt x="991" y="1329"/>
                  </a:lnTo>
                  <a:lnTo>
                    <a:pt x="987" y="1345"/>
                  </a:lnTo>
                  <a:lnTo>
                    <a:pt x="983" y="1361"/>
                  </a:lnTo>
                  <a:lnTo>
                    <a:pt x="982" y="1378"/>
                  </a:lnTo>
                  <a:lnTo>
                    <a:pt x="1018" y="1378"/>
                  </a:lnTo>
                  <a:lnTo>
                    <a:pt x="1019" y="1367"/>
                  </a:lnTo>
                  <a:lnTo>
                    <a:pt x="1022" y="1358"/>
                  </a:lnTo>
                  <a:lnTo>
                    <a:pt x="1026" y="1349"/>
                  </a:lnTo>
                  <a:lnTo>
                    <a:pt x="1031" y="1339"/>
                  </a:lnTo>
                  <a:lnTo>
                    <a:pt x="1037" y="1333"/>
                  </a:lnTo>
                  <a:lnTo>
                    <a:pt x="1043" y="1325"/>
                  </a:lnTo>
                  <a:lnTo>
                    <a:pt x="1050" y="1319"/>
                  </a:lnTo>
                  <a:lnTo>
                    <a:pt x="1058" y="1314"/>
                  </a:lnTo>
                  <a:lnTo>
                    <a:pt x="1067" y="1309"/>
                  </a:lnTo>
                  <a:lnTo>
                    <a:pt x="1077" y="1305"/>
                  </a:lnTo>
                  <a:lnTo>
                    <a:pt x="1087" y="1302"/>
                  </a:lnTo>
                  <a:lnTo>
                    <a:pt x="1098" y="1299"/>
                  </a:lnTo>
                  <a:lnTo>
                    <a:pt x="1121" y="1295"/>
                  </a:lnTo>
                  <a:lnTo>
                    <a:pt x="1145" y="1294"/>
                  </a:lnTo>
                  <a:lnTo>
                    <a:pt x="1145" y="128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85" name="Freeform 81"/>
            <p:cNvSpPr>
              <a:spLocks/>
            </p:cNvSpPr>
            <p:nvPr/>
          </p:nvSpPr>
          <p:spPr bwMode="auto">
            <a:xfrm>
              <a:off x="432122" y="3249613"/>
              <a:ext cx="146050" cy="174625"/>
            </a:xfrm>
            <a:custGeom>
              <a:avLst/>
              <a:gdLst/>
              <a:ahLst/>
              <a:cxnLst>
                <a:cxn ang="0">
                  <a:pos x="303" y="240"/>
                </a:cxn>
                <a:cxn ang="0">
                  <a:pos x="303" y="254"/>
                </a:cxn>
                <a:cxn ang="0">
                  <a:pos x="300" y="266"/>
                </a:cxn>
                <a:cxn ang="0">
                  <a:pos x="296" y="277"/>
                </a:cxn>
                <a:cxn ang="0">
                  <a:pos x="291" y="286"/>
                </a:cxn>
                <a:cxn ang="0">
                  <a:pos x="284" y="294"/>
                </a:cxn>
                <a:cxn ang="0">
                  <a:pos x="277" y="301"/>
                </a:cxn>
                <a:cxn ang="0">
                  <a:pos x="269" y="308"/>
                </a:cxn>
                <a:cxn ang="0">
                  <a:pos x="260" y="313"/>
                </a:cxn>
                <a:cxn ang="0">
                  <a:pos x="243" y="322"/>
                </a:cxn>
                <a:cxn ang="0">
                  <a:pos x="224" y="330"/>
                </a:cxn>
                <a:cxn ang="0">
                  <a:pos x="216" y="334"/>
                </a:cxn>
                <a:cxn ang="0">
                  <a:pos x="208" y="338"/>
                </a:cxn>
                <a:cxn ang="0">
                  <a:pos x="201" y="344"/>
                </a:cxn>
                <a:cxn ang="0">
                  <a:pos x="195" y="349"/>
                </a:cxn>
                <a:cxn ang="0">
                  <a:pos x="183" y="361"/>
                </a:cxn>
                <a:cxn ang="0">
                  <a:pos x="163" y="329"/>
                </a:cxn>
                <a:cxn ang="0">
                  <a:pos x="142" y="297"/>
                </a:cxn>
                <a:cxn ang="0">
                  <a:pos x="118" y="265"/>
                </a:cxn>
                <a:cxn ang="0">
                  <a:pos x="94" y="232"/>
                </a:cxn>
                <a:cxn ang="0">
                  <a:pos x="70" y="197"/>
                </a:cxn>
                <a:cxn ang="0">
                  <a:pos x="47" y="161"/>
                </a:cxn>
                <a:cxn ang="0">
                  <a:pos x="36" y="142"/>
                </a:cxn>
                <a:cxn ang="0">
                  <a:pos x="26" y="124"/>
                </a:cxn>
                <a:cxn ang="0">
                  <a:pos x="16" y="104"/>
                </a:cxn>
                <a:cxn ang="0">
                  <a:pos x="8" y="84"/>
                </a:cxn>
                <a:cxn ang="0">
                  <a:pos x="4" y="73"/>
                </a:cxn>
                <a:cxn ang="0">
                  <a:pos x="2" y="64"/>
                </a:cxn>
                <a:cxn ang="0">
                  <a:pos x="0" y="56"/>
                </a:cxn>
                <a:cxn ang="0">
                  <a:pos x="0" y="49"/>
                </a:cxn>
                <a:cxn ang="0">
                  <a:pos x="2" y="44"/>
                </a:cxn>
                <a:cxn ang="0">
                  <a:pos x="3" y="38"/>
                </a:cxn>
                <a:cxn ang="0">
                  <a:pos x="6" y="34"/>
                </a:cxn>
                <a:cxn ang="0">
                  <a:pos x="10" y="32"/>
                </a:cxn>
                <a:cxn ang="0">
                  <a:pos x="28" y="22"/>
                </a:cxn>
                <a:cxn ang="0">
                  <a:pos x="51" y="12"/>
                </a:cxn>
                <a:cxn ang="0">
                  <a:pos x="62" y="5"/>
                </a:cxn>
                <a:cxn ang="0">
                  <a:pos x="70" y="2"/>
                </a:cxn>
                <a:cxn ang="0">
                  <a:pos x="78" y="0"/>
                </a:cxn>
                <a:cxn ang="0">
                  <a:pos x="86" y="0"/>
                </a:cxn>
                <a:cxn ang="0">
                  <a:pos x="92" y="1"/>
                </a:cxn>
                <a:cxn ang="0">
                  <a:pos x="99" y="4"/>
                </a:cxn>
                <a:cxn ang="0">
                  <a:pos x="106" y="6"/>
                </a:cxn>
                <a:cxn ang="0">
                  <a:pos x="112" y="10"/>
                </a:cxn>
                <a:cxn ang="0">
                  <a:pos x="128" y="18"/>
                </a:cxn>
                <a:cxn ang="0">
                  <a:pos x="151" y="26"/>
                </a:cxn>
                <a:cxn ang="0">
                  <a:pos x="164" y="30"/>
                </a:cxn>
                <a:cxn ang="0">
                  <a:pos x="180" y="33"/>
                </a:cxn>
                <a:cxn ang="0">
                  <a:pos x="197" y="34"/>
                </a:cxn>
                <a:cxn ang="0">
                  <a:pos x="219" y="36"/>
                </a:cxn>
                <a:cxn ang="0">
                  <a:pos x="223" y="41"/>
                </a:cxn>
                <a:cxn ang="0">
                  <a:pos x="231" y="56"/>
                </a:cxn>
                <a:cxn ang="0">
                  <a:pos x="244" y="78"/>
                </a:cxn>
                <a:cxn ang="0">
                  <a:pos x="261" y="108"/>
                </a:cxn>
                <a:cxn ang="0">
                  <a:pos x="275" y="136"/>
                </a:cxn>
                <a:cxn ang="0">
                  <a:pos x="287" y="168"/>
                </a:cxn>
                <a:cxn ang="0">
                  <a:pos x="292" y="184"/>
                </a:cxn>
                <a:cxn ang="0">
                  <a:pos x="297" y="202"/>
                </a:cxn>
                <a:cxn ang="0">
                  <a:pos x="300" y="221"/>
                </a:cxn>
                <a:cxn ang="0">
                  <a:pos x="303" y="240"/>
                </a:cxn>
              </a:cxnLst>
              <a:rect l="0" t="0" r="r" b="b"/>
              <a:pathLst>
                <a:path w="303" h="361">
                  <a:moveTo>
                    <a:pt x="303" y="240"/>
                  </a:moveTo>
                  <a:lnTo>
                    <a:pt x="303" y="254"/>
                  </a:lnTo>
                  <a:lnTo>
                    <a:pt x="300" y="266"/>
                  </a:lnTo>
                  <a:lnTo>
                    <a:pt x="296" y="277"/>
                  </a:lnTo>
                  <a:lnTo>
                    <a:pt x="291" y="286"/>
                  </a:lnTo>
                  <a:lnTo>
                    <a:pt x="284" y="294"/>
                  </a:lnTo>
                  <a:lnTo>
                    <a:pt x="277" y="301"/>
                  </a:lnTo>
                  <a:lnTo>
                    <a:pt x="269" y="308"/>
                  </a:lnTo>
                  <a:lnTo>
                    <a:pt x="260" y="313"/>
                  </a:lnTo>
                  <a:lnTo>
                    <a:pt x="243" y="322"/>
                  </a:lnTo>
                  <a:lnTo>
                    <a:pt x="224" y="330"/>
                  </a:lnTo>
                  <a:lnTo>
                    <a:pt x="216" y="334"/>
                  </a:lnTo>
                  <a:lnTo>
                    <a:pt x="208" y="338"/>
                  </a:lnTo>
                  <a:lnTo>
                    <a:pt x="201" y="344"/>
                  </a:lnTo>
                  <a:lnTo>
                    <a:pt x="195" y="349"/>
                  </a:lnTo>
                  <a:lnTo>
                    <a:pt x="183" y="361"/>
                  </a:lnTo>
                  <a:lnTo>
                    <a:pt x="163" y="329"/>
                  </a:lnTo>
                  <a:lnTo>
                    <a:pt x="142" y="297"/>
                  </a:lnTo>
                  <a:lnTo>
                    <a:pt x="118" y="265"/>
                  </a:lnTo>
                  <a:lnTo>
                    <a:pt x="94" y="232"/>
                  </a:lnTo>
                  <a:lnTo>
                    <a:pt x="70" y="197"/>
                  </a:lnTo>
                  <a:lnTo>
                    <a:pt x="47" y="161"/>
                  </a:lnTo>
                  <a:lnTo>
                    <a:pt x="36" y="142"/>
                  </a:lnTo>
                  <a:lnTo>
                    <a:pt x="26" y="124"/>
                  </a:lnTo>
                  <a:lnTo>
                    <a:pt x="16" y="104"/>
                  </a:lnTo>
                  <a:lnTo>
                    <a:pt x="8" y="84"/>
                  </a:lnTo>
                  <a:lnTo>
                    <a:pt x="4" y="73"/>
                  </a:lnTo>
                  <a:lnTo>
                    <a:pt x="2" y="64"/>
                  </a:lnTo>
                  <a:lnTo>
                    <a:pt x="0" y="56"/>
                  </a:lnTo>
                  <a:lnTo>
                    <a:pt x="0" y="49"/>
                  </a:lnTo>
                  <a:lnTo>
                    <a:pt x="2" y="44"/>
                  </a:lnTo>
                  <a:lnTo>
                    <a:pt x="3" y="38"/>
                  </a:lnTo>
                  <a:lnTo>
                    <a:pt x="6" y="34"/>
                  </a:lnTo>
                  <a:lnTo>
                    <a:pt x="10" y="32"/>
                  </a:lnTo>
                  <a:lnTo>
                    <a:pt x="28" y="22"/>
                  </a:lnTo>
                  <a:lnTo>
                    <a:pt x="51" y="12"/>
                  </a:lnTo>
                  <a:lnTo>
                    <a:pt x="62" y="5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2" y="10"/>
                  </a:lnTo>
                  <a:lnTo>
                    <a:pt x="128" y="18"/>
                  </a:lnTo>
                  <a:lnTo>
                    <a:pt x="151" y="26"/>
                  </a:lnTo>
                  <a:lnTo>
                    <a:pt x="164" y="30"/>
                  </a:lnTo>
                  <a:lnTo>
                    <a:pt x="180" y="33"/>
                  </a:lnTo>
                  <a:lnTo>
                    <a:pt x="197" y="34"/>
                  </a:lnTo>
                  <a:lnTo>
                    <a:pt x="219" y="36"/>
                  </a:lnTo>
                  <a:lnTo>
                    <a:pt x="223" y="41"/>
                  </a:lnTo>
                  <a:lnTo>
                    <a:pt x="231" y="56"/>
                  </a:lnTo>
                  <a:lnTo>
                    <a:pt x="244" y="78"/>
                  </a:lnTo>
                  <a:lnTo>
                    <a:pt x="261" y="108"/>
                  </a:lnTo>
                  <a:lnTo>
                    <a:pt x="275" y="136"/>
                  </a:lnTo>
                  <a:lnTo>
                    <a:pt x="287" y="168"/>
                  </a:lnTo>
                  <a:lnTo>
                    <a:pt x="292" y="184"/>
                  </a:lnTo>
                  <a:lnTo>
                    <a:pt x="297" y="202"/>
                  </a:lnTo>
                  <a:lnTo>
                    <a:pt x="300" y="221"/>
                  </a:lnTo>
                  <a:lnTo>
                    <a:pt x="303" y="2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86" name="Freeform 82"/>
            <p:cNvSpPr>
              <a:spLocks/>
            </p:cNvSpPr>
            <p:nvPr/>
          </p:nvSpPr>
          <p:spPr bwMode="auto">
            <a:xfrm>
              <a:off x="768672" y="4265613"/>
              <a:ext cx="257175" cy="238125"/>
            </a:xfrm>
            <a:custGeom>
              <a:avLst/>
              <a:gdLst/>
              <a:ahLst/>
              <a:cxnLst>
                <a:cxn ang="0">
                  <a:pos x="513" y="390"/>
                </a:cxn>
                <a:cxn ang="0">
                  <a:pos x="526" y="415"/>
                </a:cxn>
                <a:cxn ang="0">
                  <a:pos x="526" y="437"/>
                </a:cxn>
                <a:cxn ang="0">
                  <a:pos x="507" y="474"/>
                </a:cxn>
                <a:cxn ang="0">
                  <a:pos x="435" y="471"/>
                </a:cxn>
                <a:cxn ang="0">
                  <a:pos x="349" y="446"/>
                </a:cxn>
                <a:cxn ang="0">
                  <a:pos x="258" y="415"/>
                </a:cxn>
                <a:cxn ang="0">
                  <a:pos x="240" y="402"/>
                </a:cxn>
                <a:cxn ang="0">
                  <a:pos x="216" y="365"/>
                </a:cxn>
                <a:cxn ang="0">
                  <a:pos x="192" y="331"/>
                </a:cxn>
                <a:cxn ang="0">
                  <a:pos x="169" y="325"/>
                </a:cxn>
                <a:cxn ang="0">
                  <a:pos x="132" y="325"/>
                </a:cxn>
                <a:cxn ang="0">
                  <a:pos x="108" y="322"/>
                </a:cxn>
                <a:cxn ang="0">
                  <a:pos x="84" y="302"/>
                </a:cxn>
                <a:cxn ang="0">
                  <a:pos x="72" y="271"/>
                </a:cxn>
                <a:cxn ang="0">
                  <a:pos x="73" y="241"/>
                </a:cxn>
                <a:cxn ang="0">
                  <a:pos x="68" y="219"/>
                </a:cxn>
                <a:cxn ang="0">
                  <a:pos x="44" y="194"/>
                </a:cxn>
                <a:cxn ang="0">
                  <a:pos x="6" y="155"/>
                </a:cxn>
                <a:cxn ang="0">
                  <a:pos x="1" y="134"/>
                </a:cxn>
                <a:cxn ang="0">
                  <a:pos x="2" y="114"/>
                </a:cxn>
                <a:cxn ang="0">
                  <a:pos x="17" y="89"/>
                </a:cxn>
                <a:cxn ang="0">
                  <a:pos x="53" y="56"/>
                </a:cxn>
                <a:cxn ang="0">
                  <a:pos x="80" y="45"/>
                </a:cxn>
                <a:cxn ang="0">
                  <a:pos x="96" y="60"/>
                </a:cxn>
                <a:cxn ang="0">
                  <a:pos x="106" y="56"/>
                </a:cxn>
                <a:cxn ang="0">
                  <a:pos x="124" y="37"/>
                </a:cxn>
                <a:cxn ang="0">
                  <a:pos x="148" y="8"/>
                </a:cxn>
                <a:cxn ang="0">
                  <a:pos x="158" y="4"/>
                </a:cxn>
                <a:cxn ang="0">
                  <a:pos x="169" y="10"/>
                </a:cxn>
                <a:cxn ang="0">
                  <a:pos x="217" y="5"/>
                </a:cxn>
                <a:cxn ang="0">
                  <a:pos x="266" y="0"/>
                </a:cxn>
                <a:cxn ang="0">
                  <a:pos x="299" y="8"/>
                </a:cxn>
                <a:cxn ang="0">
                  <a:pos x="321" y="22"/>
                </a:cxn>
                <a:cxn ang="0">
                  <a:pos x="334" y="45"/>
                </a:cxn>
                <a:cxn ang="0">
                  <a:pos x="345" y="85"/>
                </a:cxn>
                <a:cxn ang="0">
                  <a:pos x="351" y="112"/>
                </a:cxn>
                <a:cxn ang="0">
                  <a:pos x="369" y="118"/>
                </a:cxn>
                <a:cxn ang="0">
                  <a:pos x="405" y="130"/>
                </a:cxn>
                <a:cxn ang="0">
                  <a:pos x="418" y="140"/>
                </a:cxn>
                <a:cxn ang="0">
                  <a:pos x="431" y="173"/>
                </a:cxn>
                <a:cxn ang="0">
                  <a:pos x="443" y="231"/>
                </a:cxn>
                <a:cxn ang="0">
                  <a:pos x="453" y="286"/>
                </a:cxn>
                <a:cxn ang="0">
                  <a:pos x="469" y="325"/>
                </a:cxn>
                <a:cxn ang="0">
                  <a:pos x="499" y="361"/>
                </a:cxn>
              </a:cxnLst>
              <a:rect l="0" t="0" r="r" b="b"/>
              <a:pathLst>
                <a:path w="530" h="493">
                  <a:moveTo>
                    <a:pt x="511" y="367"/>
                  </a:moveTo>
                  <a:lnTo>
                    <a:pt x="511" y="381"/>
                  </a:lnTo>
                  <a:lnTo>
                    <a:pt x="513" y="390"/>
                  </a:lnTo>
                  <a:lnTo>
                    <a:pt x="517" y="398"/>
                  </a:lnTo>
                  <a:lnTo>
                    <a:pt x="523" y="409"/>
                  </a:lnTo>
                  <a:lnTo>
                    <a:pt x="526" y="415"/>
                  </a:lnTo>
                  <a:lnTo>
                    <a:pt x="530" y="421"/>
                  </a:lnTo>
                  <a:lnTo>
                    <a:pt x="529" y="429"/>
                  </a:lnTo>
                  <a:lnTo>
                    <a:pt x="526" y="437"/>
                  </a:lnTo>
                  <a:lnTo>
                    <a:pt x="523" y="446"/>
                  </a:lnTo>
                  <a:lnTo>
                    <a:pt x="518" y="455"/>
                  </a:lnTo>
                  <a:lnTo>
                    <a:pt x="507" y="474"/>
                  </a:lnTo>
                  <a:lnTo>
                    <a:pt x="494" y="493"/>
                  </a:lnTo>
                  <a:lnTo>
                    <a:pt x="465" y="481"/>
                  </a:lnTo>
                  <a:lnTo>
                    <a:pt x="435" y="471"/>
                  </a:lnTo>
                  <a:lnTo>
                    <a:pt x="407" y="462"/>
                  </a:lnTo>
                  <a:lnTo>
                    <a:pt x="378" y="454"/>
                  </a:lnTo>
                  <a:lnTo>
                    <a:pt x="349" y="446"/>
                  </a:lnTo>
                  <a:lnTo>
                    <a:pt x="319" y="438"/>
                  </a:lnTo>
                  <a:lnTo>
                    <a:pt x="290" y="427"/>
                  </a:lnTo>
                  <a:lnTo>
                    <a:pt x="258" y="415"/>
                  </a:lnTo>
                  <a:lnTo>
                    <a:pt x="252" y="411"/>
                  </a:lnTo>
                  <a:lnTo>
                    <a:pt x="245" y="407"/>
                  </a:lnTo>
                  <a:lnTo>
                    <a:pt x="240" y="402"/>
                  </a:lnTo>
                  <a:lnTo>
                    <a:pt x="234" y="395"/>
                  </a:lnTo>
                  <a:lnTo>
                    <a:pt x="225" y="381"/>
                  </a:lnTo>
                  <a:lnTo>
                    <a:pt x="216" y="365"/>
                  </a:lnTo>
                  <a:lnTo>
                    <a:pt x="208" y="350"/>
                  </a:lnTo>
                  <a:lnTo>
                    <a:pt x="197" y="337"/>
                  </a:lnTo>
                  <a:lnTo>
                    <a:pt x="192" y="331"/>
                  </a:lnTo>
                  <a:lnTo>
                    <a:pt x="185" y="329"/>
                  </a:lnTo>
                  <a:lnTo>
                    <a:pt x="177" y="326"/>
                  </a:lnTo>
                  <a:lnTo>
                    <a:pt x="169" y="325"/>
                  </a:lnTo>
                  <a:lnTo>
                    <a:pt x="153" y="325"/>
                  </a:lnTo>
                  <a:lnTo>
                    <a:pt x="141" y="325"/>
                  </a:lnTo>
                  <a:lnTo>
                    <a:pt x="132" y="325"/>
                  </a:lnTo>
                  <a:lnTo>
                    <a:pt x="126" y="325"/>
                  </a:lnTo>
                  <a:lnTo>
                    <a:pt x="116" y="323"/>
                  </a:lnTo>
                  <a:lnTo>
                    <a:pt x="108" y="322"/>
                  </a:lnTo>
                  <a:lnTo>
                    <a:pt x="101" y="318"/>
                  </a:lnTo>
                  <a:lnTo>
                    <a:pt x="94" y="313"/>
                  </a:lnTo>
                  <a:lnTo>
                    <a:pt x="84" y="302"/>
                  </a:lnTo>
                  <a:lnTo>
                    <a:pt x="72" y="289"/>
                  </a:lnTo>
                  <a:lnTo>
                    <a:pt x="70" y="281"/>
                  </a:lnTo>
                  <a:lnTo>
                    <a:pt x="72" y="271"/>
                  </a:lnTo>
                  <a:lnTo>
                    <a:pt x="72" y="262"/>
                  </a:lnTo>
                  <a:lnTo>
                    <a:pt x="73" y="251"/>
                  </a:lnTo>
                  <a:lnTo>
                    <a:pt x="73" y="241"/>
                  </a:lnTo>
                  <a:lnTo>
                    <a:pt x="72" y="230"/>
                  </a:lnTo>
                  <a:lnTo>
                    <a:pt x="69" y="225"/>
                  </a:lnTo>
                  <a:lnTo>
                    <a:pt x="68" y="219"/>
                  </a:lnTo>
                  <a:lnTo>
                    <a:pt x="64" y="215"/>
                  </a:lnTo>
                  <a:lnTo>
                    <a:pt x="60" y="210"/>
                  </a:lnTo>
                  <a:lnTo>
                    <a:pt x="44" y="194"/>
                  </a:lnTo>
                  <a:lnTo>
                    <a:pt x="24" y="177"/>
                  </a:lnTo>
                  <a:lnTo>
                    <a:pt x="14" y="167"/>
                  </a:lnTo>
                  <a:lnTo>
                    <a:pt x="6" y="155"/>
                  </a:lnTo>
                  <a:lnTo>
                    <a:pt x="4" y="150"/>
                  </a:lnTo>
                  <a:lnTo>
                    <a:pt x="2" y="142"/>
                  </a:lnTo>
                  <a:lnTo>
                    <a:pt x="1" y="134"/>
                  </a:lnTo>
                  <a:lnTo>
                    <a:pt x="0" y="126"/>
                  </a:lnTo>
                  <a:lnTo>
                    <a:pt x="1" y="121"/>
                  </a:lnTo>
                  <a:lnTo>
                    <a:pt x="2" y="114"/>
                  </a:lnTo>
                  <a:lnTo>
                    <a:pt x="5" y="108"/>
                  </a:lnTo>
                  <a:lnTo>
                    <a:pt x="8" y="102"/>
                  </a:lnTo>
                  <a:lnTo>
                    <a:pt x="17" y="89"/>
                  </a:lnTo>
                  <a:lnTo>
                    <a:pt x="28" y="77"/>
                  </a:lnTo>
                  <a:lnTo>
                    <a:pt x="40" y="66"/>
                  </a:lnTo>
                  <a:lnTo>
                    <a:pt x="53" y="56"/>
                  </a:lnTo>
                  <a:lnTo>
                    <a:pt x="66" y="48"/>
                  </a:lnTo>
                  <a:lnTo>
                    <a:pt x="78" y="42"/>
                  </a:lnTo>
                  <a:lnTo>
                    <a:pt x="80" y="45"/>
                  </a:lnTo>
                  <a:lnTo>
                    <a:pt x="85" y="50"/>
                  </a:lnTo>
                  <a:lnTo>
                    <a:pt x="90" y="57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58"/>
                  </a:lnTo>
                  <a:lnTo>
                    <a:pt x="106" y="56"/>
                  </a:lnTo>
                  <a:lnTo>
                    <a:pt x="110" y="53"/>
                  </a:lnTo>
                  <a:lnTo>
                    <a:pt x="117" y="45"/>
                  </a:lnTo>
                  <a:lnTo>
                    <a:pt x="124" y="37"/>
                  </a:lnTo>
                  <a:lnTo>
                    <a:pt x="132" y="26"/>
                  </a:lnTo>
                  <a:lnTo>
                    <a:pt x="140" y="17"/>
                  </a:lnTo>
                  <a:lnTo>
                    <a:pt x="148" y="8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8" y="4"/>
                  </a:lnTo>
                  <a:lnTo>
                    <a:pt x="160" y="6"/>
                  </a:lnTo>
                  <a:lnTo>
                    <a:pt x="162" y="8"/>
                  </a:lnTo>
                  <a:lnTo>
                    <a:pt x="169" y="10"/>
                  </a:lnTo>
                  <a:lnTo>
                    <a:pt x="181" y="12"/>
                  </a:lnTo>
                  <a:lnTo>
                    <a:pt x="198" y="10"/>
                  </a:lnTo>
                  <a:lnTo>
                    <a:pt x="217" y="5"/>
                  </a:lnTo>
                  <a:lnTo>
                    <a:pt x="234" y="1"/>
                  </a:lnTo>
                  <a:lnTo>
                    <a:pt x="253" y="0"/>
                  </a:lnTo>
                  <a:lnTo>
                    <a:pt x="266" y="0"/>
                  </a:lnTo>
                  <a:lnTo>
                    <a:pt x="279" y="1"/>
                  </a:lnTo>
                  <a:lnTo>
                    <a:pt x="290" y="4"/>
                  </a:lnTo>
                  <a:lnTo>
                    <a:pt x="299" y="8"/>
                  </a:lnTo>
                  <a:lnTo>
                    <a:pt x="307" y="12"/>
                  </a:lnTo>
                  <a:lnTo>
                    <a:pt x="314" y="17"/>
                  </a:lnTo>
                  <a:lnTo>
                    <a:pt x="321" y="22"/>
                  </a:lnTo>
                  <a:lnTo>
                    <a:pt x="326" y="29"/>
                  </a:lnTo>
                  <a:lnTo>
                    <a:pt x="330" y="37"/>
                  </a:lnTo>
                  <a:lnTo>
                    <a:pt x="334" y="45"/>
                  </a:lnTo>
                  <a:lnTo>
                    <a:pt x="337" y="53"/>
                  </a:lnTo>
                  <a:lnTo>
                    <a:pt x="339" y="64"/>
                  </a:lnTo>
                  <a:lnTo>
                    <a:pt x="345" y="85"/>
                  </a:lnTo>
                  <a:lnTo>
                    <a:pt x="349" y="108"/>
                  </a:lnTo>
                  <a:lnTo>
                    <a:pt x="350" y="110"/>
                  </a:lnTo>
                  <a:lnTo>
                    <a:pt x="351" y="112"/>
                  </a:lnTo>
                  <a:lnTo>
                    <a:pt x="354" y="114"/>
                  </a:lnTo>
                  <a:lnTo>
                    <a:pt x="358" y="116"/>
                  </a:lnTo>
                  <a:lnTo>
                    <a:pt x="369" y="118"/>
                  </a:lnTo>
                  <a:lnTo>
                    <a:pt x="381" y="121"/>
                  </a:lnTo>
                  <a:lnTo>
                    <a:pt x="393" y="125"/>
                  </a:lnTo>
                  <a:lnTo>
                    <a:pt x="405" y="130"/>
                  </a:lnTo>
                  <a:lnTo>
                    <a:pt x="410" y="133"/>
                  </a:lnTo>
                  <a:lnTo>
                    <a:pt x="414" y="136"/>
                  </a:lnTo>
                  <a:lnTo>
                    <a:pt x="418" y="140"/>
                  </a:lnTo>
                  <a:lnTo>
                    <a:pt x="421" y="144"/>
                  </a:lnTo>
                  <a:lnTo>
                    <a:pt x="427" y="158"/>
                  </a:lnTo>
                  <a:lnTo>
                    <a:pt x="431" y="173"/>
                  </a:lnTo>
                  <a:lnTo>
                    <a:pt x="435" y="187"/>
                  </a:lnTo>
                  <a:lnTo>
                    <a:pt x="438" y="202"/>
                  </a:lnTo>
                  <a:lnTo>
                    <a:pt x="443" y="231"/>
                  </a:lnTo>
                  <a:lnTo>
                    <a:pt x="447" y="259"/>
                  </a:lnTo>
                  <a:lnTo>
                    <a:pt x="449" y="273"/>
                  </a:lnTo>
                  <a:lnTo>
                    <a:pt x="453" y="286"/>
                  </a:lnTo>
                  <a:lnTo>
                    <a:pt x="457" y="299"/>
                  </a:lnTo>
                  <a:lnTo>
                    <a:pt x="462" y="313"/>
                  </a:lnTo>
                  <a:lnTo>
                    <a:pt x="469" y="325"/>
                  </a:lnTo>
                  <a:lnTo>
                    <a:pt x="477" y="338"/>
                  </a:lnTo>
                  <a:lnTo>
                    <a:pt x="487" y="349"/>
                  </a:lnTo>
                  <a:lnTo>
                    <a:pt x="499" y="361"/>
                  </a:lnTo>
                  <a:lnTo>
                    <a:pt x="511" y="36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87" name="Freeform 83"/>
            <p:cNvSpPr>
              <a:spLocks/>
            </p:cNvSpPr>
            <p:nvPr/>
          </p:nvSpPr>
          <p:spPr bwMode="auto">
            <a:xfrm>
              <a:off x="3168972" y="3287713"/>
              <a:ext cx="71438" cy="100012"/>
            </a:xfrm>
            <a:custGeom>
              <a:avLst/>
              <a:gdLst/>
              <a:ahLst/>
              <a:cxnLst>
                <a:cxn ang="0">
                  <a:pos x="108" y="85"/>
                </a:cxn>
                <a:cxn ang="0">
                  <a:pos x="107" y="84"/>
                </a:cxn>
                <a:cxn ang="0">
                  <a:pos x="106" y="83"/>
                </a:cxn>
                <a:cxn ang="0">
                  <a:pos x="104" y="81"/>
                </a:cxn>
                <a:cxn ang="0">
                  <a:pos x="103" y="79"/>
                </a:cxn>
                <a:cxn ang="0">
                  <a:pos x="103" y="72"/>
                </a:cxn>
                <a:cxn ang="0">
                  <a:pos x="104" y="64"/>
                </a:cxn>
                <a:cxn ang="0">
                  <a:pos x="107" y="49"/>
                </a:cxn>
                <a:cxn ang="0">
                  <a:pos x="108" y="43"/>
                </a:cxn>
                <a:cxn ang="0">
                  <a:pos x="107" y="36"/>
                </a:cxn>
                <a:cxn ang="0">
                  <a:pos x="103" y="31"/>
                </a:cxn>
                <a:cxn ang="0">
                  <a:pos x="96" y="24"/>
                </a:cxn>
                <a:cxn ang="0">
                  <a:pos x="90" y="20"/>
                </a:cxn>
                <a:cxn ang="0">
                  <a:pos x="74" y="9"/>
                </a:cxn>
                <a:cxn ang="0">
                  <a:pos x="60" y="0"/>
                </a:cxn>
                <a:cxn ang="0">
                  <a:pos x="59" y="5"/>
                </a:cxn>
                <a:cxn ang="0">
                  <a:pos x="56" y="9"/>
                </a:cxn>
                <a:cxn ang="0">
                  <a:pos x="52" y="13"/>
                </a:cxn>
                <a:cxn ang="0">
                  <a:pos x="48" y="17"/>
                </a:cxn>
                <a:cxn ang="0">
                  <a:pos x="39" y="27"/>
                </a:cxn>
                <a:cxn ang="0">
                  <a:pos x="28" y="35"/>
                </a:cxn>
                <a:cxn ang="0">
                  <a:pos x="18" y="43"/>
                </a:cxn>
                <a:cxn ang="0">
                  <a:pos x="8" y="52"/>
                </a:cxn>
                <a:cxn ang="0">
                  <a:pos x="6" y="57"/>
                </a:cxn>
                <a:cxn ang="0">
                  <a:pos x="3" y="63"/>
                </a:cxn>
                <a:cxn ang="0">
                  <a:pos x="0" y="67"/>
                </a:cxn>
                <a:cxn ang="0">
                  <a:pos x="0" y="73"/>
                </a:cxn>
                <a:cxn ang="0">
                  <a:pos x="4" y="81"/>
                </a:cxn>
                <a:cxn ang="0">
                  <a:pos x="15" y="99"/>
                </a:cxn>
                <a:cxn ang="0">
                  <a:pos x="30" y="120"/>
                </a:cxn>
                <a:cxn ang="0">
                  <a:pos x="46" y="144"/>
                </a:cxn>
                <a:cxn ang="0">
                  <a:pos x="63" y="167"/>
                </a:cxn>
                <a:cxn ang="0">
                  <a:pos x="79" y="187"/>
                </a:cxn>
                <a:cxn ang="0">
                  <a:pos x="91" y="200"/>
                </a:cxn>
                <a:cxn ang="0">
                  <a:pos x="96" y="205"/>
                </a:cxn>
                <a:cxn ang="0">
                  <a:pos x="108" y="204"/>
                </a:cxn>
                <a:cxn ang="0">
                  <a:pos x="118" y="200"/>
                </a:cxn>
                <a:cxn ang="0">
                  <a:pos x="127" y="195"/>
                </a:cxn>
                <a:cxn ang="0">
                  <a:pos x="135" y="187"/>
                </a:cxn>
                <a:cxn ang="0">
                  <a:pos x="142" y="177"/>
                </a:cxn>
                <a:cxn ang="0">
                  <a:pos x="147" y="167"/>
                </a:cxn>
                <a:cxn ang="0">
                  <a:pos x="150" y="156"/>
                </a:cxn>
                <a:cxn ang="0">
                  <a:pos x="151" y="145"/>
                </a:cxn>
                <a:cxn ang="0">
                  <a:pos x="150" y="139"/>
                </a:cxn>
                <a:cxn ang="0">
                  <a:pos x="147" y="131"/>
                </a:cxn>
                <a:cxn ang="0">
                  <a:pos x="142" y="121"/>
                </a:cxn>
                <a:cxn ang="0">
                  <a:pos x="136" y="111"/>
                </a:cxn>
                <a:cxn ang="0">
                  <a:pos x="130" y="101"/>
                </a:cxn>
                <a:cxn ang="0">
                  <a:pos x="123" y="92"/>
                </a:cxn>
                <a:cxn ang="0">
                  <a:pos x="119" y="89"/>
                </a:cxn>
                <a:cxn ang="0">
                  <a:pos x="116" y="87"/>
                </a:cxn>
                <a:cxn ang="0">
                  <a:pos x="112" y="85"/>
                </a:cxn>
                <a:cxn ang="0">
                  <a:pos x="108" y="85"/>
                </a:cxn>
              </a:cxnLst>
              <a:rect l="0" t="0" r="r" b="b"/>
              <a:pathLst>
                <a:path w="151" h="205">
                  <a:moveTo>
                    <a:pt x="108" y="85"/>
                  </a:moveTo>
                  <a:lnTo>
                    <a:pt x="107" y="84"/>
                  </a:lnTo>
                  <a:lnTo>
                    <a:pt x="106" y="83"/>
                  </a:lnTo>
                  <a:lnTo>
                    <a:pt x="104" y="81"/>
                  </a:lnTo>
                  <a:lnTo>
                    <a:pt x="103" y="79"/>
                  </a:lnTo>
                  <a:lnTo>
                    <a:pt x="103" y="72"/>
                  </a:lnTo>
                  <a:lnTo>
                    <a:pt x="104" y="64"/>
                  </a:lnTo>
                  <a:lnTo>
                    <a:pt x="107" y="49"/>
                  </a:lnTo>
                  <a:lnTo>
                    <a:pt x="108" y="43"/>
                  </a:lnTo>
                  <a:lnTo>
                    <a:pt x="107" y="36"/>
                  </a:lnTo>
                  <a:lnTo>
                    <a:pt x="103" y="31"/>
                  </a:lnTo>
                  <a:lnTo>
                    <a:pt x="96" y="24"/>
                  </a:lnTo>
                  <a:lnTo>
                    <a:pt x="90" y="20"/>
                  </a:lnTo>
                  <a:lnTo>
                    <a:pt x="74" y="9"/>
                  </a:lnTo>
                  <a:lnTo>
                    <a:pt x="60" y="0"/>
                  </a:lnTo>
                  <a:lnTo>
                    <a:pt x="59" y="5"/>
                  </a:lnTo>
                  <a:lnTo>
                    <a:pt x="56" y="9"/>
                  </a:lnTo>
                  <a:lnTo>
                    <a:pt x="52" y="13"/>
                  </a:lnTo>
                  <a:lnTo>
                    <a:pt x="48" y="17"/>
                  </a:lnTo>
                  <a:lnTo>
                    <a:pt x="39" y="27"/>
                  </a:lnTo>
                  <a:lnTo>
                    <a:pt x="28" y="35"/>
                  </a:lnTo>
                  <a:lnTo>
                    <a:pt x="18" y="43"/>
                  </a:lnTo>
                  <a:lnTo>
                    <a:pt x="8" y="52"/>
                  </a:lnTo>
                  <a:lnTo>
                    <a:pt x="6" y="57"/>
                  </a:lnTo>
                  <a:lnTo>
                    <a:pt x="3" y="63"/>
                  </a:lnTo>
                  <a:lnTo>
                    <a:pt x="0" y="67"/>
                  </a:lnTo>
                  <a:lnTo>
                    <a:pt x="0" y="73"/>
                  </a:lnTo>
                  <a:lnTo>
                    <a:pt x="4" y="81"/>
                  </a:lnTo>
                  <a:lnTo>
                    <a:pt x="15" y="99"/>
                  </a:lnTo>
                  <a:lnTo>
                    <a:pt x="30" y="120"/>
                  </a:lnTo>
                  <a:lnTo>
                    <a:pt x="46" y="144"/>
                  </a:lnTo>
                  <a:lnTo>
                    <a:pt x="63" y="167"/>
                  </a:lnTo>
                  <a:lnTo>
                    <a:pt x="79" y="187"/>
                  </a:lnTo>
                  <a:lnTo>
                    <a:pt x="91" y="200"/>
                  </a:lnTo>
                  <a:lnTo>
                    <a:pt x="96" y="205"/>
                  </a:lnTo>
                  <a:lnTo>
                    <a:pt x="108" y="204"/>
                  </a:lnTo>
                  <a:lnTo>
                    <a:pt x="118" y="200"/>
                  </a:lnTo>
                  <a:lnTo>
                    <a:pt x="127" y="195"/>
                  </a:lnTo>
                  <a:lnTo>
                    <a:pt x="135" y="187"/>
                  </a:lnTo>
                  <a:lnTo>
                    <a:pt x="142" y="177"/>
                  </a:lnTo>
                  <a:lnTo>
                    <a:pt x="147" y="167"/>
                  </a:lnTo>
                  <a:lnTo>
                    <a:pt x="150" y="156"/>
                  </a:lnTo>
                  <a:lnTo>
                    <a:pt x="151" y="145"/>
                  </a:lnTo>
                  <a:lnTo>
                    <a:pt x="150" y="139"/>
                  </a:lnTo>
                  <a:lnTo>
                    <a:pt x="147" y="131"/>
                  </a:lnTo>
                  <a:lnTo>
                    <a:pt x="142" y="121"/>
                  </a:lnTo>
                  <a:lnTo>
                    <a:pt x="136" y="111"/>
                  </a:lnTo>
                  <a:lnTo>
                    <a:pt x="130" y="101"/>
                  </a:lnTo>
                  <a:lnTo>
                    <a:pt x="123" y="92"/>
                  </a:lnTo>
                  <a:lnTo>
                    <a:pt x="119" y="89"/>
                  </a:lnTo>
                  <a:lnTo>
                    <a:pt x="116" y="87"/>
                  </a:lnTo>
                  <a:lnTo>
                    <a:pt x="112" y="85"/>
                  </a:lnTo>
                  <a:lnTo>
                    <a:pt x="108" y="8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88" name="Freeform 84"/>
            <p:cNvSpPr>
              <a:spLocks/>
            </p:cNvSpPr>
            <p:nvPr/>
          </p:nvSpPr>
          <p:spPr bwMode="auto">
            <a:xfrm>
              <a:off x="3007047" y="3051175"/>
              <a:ext cx="30163" cy="60325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1" y="18"/>
                </a:cxn>
                <a:cxn ang="0">
                  <a:pos x="1" y="11"/>
                </a:cxn>
                <a:cxn ang="0">
                  <a:pos x="1" y="7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10" y="2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34" y="2"/>
                </a:cxn>
                <a:cxn ang="0">
                  <a:pos x="42" y="6"/>
                </a:cxn>
                <a:cxn ang="0">
                  <a:pos x="49" y="10"/>
                </a:cxn>
                <a:cxn ang="0">
                  <a:pos x="54" y="16"/>
                </a:cxn>
                <a:cxn ang="0">
                  <a:pos x="57" y="24"/>
                </a:cxn>
                <a:cxn ang="0">
                  <a:pos x="60" y="34"/>
                </a:cxn>
                <a:cxn ang="0">
                  <a:pos x="60" y="44"/>
                </a:cxn>
                <a:cxn ang="0">
                  <a:pos x="61" y="55"/>
                </a:cxn>
                <a:cxn ang="0">
                  <a:pos x="61" y="74"/>
                </a:cxn>
                <a:cxn ang="0">
                  <a:pos x="61" y="86"/>
                </a:cxn>
                <a:cxn ang="0">
                  <a:pos x="61" y="98"/>
                </a:cxn>
                <a:cxn ang="0">
                  <a:pos x="61" y="115"/>
                </a:cxn>
                <a:cxn ang="0">
                  <a:pos x="60" y="119"/>
                </a:cxn>
                <a:cxn ang="0">
                  <a:pos x="57" y="123"/>
                </a:cxn>
                <a:cxn ang="0">
                  <a:pos x="54" y="124"/>
                </a:cxn>
                <a:cxn ang="0">
                  <a:pos x="50" y="126"/>
                </a:cxn>
                <a:cxn ang="0">
                  <a:pos x="42" y="127"/>
                </a:cxn>
                <a:cxn ang="0">
                  <a:pos x="37" y="127"/>
                </a:cxn>
                <a:cxn ang="0">
                  <a:pos x="29" y="127"/>
                </a:cxn>
                <a:cxn ang="0">
                  <a:pos x="25" y="126"/>
                </a:cxn>
                <a:cxn ang="0">
                  <a:pos x="22" y="123"/>
                </a:cxn>
                <a:cxn ang="0">
                  <a:pos x="21" y="119"/>
                </a:cxn>
                <a:cxn ang="0">
                  <a:pos x="22" y="110"/>
                </a:cxn>
                <a:cxn ang="0">
                  <a:pos x="25" y="98"/>
                </a:cxn>
                <a:cxn ang="0">
                  <a:pos x="24" y="88"/>
                </a:cxn>
                <a:cxn ang="0">
                  <a:pos x="21" y="80"/>
                </a:cxn>
                <a:cxn ang="0">
                  <a:pos x="17" y="72"/>
                </a:cxn>
                <a:cxn ang="0">
                  <a:pos x="13" y="63"/>
                </a:cxn>
                <a:cxn ang="0">
                  <a:pos x="8" y="55"/>
                </a:cxn>
                <a:cxn ang="0">
                  <a:pos x="4" y="46"/>
                </a:cxn>
                <a:cxn ang="0">
                  <a:pos x="1" y="36"/>
                </a:cxn>
                <a:cxn ang="0">
                  <a:pos x="0" y="26"/>
                </a:cxn>
              </a:cxnLst>
              <a:rect l="0" t="0" r="r" b="b"/>
              <a:pathLst>
                <a:path w="61" h="127">
                  <a:moveTo>
                    <a:pt x="0" y="26"/>
                  </a:moveTo>
                  <a:lnTo>
                    <a:pt x="1" y="18"/>
                  </a:lnTo>
                  <a:lnTo>
                    <a:pt x="1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4" y="2"/>
                  </a:lnTo>
                  <a:lnTo>
                    <a:pt x="42" y="6"/>
                  </a:lnTo>
                  <a:lnTo>
                    <a:pt x="49" y="10"/>
                  </a:lnTo>
                  <a:lnTo>
                    <a:pt x="54" y="16"/>
                  </a:lnTo>
                  <a:lnTo>
                    <a:pt x="57" y="24"/>
                  </a:lnTo>
                  <a:lnTo>
                    <a:pt x="60" y="34"/>
                  </a:lnTo>
                  <a:lnTo>
                    <a:pt x="60" y="44"/>
                  </a:lnTo>
                  <a:lnTo>
                    <a:pt x="61" y="55"/>
                  </a:lnTo>
                  <a:lnTo>
                    <a:pt x="61" y="74"/>
                  </a:lnTo>
                  <a:lnTo>
                    <a:pt x="61" y="86"/>
                  </a:lnTo>
                  <a:lnTo>
                    <a:pt x="61" y="98"/>
                  </a:lnTo>
                  <a:lnTo>
                    <a:pt x="61" y="115"/>
                  </a:lnTo>
                  <a:lnTo>
                    <a:pt x="60" y="119"/>
                  </a:lnTo>
                  <a:lnTo>
                    <a:pt x="57" y="123"/>
                  </a:lnTo>
                  <a:lnTo>
                    <a:pt x="54" y="124"/>
                  </a:lnTo>
                  <a:lnTo>
                    <a:pt x="50" y="126"/>
                  </a:lnTo>
                  <a:lnTo>
                    <a:pt x="42" y="127"/>
                  </a:lnTo>
                  <a:lnTo>
                    <a:pt x="37" y="127"/>
                  </a:lnTo>
                  <a:lnTo>
                    <a:pt x="29" y="127"/>
                  </a:lnTo>
                  <a:lnTo>
                    <a:pt x="25" y="126"/>
                  </a:lnTo>
                  <a:lnTo>
                    <a:pt x="22" y="123"/>
                  </a:lnTo>
                  <a:lnTo>
                    <a:pt x="21" y="119"/>
                  </a:lnTo>
                  <a:lnTo>
                    <a:pt x="22" y="110"/>
                  </a:lnTo>
                  <a:lnTo>
                    <a:pt x="25" y="98"/>
                  </a:lnTo>
                  <a:lnTo>
                    <a:pt x="24" y="88"/>
                  </a:lnTo>
                  <a:lnTo>
                    <a:pt x="21" y="80"/>
                  </a:lnTo>
                  <a:lnTo>
                    <a:pt x="17" y="72"/>
                  </a:lnTo>
                  <a:lnTo>
                    <a:pt x="13" y="63"/>
                  </a:lnTo>
                  <a:lnTo>
                    <a:pt x="8" y="55"/>
                  </a:lnTo>
                  <a:lnTo>
                    <a:pt x="4" y="46"/>
                  </a:lnTo>
                  <a:lnTo>
                    <a:pt x="1" y="3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89" name="Freeform 85"/>
            <p:cNvSpPr>
              <a:spLocks/>
            </p:cNvSpPr>
            <p:nvPr/>
          </p:nvSpPr>
          <p:spPr bwMode="auto">
            <a:xfrm>
              <a:off x="3718247" y="3086100"/>
              <a:ext cx="65088" cy="47625"/>
            </a:xfrm>
            <a:custGeom>
              <a:avLst/>
              <a:gdLst/>
              <a:ahLst/>
              <a:cxnLst>
                <a:cxn ang="0">
                  <a:pos x="114" y="29"/>
                </a:cxn>
                <a:cxn ang="0">
                  <a:pos x="114" y="0"/>
                </a:cxn>
                <a:cxn ang="0">
                  <a:pos x="92" y="0"/>
                </a:cxn>
                <a:cxn ang="0">
                  <a:pos x="78" y="0"/>
                </a:cxn>
                <a:cxn ang="0">
                  <a:pos x="66" y="0"/>
                </a:cxn>
                <a:cxn ang="0">
                  <a:pos x="53" y="4"/>
                </a:cxn>
                <a:cxn ang="0">
                  <a:pos x="40" y="9"/>
                </a:cxn>
                <a:cxn ang="0">
                  <a:pos x="28" y="17"/>
                </a:cxn>
                <a:cxn ang="0">
                  <a:pos x="21" y="21"/>
                </a:cxn>
                <a:cxn ang="0">
                  <a:pos x="17" y="26"/>
                </a:cxn>
                <a:cxn ang="0">
                  <a:pos x="12" y="32"/>
                </a:cxn>
                <a:cxn ang="0">
                  <a:pos x="8" y="37"/>
                </a:cxn>
                <a:cxn ang="0">
                  <a:pos x="4" y="44"/>
                </a:cxn>
                <a:cxn ang="0">
                  <a:pos x="1" y="50"/>
                </a:cxn>
                <a:cxn ang="0">
                  <a:pos x="0" y="58"/>
                </a:cxn>
                <a:cxn ang="0">
                  <a:pos x="0" y="65"/>
                </a:cxn>
                <a:cxn ang="0">
                  <a:pos x="1" y="72"/>
                </a:cxn>
                <a:cxn ang="0">
                  <a:pos x="5" y="78"/>
                </a:cxn>
                <a:cxn ang="0">
                  <a:pos x="10" y="82"/>
                </a:cxn>
                <a:cxn ang="0">
                  <a:pos x="16" y="88"/>
                </a:cxn>
                <a:cxn ang="0">
                  <a:pos x="24" y="90"/>
                </a:cxn>
                <a:cxn ang="0">
                  <a:pos x="30" y="93"/>
                </a:cxn>
                <a:cxn ang="0">
                  <a:pos x="37" y="96"/>
                </a:cxn>
                <a:cxn ang="0">
                  <a:pos x="42" y="96"/>
                </a:cxn>
                <a:cxn ang="0">
                  <a:pos x="66" y="94"/>
                </a:cxn>
                <a:cxn ang="0">
                  <a:pos x="86" y="92"/>
                </a:cxn>
                <a:cxn ang="0">
                  <a:pos x="97" y="90"/>
                </a:cxn>
                <a:cxn ang="0">
                  <a:pos x="108" y="90"/>
                </a:cxn>
                <a:cxn ang="0">
                  <a:pos x="120" y="92"/>
                </a:cxn>
                <a:cxn ang="0">
                  <a:pos x="132" y="96"/>
                </a:cxn>
                <a:cxn ang="0">
                  <a:pos x="132" y="65"/>
                </a:cxn>
                <a:cxn ang="0">
                  <a:pos x="125" y="65"/>
                </a:cxn>
                <a:cxn ang="0">
                  <a:pos x="120" y="64"/>
                </a:cxn>
                <a:cxn ang="0">
                  <a:pos x="114" y="61"/>
                </a:cxn>
                <a:cxn ang="0">
                  <a:pos x="109" y="60"/>
                </a:cxn>
                <a:cxn ang="0">
                  <a:pos x="101" y="56"/>
                </a:cxn>
                <a:cxn ang="0">
                  <a:pos x="96" y="53"/>
                </a:cxn>
                <a:cxn ang="0">
                  <a:pos x="104" y="48"/>
                </a:cxn>
                <a:cxn ang="0">
                  <a:pos x="109" y="41"/>
                </a:cxn>
                <a:cxn ang="0">
                  <a:pos x="113" y="34"/>
                </a:cxn>
                <a:cxn ang="0">
                  <a:pos x="114" y="29"/>
                </a:cxn>
              </a:cxnLst>
              <a:rect l="0" t="0" r="r" b="b"/>
              <a:pathLst>
                <a:path w="132" h="96">
                  <a:moveTo>
                    <a:pt x="114" y="29"/>
                  </a:moveTo>
                  <a:lnTo>
                    <a:pt x="114" y="0"/>
                  </a:lnTo>
                  <a:lnTo>
                    <a:pt x="92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53" y="4"/>
                  </a:lnTo>
                  <a:lnTo>
                    <a:pt x="40" y="9"/>
                  </a:lnTo>
                  <a:lnTo>
                    <a:pt x="28" y="17"/>
                  </a:lnTo>
                  <a:lnTo>
                    <a:pt x="21" y="21"/>
                  </a:lnTo>
                  <a:lnTo>
                    <a:pt x="17" y="26"/>
                  </a:lnTo>
                  <a:lnTo>
                    <a:pt x="12" y="32"/>
                  </a:lnTo>
                  <a:lnTo>
                    <a:pt x="8" y="37"/>
                  </a:lnTo>
                  <a:lnTo>
                    <a:pt x="4" y="44"/>
                  </a:lnTo>
                  <a:lnTo>
                    <a:pt x="1" y="50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1" y="72"/>
                  </a:lnTo>
                  <a:lnTo>
                    <a:pt x="5" y="78"/>
                  </a:lnTo>
                  <a:lnTo>
                    <a:pt x="10" y="82"/>
                  </a:lnTo>
                  <a:lnTo>
                    <a:pt x="16" y="88"/>
                  </a:lnTo>
                  <a:lnTo>
                    <a:pt x="24" y="90"/>
                  </a:lnTo>
                  <a:lnTo>
                    <a:pt x="30" y="93"/>
                  </a:lnTo>
                  <a:lnTo>
                    <a:pt x="37" y="96"/>
                  </a:lnTo>
                  <a:lnTo>
                    <a:pt x="42" y="96"/>
                  </a:lnTo>
                  <a:lnTo>
                    <a:pt x="66" y="94"/>
                  </a:lnTo>
                  <a:lnTo>
                    <a:pt x="86" y="92"/>
                  </a:lnTo>
                  <a:lnTo>
                    <a:pt x="97" y="90"/>
                  </a:lnTo>
                  <a:lnTo>
                    <a:pt x="108" y="90"/>
                  </a:lnTo>
                  <a:lnTo>
                    <a:pt x="120" y="92"/>
                  </a:lnTo>
                  <a:lnTo>
                    <a:pt x="132" y="96"/>
                  </a:lnTo>
                  <a:lnTo>
                    <a:pt x="132" y="65"/>
                  </a:lnTo>
                  <a:lnTo>
                    <a:pt x="125" y="65"/>
                  </a:lnTo>
                  <a:lnTo>
                    <a:pt x="120" y="64"/>
                  </a:lnTo>
                  <a:lnTo>
                    <a:pt x="114" y="61"/>
                  </a:lnTo>
                  <a:lnTo>
                    <a:pt x="109" y="60"/>
                  </a:lnTo>
                  <a:lnTo>
                    <a:pt x="101" y="56"/>
                  </a:lnTo>
                  <a:lnTo>
                    <a:pt x="96" y="53"/>
                  </a:lnTo>
                  <a:lnTo>
                    <a:pt x="104" y="48"/>
                  </a:lnTo>
                  <a:lnTo>
                    <a:pt x="109" y="41"/>
                  </a:lnTo>
                  <a:lnTo>
                    <a:pt x="113" y="34"/>
                  </a:lnTo>
                  <a:lnTo>
                    <a:pt x="114" y="2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0" name="Freeform 86"/>
            <p:cNvSpPr>
              <a:spLocks/>
            </p:cNvSpPr>
            <p:nvPr/>
          </p:nvSpPr>
          <p:spPr bwMode="auto">
            <a:xfrm>
              <a:off x="3864297" y="3162300"/>
              <a:ext cx="28575" cy="206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6"/>
                </a:cxn>
                <a:cxn ang="0">
                  <a:pos x="5" y="40"/>
                </a:cxn>
                <a:cxn ang="0">
                  <a:pos x="12" y="42"/>
                </a:cxn>
                <a:cxn ang="0">
                  <a:pos x="21" y="44"/>
                </a:cxn>
                <a:cxn ang="0">
                  <a:pos x="29" y="42"/>
                </a:cxn>
                <a:cxn ang="0">
                  <a:pos x="38" y="40"/>
                </a:cxn>
                <a:cxn ang="0">
                  <a:pos x="46" y="36"/>
                </a:cxn>
                <a:cxn ang="0">
                  <a:pos x="50" y="32"/>
                </a:cxn>
                <a:cxn ang="0">
                  <a:pos x="54" y="28"/>
                </a:cxn>
                <a:cxn ang="0">
                  <a:pos x="57" y="24"/>
                </a:cxn>
                <a:cxn ang="0">
                  <a:pos x="60" y="18"/>
                </a:cxn>
                <a:cxn ang="0">
                  <a:pos x="49" y="17"/>
                </a:cxn>
                <a:cxn ang="0">
                  <a:pos x="41" y="16"/>
                </a:cxn>
                <a:cxn ang="0">
                  <a:pos x="34" y="14"/>
                </a:cxn>
                <a:cxn ang="0">
                  <a:pos x="28" y="12"/>
                </a:cxn>
                <a:cxn ang="0">
                  <a:pos x="14" y="5"/>
                </a:cxn>
                <a:cxn ang="0">
                  <a:pos x="0" y="0"/>
                </a:cxn>
              </a:cxnLst>
              <a:rect l="0" t="0" r="r" b="b"/>
              <a:pathLst>
                <a:path w="60" h="44">
                  <a:moveTo>
                    <a:pt x="0" y="0"/>
                  </a:moveTo>
                  <a:lnTo>
                    <a:pt x="0" y="36"/>
                  </a:lnTo>
                  <a:lnTo>
                    <a:pt x="5" y="40"/>
                  </a:lnTo>
                  <a:lnTo>
                    <a:pt x="12" y="42"/>
                  </a:lnTo>
                  <a:lnTo>
                    <a:pt x="21" y="44"/>
                  </a:lnTo>
                  <a:lnTo>
                    <a:pt x="29" y="42"/>
                  </a:lnTo>
                  <a:lnTo>
                    <a:pt x="38" y="40"/>
                  </a:lnTo>
                  <a:lnTo>
                    <a:pt x="46" y="36"/>
                  </a:lnTo>
                  <a:lnTo>
                    <a:pt x="50" y="32"/>
                  </a:lnTo>
                  <a:lnTo>
                    <a:pt x="54" y="28"/>
                  </a:lnTo>
                  <a:lnTo>
                    <a:pt x="57" y="24"/>
                  </a:lnTo>
                  <a:lnTo>
                    <a:pt x="60" y="18"/>
                  </a:lnTo>
                  <a:lnTo>
                    <a:pt x="49" y="17"/>
                  </a:lnTo>
                  <a:lnTo>
                    <a:pt x="41" y="16"/>
                  </a:lnTo>
                  <a:lnTo>
                    <a:pt x="34" y="14"/>
                  </a:lnTo>
                  <a:lnTo>
                    <a:pt x="28" y="12"/>
                  </a:lnTo>
                  <a:lnTo>
                    <a:pt x="14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1" name="Freeform 87"/>
            <p:cNvSpPr>
              <a:spLocks/>
            </p:cNvSpPr>
            <p:nvPr/>
          </p:nvSpPr>
          <p:spPr bwMode="auto">
            <a:xfrm>
              <a:off x="3943672" y="3255963"/>
              <a:ext cx="58738" cy="38100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4" y="5"/>
                </a:cxn>
                <a:cxn ang="0">
                  <a:pos x="62" y="9"/>
                </a:cxn>
                <a:cxn ang="0">
                  <a:pos x="58" y="13"/>
                </a:cxn>
                <a:cxn ang="0">
                  <a:pos x="54" y="16"/>
                </a:cxn>
                <a:cxn ang="0">
                  <a:pos x="43" y="22"/>
                </a:cxn>
                <a:cxn ang="0">
                  <a:pos x="31" y="26"/>
                </a:cxn>
                <a:cxn ang="0">
                  <a:pos x="19" y="32"/>
                </a:cxn>
                <a:cxn ang="0">
                  <a:pos x="10" y="37"/>
                </a:cxn>
                <a:cxn ang="0">
                  <a:pos x="6" y="40"/>
                </a:cxn>
                <a:cxn ang="0">
                  <a:pos x="3" y="44"/>
                </a:cxn>
                <a:cxn ang="0">
                  <a:pos x="0" y="48"/>
                </a:cxn>
                <a:cxn ang="0">
                  <a:pos x="0" y="53"/>
                </a:cxn>
                <a:cxn ang="0">
                  <a:pos x="0" y="60"/>
                </a:cxn>
                <a:cxn ang="0">
                  <a:pos x="3" y="65"/>
                </a:cxn>
                <a:cxn ang="0">
                  <a:pos x="7" y="69"/>
                </a:cxn>
                <a:cxn ang="0">
                  <a:pos x="11" y="72"/>
                </a:cxn>
                <a:cxn ang="0">
                  <a:pos x="15" y="74"/>
                </a:cxn>
                <a:cxn ang="0">
                  <a:pos x="20" y="77"/>
                </a:cxn>
                <a:cxn ang="0">
                  <a:pos x="26" y="77"/>
                </a:cxn>
                <a:cxn ang="0">
                  <a:pos x="30" y="77"/>
                </a:cxn>
                <a:cxn ang="0">
                  <a:pos x="39" y="76"/>
                </a:cxn>
                <a:cxn ang="0">
                  <a:pos x="52" y="72"/>
                </a:cxn>
                <a:cxn ang="0">
                  <a:pos x="67" y="65"/>
                </a:cxn>
                <a:cxn ang="0">
                  <a:pos x="82" y="57"/>
                </a:cxn>
                <a:cxn ang="0">
                  <a:pos x="96" y="49"/>
                </a:cxn>
                <a:cxn ang="0">
                  <a:pos x="108" y="40"/>
                </a:cxn>
                <a:cxn ang="0">
                  <a:pos x="114" y="36"/>
                </a:cxn>
                <a:cxn ang="0">
                  <a:pos x="118" y="30"/>
                </a:cxn>
                <a:cxn ang="0">
                  <a:pos x="120" y="26"/>
                </a:cxn>
                <a:cxn ang="0">
                  <a:pos x="120" y="24"/>
                </a:cxn>
                <a:cxn ang="0">
                  <a:pos x="119" y="18"/>
                </a:cxn>
                <a:cxn ang="0">
                  <a:pos x="115" y="14"/>
                </a:cxn>
                <a:cxn ang="0">
                  <a:pos x="108" y="10"/>
                </a:cxn>
                <a:cxn ang="0">
                  <a:pos x="100" y="6"/>
                </a:cxn>
                <a:cxn ang="0">
                  <a:pos x="91" y="4"/>
                </a:cxn>
                <a:cxn ang="0">
                  <a:pos x="83" y="1"/>
                </a:cxn>
                <a:cxn ang="0">
                  <a:pos x="74" y="0"/>
                </a:cxn>
                <a:cxn ang="0">
                  <a:pos x="66" y="0"/>
                </a:cxn>
              </a:cxnLst>
              <a:rect l="0" t="0" r="r" b="b"/>
              <a:pathLst>
                <a:path w="120" h="77">
                  <a:moveTo>
                    <a:pt x="66" y="0"/>
                  </a:moveTo>
                  <a:lnTo>
                    <a:pt x="64" y="5"/>
                  </a:lnTo>
                  <a:lnTo>
                    <a:pt x="62" y="9"/>
                  </a:lnTo>
                  <a:lnTo>
                    <a:pt x="58" y="13"/>
                  </a:lnTo>
                  <a:lnTo>
                    <a:pt x="54" y="16"/>
                  </a:lnTo>
                  <a:lnTo>
                    <a:pt x="43" y="22"/>
                  </a:lnTo>
                  <a:lnTo>
                    <a:pt x="31" y="26"/>
                  </a:lnTo>
                  <a:lnTo>
                    <a:pt x="19" y="32"/>
                  </a:lnTo>
                  <a:lnTo>
                    <a:pt x="10" y="37"/>
                  </a:lnTo>
                  <a:lnTo>
                    <a:pt x="6" y="40"/>
                  </a:lnTo>
                  <a:lnTo>
                    <a:pt x="3" y="44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0" y="60"/>
                  </a:lnTo>
                  <a:lnTo>
                    <a:pt x="3" y="65"/>
                  </a:lnTo>
                  <a:lnTo>
                    <a:pt x="7" y="69"/>
                  </a:lnTo>
                  <a:lnTo>
                    <a:pt x="11" y="72"/>
                  </a:lnTo>
                  <a:lnTo>
                    <a:pt x="15" y="74"/>
                  </a:lnTo>
                  <a:lnTo>
                    <a:pt x="20" y="77"/>
                  </a:lnTo>
                  <a:lnTo>
                    <a:pt x="26" y="77"/>
                  </a:lnTo>
                  <a:lnTo>
                    <a:pt x="30" y="77"/>
                  </a:lnTo>
                  <a:lnTo>
                    <a:pt x="39" y="76"/>
                  </a:lnTo>
                  <a:lnTo>
                    <a:pt x="52" y="72"/>
                  </a:lnTo>
                  <a:lnTo>
                    <a:pt x="67" y="65"/>
                  </a:lnTo>
                  <a:lnTo>
                    <a:pt x="82" y="57"/>
                  </a:lnTo>
                  <a:lnTo>
                    <a:pt x="96" y="49"/>
                  </a:lnTo>
                  <a:lnTo>
                    <a:pt x="108" y="40"/>
                  </a:lnTo>
                  <a:lnTo>
                    <a:pt x="114" y="36"/>
                  </a:lnTo>
                  <a:lnTo>
                    <a:pt x="118" y="30"/>
                  </a:lnTo>
                  <a:lnTo>
                    <a:pt x="120" y="26"/>
                  </a:lnTo>
                  <a:lnTo>
                    <a:pt x="120" y="24"/>
                  </a:lnTo>
                  <a:lnTo>
                    <a:pt x="119" y="18"/>
                  </a:lnTo>
                  <a:lnTo>
                    <a:pt x="115" y="14"/>
                  </a:lnTo>
                  <a:lnTo>
                    <a:pt x="108" y="10"/>
                  </a:lnTo>
                  <a:lnTo>
                    <a:pt x="100" y="6"/>
                  </a:lnTo>
                  <a:lnTo>
                    <a:pt x="91" y="4"/>
                  </a:lnTo>
                  <a:lnTo>
                    <a:pt x="83" y="1"/>
                  </a:lnTo>
                  <a:lnTo>
                    <a:pt x="74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2" name="Freeform 88"/>
            <p:cNvSpPr>
              <a:spLocks/>
            </p:cNvSpPr>
            <p:nvPr/>
          </p:nvSpPr>
          <p:spPr bwMode="auto">
            <a:xfrm>
              <a:off x="7728272" y="4265613"/>
              <a:ext cx="692150" cy="752475"/>
            </a:xfrm>
            <a:custGeom>
              <a:avLst/>
              <a:gdLst/>
              <a:ahLst/>
              <a:cxnLst>
                <a:cxn ang="0">
                  <a:pos x="215" y="441"/>
                </a:cxn>
                <a:cxn ang="0">
                  <a:pos x="184" y="383"/>
                </a:cxn>
                <a:cxn ang="0">
                  <a:pos x="162" y="333"/>
                </a:cxn>
                <a:cxn ang="0">
                  <a:pos x="108" y="261"/>
                </a:cxn>
                <a:cxn ang="0">
                  <a:pos x="38" y="193"/>
                </a:cxn>
                <a:cxn ang="0">
                  <a:pos x="2" y="153"/>
                </a:cxn>
                <a:cxn ang="0">
                  <a:pos x="4" y="141"/>
                </a:cxn>
                <a:cxn ang="0">
                  <a:pos x="44" y="138"/>
                </a:cxn>
                <a:cxn ang="0">
                  <a:pos x="79" y="132"/>
                </a:cxn>
                <a:cxn ang="0">
                  <a:pos x="90" y="118"/>
                </a:cxn>
                <a:cxn ang="0">
                  <a:pos x="80" y="74"/>
                </a:cxn>
                <a:cxn ang="0">
                  <a:pos x="63" y="12"/>
                </a:cxn>
                <a:cxn ang="0">
                  <a:pos x="166" y="48"/>
                </a:cxn>
                <a:cxn ang="0">
                  <a:pos x="258" y="116"/>
                </a:cxn>
                <a:cxn ang="0">
                  <a:pos x="391" y="275"/>
                </a:cxn>
                <a:cxn ang="0">
                  <a:pos x="512" y="398"/>
                </a:cxn>
                <a:cxn ang="0">
                  <a:pos x="620" y="473"/>
                </a:cxn>
                <a:cxn ang="0">
                  <a:pos x="740" y="538"/>
                </a:cxn>
                <a:cxn ang="0">
                  <a:pos x="913" y="615"/>
                </a:cxn>
                <a:cxn ang="0">
                  <a:pos x="980" y="657"/>
                </a:cxn>
                <a:cxn ang="0">
                  <a:pos x="1077" y="723"/>
                </a:cxn>
                <a:cxn ang="0">
                  <a:pos x="1137" y="760"/>
                </a:cxn>
                <a:cxn ang="0">
                  <a:pos x="1085" y="762"/>
                </a:cxn>
                <a:cxn ang="0">
                  <a:pos x="961" y="723"/>
                </a:cxn>
                <a:cxn ang="0">
                  <a:pos x="905" y="717"/>
                </a:cxn>
                <a:cxn ang="0">
                  <a:pos x="883" y="730"/>
                </a:cxn>
                <a:cxn ang="0">
                  <a:pos x="865" y="884"/>
                </a:cxn>
                <a:cxn ang="0">
                  <a:pos x="899" y="930"/>
                </a:cxn>
                <a:cxn ang="0">
                  <a:pos x="937" y="1030"/>
                </a:cxn>
                <a:cxn ang="0">
                  <a:pos x="968" y="1071"/>
                </a:cxn>
                <a:cxn ang="0">
                  <a:pos x="1012" y="1134"/>
                </a:cxn>
                <a:cxn ang="0">
                  <a:pos x="1071" y="1172"/>
                </a:cxn>
                <a:cxn ang="0">
                  <a:pos x="1138" y="1195"/>
                </a:cxn>
                <a:cxn ang="0">
                  <a:pos x="1281" y="1223"/>
                </a:cxn>
                <a:cxn ang="0">
                  <a:pos x="1344" y="1244"/>
                </a:cxn>
                <a:cxn ang="0">
                  <a:pos x="1396" y="1282"/>
                </a:cxn>
                <a:cxn ang="0">
                  <a:pos x="1430" y="1343"/>
                </a:cxn>
                <a:cxn ang="0">
                  <a:pos x="1358" y="1311"/>
                </a:cxn>
                <a:cxn ang="0">
                  <a:pos x="1305" y="1294"/>
                </a:cxn>
                <a:cxn ang="0">
                  <a:pos x="1252" y="1310"/>
                </a:cxn>
                <a:cxn ang="0">
                  <a:pos x="1208" y="1348"/>
                </a:cxn>
                <a:cxn ang="0">
                  <a:pos x="1204" y="1363"/>
                </a:cxn>
                <a:cxn ang="0">
                  <a:pos x="1233" y="1437"/>
                </a:cxn>
                <a:cxn ang="0">
                  <a:pos x="1274" y="1527"/>
                </a:cxn>
                <a:cxn ang="0">
                  <a:pos x="1238" y="1528"/>
                </a:cxn>
                <a:cxn ang="0">
                  <a:pos x="1166" y="1468"/>
                </a:cxn>
                <a:cxn ang="0">
                  <a:pos x="1081" y="1363"/>
                </a:cxn>
                <a:cxn ang="0">
                  <a:pos x="984" y="1216"/>
                </a:cxn>
                <a:cxn ang="0">
                  <a:pos x="929" y="1150"/>
                </a:cxn>
                <a:cxn ang="0">
                  <a:pos x="863" y="1091"/>
                </a:cxn>
                <a:cxn ang="0">
                  <a:pos x="781" y="1047"/>
                </a:cxn>
                <a:cxn ang="0">
                  <a:pos x="688" y="868"/>
                </a:cxn>
                <a:cxn ang="0">
                  <a:pos x="559" y="690"/>
                </a:cxn>
                <a:cxn ang="0">
                  <a:pos x="451" y="581"/>
                </a:cxn>
                <a:cxn ang="0">
                  <a:pos x="379" y="526"/>
                </a:cxn>
                <a:cxn ang="0">
                  <a:pos x="308" y="494"/>
                </a:cxn>
              </a:cxnLst>
              <a:rect l="0" t="0" r="r" b="b"/>
              <a:pathLst>
                <a:path w="1430" h="1553">
                  <a:moveTo>
                    <a:pt x="244" y="487"/>
                  </a:moveTo>
                  <a:lnTo>
                    <a:pt x="232" y="470"/>
                  </a:lnTo>
                  <a:lnTo>
                    <a:pt x="223" y="455"/>
                  </a:lnTo>
                  <a:lnTo>
                    <a:pt x="215" y="441"/>
                  </a:lnTo>
                  <a:lnTo>
                    <a:pt x="208" y="427"/>
                  </a:lnTo>
                  <a:lnTo>
                    <a:pt x="202" y="414"/>
                  </a:lnTo>
                  <a:lnTo>
                    <a:pt x="194" y="399"/>
                  </a:lnTo>
                  <a:lnTo>
                    <a:pt x="184" y="383"/>
                  </a:lnTo>
                  <a:lnTo>
                    <a:pt x="172" y="367"/>
                  </a:lnTo>
                  <a:lnTo>
                    <a:pt x="170" y="355"/>
                  </a:lnTo>
                  <a:lnTo>
                    <a:pt x="166" y="345"/>
                  </a:lnTo>
                  <a:lnTo>
                    <a:pt x="162" y="333"/>
                  </a:lnTo>
                  <a:lnTo>
                    <a:pt x="155" y="322"/>
                  </a:lnTo>
                  <a:lnTo>
                    <a:pt x="142" y="301"/>
                  </a:lnTo>
                  <a:lnTo>
                    <a:pt x="126" y="281"/>
                  </a:lnTo>
                  <a:lnTo>
                    <a:pt x="108" y="261"/>
                  </a:lnTo>
                  <a:lnTo>
                    <a:pt x="91" y="242"/>
                  </a:lnTo>
                  <a:lnTo>
                    <a:pt x="72" y="223"/>
                  </a:lnTo>
                  <a:lnTo>
                    <a:pt x="55" y="207"/>
                  </a:lnTo>
                  <a:lnTo>
                    <a:pt x="38" y="193"/>
                  </a:lnTo>
                  <a:lnTo>
                    <a:pt x="23" y="178"/>
                  </a:lnTo>
                  <a:lnTo>
                    <a:pt x="12" y="167"/>
                  </a:lnTo>
                  <a:lnTo>
                    <a:pt x="4" y="157"/>
                  </a:lnTo>
                  <a:lnTo>
                    <a:pt x="2" y="153"/>
                  </a:lnTo>
                  <a:lnTo>
                    <a:pt x="0" y="149"/>
                  </a:lnTo>
                  <a:lnTo>
                    <a:pt x="0" y="146"/>
                  </a:lnTo>
                  <a:lnTo>
                    <a:pt x="2" y="144"/>
                  </a:lnTo>
                  <a:lnTo>
                    <a:pt x="4" y="141"/>
                  </a:lnTo>
                  <a:lnTo>
                    <a:pt x="8" y="140"/>
                  </a:lnTo>
                  <a:lnTo>
                    <a:pt x="15" y="138"/>
                  </a:lnTo>
                  <a:lnTo>
                    <a:pt x="22" y="138"/>
                  </a:lnTo>
                  <a:lnTo>
                    <a:pt x="44" y="138"/>
                  </a:lnTo>
                  <a:lnTo>
                    <a:pt x="62" y="137"/>
                  </a:lnTo>
                  <a:lnTo>
                    <a:pt x="68" y="136"/>
                  </a:lnTo>
                  <a:lnTo>
                    <a:pt x="74" y="133"/>
                  </a:lnTo>
                  <a:lnTo>
                    <a:pt x="79" y="132"/>
                  </a:lnTo>
                  <a:lnTo>
                    <a:pt x="83" y="129"/>
                  </a:lnTo>
                  <a:lnTo>
                    <a:pt x="86" y="125"/>
                  </a:lnTo>
                  <a:lnTo>
                    <a:pt x="88" y="122"/>
                  </a:lnTo>
                  <a:lnTo>
                    <a:pt x="90" y="118"/>
                  </a:lnTo>
                  <a:lnTo>
                    <a:pt x="91" y="114"/>
                  </a:lnTo>
                  <a:lnTo>
                    <a:pt x="90" y="106"/>
                  </a:lnTo>
                  <a:lnTo>
                    <a:pt x="88" y="96"/>
                  </a:lnTo>
                  <a:lnTo>
                    <a:pt x="80" y="74"/>
                  </a:lnTo>
                  <a:lnTo>
                    <a:pt x="71" y="50"/>
                  </a:lnTo>
                  <a:lnTo>
                    <a:pt x="67" y="37"/>
                  </a:lnTo>
                  <a:lnTo>
                    <a:pt x="64" y="25"/>
                  </a:lnTo>
                  <a:lnTo>
                    <a:pt x="63" y="12"/>
                  </a:lnTo>
                  <a:lnTo>
                    <a:pt x="64" y="0"/>
                  </a:lnTo>
                  <a:lnTo>
                    <a:pt x="103" y="16"/>
                  </a:lnTo>
                  <a:lnTo>
                    <a:pt x="136" y="32"/>
                  </a:lnTo>
                  <a:lnTo>
                    <a:pt x="166" y="48"/>
                  </a:lnTo>
                  <a:lnTo>
                    <a:pt x="192" y="64"/>
                  </a:lnTo>
                  <a:lnTo>
                    <a:pt x="216" y="80"/>
                  </a:lnTo>
                  <a:lnTo>
                    <a:pt x="238" y="97"/>
                  </a:lnTo>
                  <a:lnTo>
                    <a:pt x="258" y="116"/>
                  </a:lnTo>
                  <a:lnTo>
                    <a:pt x="276" y="134"/>
                  </a:lnTo>
                  <a:lnTo>
                    <a:pt x="312" y="175"/>
                  </a:lnTo>
                  <a:lnTo>
                    <a:pt x="348" y="222"/>
                  </a:lnTo>
                  <a:lnTo>
                    <a:pt x="391" y="275"/>
                  </a:lnTo>
                  <a:lnTo>
                    <a:pt x="444" y="337"/>
                  </a:lnTo>
                  <a:lnTo>
                    <a:pt x="464" y="358"/>
                  </a:lnTo>
                  <a:lnTo>
                    <a:pt x="487" y="378"/>
                  </a:lnTo>
                  <a:lnTo>
                    <a:pt x="512" y="398"/>
                  </a:lnTo>
                  <a:lnTo>
                    <a:pt x="537" y="418"/>
                  </a:lnTo>
                  <a:lnTo>
                    <a:pt x="564" y="437"/>
                  </a:lnTo>
                  <a:lnTo>
                    <a:pt x="591" y="455"/>
                  </a:lnTo>
                  <a:lnTo>
                    <a:pt x="620" y="473"/>
                  </a:lnTo>
                  <a:lnTo>
                    <a:pt x="649" y="490"/>
                  </a:lnTo>
                  <a:lnTo>
                    <a:pt x="679" y="507"/>
                  </a:lnTo>
                  <a:lnTo>
                    <a:pt x="709" y="523"/>
                  </a:lnTo>
                  <a:lnTo>
                    <a:pt x="740" y="538"/>
                  </a:lnTo>
                  <a:lnTo>
                    <a:pt x="771" y="554"/>
                  </a:lnTo>
                  <a:lnTo>
                    <a:pt x="833" y="582"/>
                  </a:lnTo>
                  <a:lnTo>
                    <a:pt x="895" y="607"/>
                  </a:lnTo>
                  <a:lnTo>
                    <a:pt x="913" y="615"/>
                  </a:lnTo>
                  <a:lnTo>
                    <a:pt x="929" y="623"/>
                  </a:lnTo>
                  <a:lnTo>
                    <a:pt x="944" y="631"/>
                  </a:lnTo>
                  <a:lnTo>
                    <a:pt x="957" y="639"/>
                  </a:lnTo>
                  <a:lnTo>
                    <a:pt x="980" y="657"/>
                  </a:lnTo>
                  <a:lnTo>
                    <a:pt x="1004" y="674"/>
                  </a:lnTo>
                  <a:lnTo>
                    <a:pt x="1029" y="693"/>
                  </a:lnTo>
                  <a:lnTo>
                    <a:pt x="1060" y="713"/>
                  </a:lnTo>
                  <a:lnTo>
                    <a:pt x="1077" y="723"/>
                  </a:lnTo>
                  <a:lnTo>
                    <a:pt x="1099" y="734"/>
                  </a:lnTo>
                  <a:lnTo>
                    <a:pt x="1121" y="746"/>
                  </a:lnTo>
                  <a:lnTo>
                    <a:pt x="1148" y="758"/>
                  </a:lnTo>
                  <a:lnTo>
                    <a:pt x="1137" y="760"/>
                  </a:lnTo>
                  <a:lnTo>
                    <a:pt x="1128" y="763"/>
                  </a:lnTo>
                  <a:lnTo>
                    <a:pt x="1117" y="764"/>
                  </a:lnTo>
                  <a:lnTo>
                    <a:pt x="1107" y="764"/>
                  </a:lnTo>
                  <a:lnTo>
                    <a:pt x="1085" y="762"/>
                  </a:lnTo>
                  <a:lnTo>
                    <a:pt x="1064" y="758"/>
                  </a:lnTo>
                  <a:lnTo>
                    <a:pt x="1021" y="744"/>
                  </a:lnTo>
                  <a:lnTo>
                    <a:pt x="980" y="730"/>
                  </a:lnTo>
                  <a:lnTo>
                    <a:pt x="961" y="723"/>
                  </a:lnTo>
                  <a:lnTo>
                    <a:pt x="944" y="719"/>
                  </a:lnTo>
                  <a:lnTo>
                    <a:pt x="927" y="715"/>
                  </a:lnTo>
                  <a:lnTo>
                    <a:pt x="912" y="715"/>
                  </a:lnTo>
                  <a:lnTo>
                    <a:pt x="905" y="717"/>
                  </a:lnTo>
                  <a:lnTo>
                    <a:pt x="899" y="718"/>
                  </a:lnTo>
                  <a:lnTo>
                    <a:pt x="892" y="721"/>
                  </a:lnTo>
                  <a:lnTo>
                    <a:pt x="887" y="725"/>
                  </a:lnTo>
                  <a:lnTo>
                    <a:pt x="883" y="730"/>
                  </a:lnTo>
                  <a:lnTo>
                    <a:pt x="877" y="735"/>
                  </a:lnTo>
                  <a:lnTo>
                    <a:pt x="875" y="743"/>
                  </a:lnTo>
                  <a:lnTo>
                    <a:pt x="871" y="752"/>
                  </a:lnTo>
                  <a:lnTo>
                    <a:pt x="865" y="884"/>
                  </a:lnTo>
                  <a:lnTo>
                    <a:pt x="876" y="895"/>
                  </a:lnTo>
                  <a:lnTo>
                    <a:pt x="884" y="906"/>
                  </a:lnTo>
                  <a:lnTo>
                    <a:pt x="892" y="918"/>
                  </a:lnTo>
                  <a:lnTo>
                    <a:pt x="899" y="930"/>
                  </a:lnTo>
                  <a:lnTo>
                    <a:pt x="909" y="955"/>
                  </a:lnTo>
                  <a:lnTo>
                    <a:pt x="919" y="980"/>
                  </a:lnTo>
                  <a:lnTo>
                    <a:pt x="927" y="1006"/>
                  </a:lnTo>
                  <a:lnTo>
                    <a:pt x="937" y="1030"/>
                  </a:lnTo>
                  <a:lnTo>
                    <a:pt x="943" y="1040"/>
                  </a:lnTo>
                  <a:lnTo>
                    <a:pt x="949" y="1051"/>
                  </a:lnTo>
                  <a:lnTo>
                    <a:pt x="959" y="1062"/>
                  </a:lnTo>
                  <a:lnTo>
                    <a:pt x="968" y="1071"/>
                  </a:lnTo>
                  <a:lnTo>
                    <a:pt x="977" y="1090"/>
                  </a:lnTo>
                  <a:lnTo>
                    <a:pt x="988" y="1106"/>
                  </a:lnTo>
                  <a:lnTo>
                    <a:pt x="1000" y="1120"/>
                  </a:lnTo>
                  <a:lnTo>
                    <a:pt x="1012" y="1134"/>
                  </a:lnTo>
                  <a:lnTo>
                    <a:pt x="1025" y="1146"/>
                  </a:lnTo>
                  <a:lnTo>
                    <a:pt x="1040" y="1155"/>
                  </a:lnTo>
                  <a:lnTo>
                    <a:pt x="1056" y="1164"/>
                  </a:lnTo>
                  <a:lnTo>
                    <a:pt x="1071" y="1172"/>
                  </a:lnTo>
                  <a:lnTo>
                    <a:pt x="1088" y="1179"/>
                  </a:lnTo>
                  <a:lnTo>
                    <a:pt x="1104" y="1184"/>
                  </a:lnTo>
                  <a:lnTo>
                    <a:pt x="1121" y="1190"/>
                  </a:lnTo>
                  <a:lnTo>
                    <a:pt x="1138" y="1195"/>
                  </a:lnTo>
                  <a:lnTo>
                    <a:pt x="1174" y="1203"/>
                  </a:lnTo>
                  <a:lnTo>
                    <a:pt x="1210" y="1210"/>
                  </a:lnTo>
                  <a:lnTo>
                    <a:pt x="1246" y="1216"/>
                  </a:lnTo>
                  <a:lnTo>
                    <a:pt x="1281" y="1223"/>
                  </a:lnTo>
                  <a:lnTo>
                    <a:pt x="1297" y="1227"/>
                  </a:lnTo>
                  <a:lnTo>
                    <a:pt x="1313" y="1232"/>
                  </a:lnTo>
                  <a:lnTo>
                    <a:pt x="1329" y="1239"/>
                  </a:lnTo>
                  <a:lnTo>
                    <a:pt x="1344" y="1244"/>
                  </a:lnTo>
                  <a:lnTo>
                    <a:pt x="1358" y="1252"/>
                  </a:lnTo>
                  <a:lnTo>
                    <a:pt x="1372" y="1262"/>
                  </a:lnTo>
                  <a:lnTo>
                    <a:pt x="1385" y="1271"/>
                  </a:lnTo>
                  <a:lnTo>
                    <a:pt x="1396" y="1282"/>
                  </a:lnTo>
                  <a:lnTo>
                    <a:pt x="1406" y="1295"/>
                  </a:lnTo>
                  <a:lnTo>
                    <a:pt x="1416" y="1308"/>
                  </a:lnTo>
                  <a:lnTo>
                    <a:pt x="1424" y="1324"/>
                  </a:lnTo>
                  <a:lnTo>
                    <a:pt x="1430" y="1343"/>
                  </a:lnTo>
                  <a:lnTo>
                    <a:pt x="1408" y="1335"/>
                  </a:lnTo>
                  <a:lnTo>
                    <a:pt x="1389" y="1327"/>
                  </a:lnTo>
                  <a:lnTo>
                    <a:pt x="1373" y="1319"/>
                  </a:lnTo>
                  <a:lnTo>
                    <a:pt x="1358" y="1311"/>
                  </a:lnTo>
                  <a:lnTo>
                    <a:pt x="1345" y="1304"/>
                  </a:lnTo>
                  <a:lnTo>
                    <a:pt x="1333" y="1299"/>
                  </a:lnTo>
                  <a:lnTo>
                    <a:pt x="1320" y="1295"/>
                  </a:lnTo>
                  <a:lnTo>
                    <a:pt x="1305" y="1294"/>
                  </a:lnTo>
                  <a:lnTo>
                    <a:pt x="1289" y="1295"/>
                  </a:lnTo>
                  <a:lnTo>
                    <a:pt x="1276" y="1299"/>
                  </a:lnTo>
                  <a:lnTo>
                    <a:pt x="1264" y="1303"/>
                  </a:lnTo>
                  <a:lnTo>
                    <a:pt x="1252" y="1310"/>
                  </a:lnTo>
                  <a:lnTo>
                    <a:pt x="1241" y="1317"/>
                  </a:lnTo>
                  <a:lnTo>
                    <a:pt x="1230" y="1327"/>
                  </a:lnTo>
                  <a:lnTo>
                    <a:pt x="1220" y="1337"/>
                  </a:lnTo>
                  <a:lnTo>
                    <a:pt x="1208" y="1348"/>
                  </a:lnTo>
                  <a:lnTo>
                    <a:pt x="1206" y="1351"/>
                  </a:lnTo>
                  <a:lnTo>
                    <a:pt x="1205" y="1355"/>
                  </a:lnTo>
                  <a:lnTo>
                    <a:pt x="1204" y="1359"/>
                  </a:lnTo>
                  <a:lnTo>
                    <a:pt x="1204" y="1363"/>
                  </a:lnTo>
                  <a:lnTo>
                    <a:pt x="1205" y="1372"/>
                  </a:lnTo>
                  <a:lnTo>
                    <a:pt x="1209" y="1384"/>
                  </a:lnTo>
                  <a:lnTo>
                    <a:pt x="1218" y="1408"/>
                  </a:lnTo>
                  <a:lnTo>
                    <a:pt x="1233" y="1437"/>
                  </a:lnTo>
                  <a:lnTo>
                    <a:pt x="1249" y="1467"/>
                  </a:lnTo>
                  <a:lnTo>
                    <a:pt x="1264" y="1497"/>
                  </a:lnTo>
                  <a:lnTo>
                    <a:pt x="1269" y="1512"/>
                  </a:lnTo>
                  <a:lnTo>
                    <a:pt x="1274" y="1527"/>
                  </a:lnTo>
                  <a:lnTo>
                    <a:pt x="1278" y="1540"/>
                  </a:lnTo>
                  <a:lnTo>
                    <a:pt x="1281" y="1553"/>
                  </a:lnTo>
                  <a:lnTo>
                    <a:pt x="1258" y="1540"/>
                  </a:lnTo>
                  <a:lnTo>
                    <a:pt x="1238" y="1528"/>
                  </a:lnTo>
                  <a:lnTo>
                    <a:pt x="1218" y="1513"/>
                  </a:lnTo>
                  <a:lnTo>
                    <a:pt x="1200" y="1499"/>
                  </a:lnTo>
                  <a:lnTo>
                    <a:pt x="1182" y="1484"/>
                  </a:lnTo>
                  <a:lnTo>
                    <a:pt x="1166" y="1468"/>
                  </a:lnTo>
                  <a:lnTo>
                    <a:pt x="1150" y="1451"/>
                  </a:lnTo>
                  <a:lnTo>
                    <a:pt x="1136" y="1433"/>
                  </a:lnTo>
                  <a:lnTo>
                    <a:pt x="1108" y="1399"/>
                  </a:lnTo>
                  <a:lnTo>
                    <a:pt x="1081" y="1363"/>
                  </a:lnTo>
                  <a:lnTo>
                    <a:pt x="1057" y="1325"/>
                  </a:lnTo>
                  <a:lnTo>
                    <a:pt x="1033" y="1288"/>
                  </a:lnTo>
                  <a:lnTo>
                    <a:pt x="1009" y="1252"/>
                  </a:lnTo>
                  <a:lnTo>
                    <a:pt x="984" y="1216"/>
                  </a:lnTo>
                  <a:lnTo>
                    <a:pt x="971" y="1199"/>
                  </a:lnTo>
                  <a:lnTo>
                    <a:pt x="957" y="1182"/>
                  </a:lnTo>
                  <a:lnTo>
                    <a:pt x="944" y="1166"/>
                  </a:lnTo>
                  <a:lnTo>
                    <a:pt x="929" y="1150"/>
                  </a:lnTo>
                  <a:lnTo>
                    <a:pt x="913" y="1134"/>
                  </a:lnTo>
                  <a:lnTo>
                    <a:pt x="897" y="1119"/>
                  </a:lnTo>
                  <a:lnTo>
                    <a:pt x="881" y="1104"/>
                  </a:lnTo>
                  <a:lnTo>
                    <a:pt x="863" y="1091"/>
                  </a:lnTo>
                  <a:lnTo>
                    <a:pt x="844" y="1079"/>
                  </a:lnTo>
                  <a:lnTo>
                    <a:pt x="824" y="1067"/>
                  </a:lnTo>
                  <a:lnTo>
                    <a:pt x="803" y="1056"/>
                  </a:lnTo>
                  <a:lnTo>
                    <a:pt x="781" y="1047"/>
                  </a:lnTo>
                  <a:lnTo>
                    <a:pt x="763" y="1004"/>
                  </a:lnTo>
                  <a:lnTo>
                    <a:pt x="740" y="960"/>
                  </a:lnTo>
                  <a:lnTo>
                    <a:pt x="716" y="914"/>
                  </a:lnTo>
                  <a:lnTo>
                    <a:pt x="688" y="868"/>
                  </a:lnTo>
                  <a:lnTo>
                    <a:pt x="659" y="822"/>
                  </a:lnTo>
                  <a:lnTo>
                    <a:pt x="627" y="776"/>
                  </a:lnTo>
                  <a:lnTo>
                    <a:pt x="593" y="732"/>
                  </a:lnTo>
                  <a:lnTo>
                    <a:pt x="559" y="690"/>
                  </a:lnTo>
                  <a:lnTo>
                    <a:pt x="524" y="650"/>
                  </a:lnTo>
                  <a:lnTo>
                    <a:pt x="488" y="614"/>
                  </a:lnTo>
                  <a:lnTo>
                    <a:pt x="469" y="597"/>
                  </a:lnTo>
                  <a:lnTo>
                    <a:pt x="451" y="581"/>
                  </a:lnTo>
                  <a:lnTo>
                    <a:pt x="433" y="565"/>
                  </a:lnTo>
                  <a:lnTo>
                    <a:pt x="415" y="551"/>
                  </a:lnTo>
                  <a:lnTo>
                    <a:pt x="396" y="538"/>
                  </a:lnTo>
                  <a:lnTo>
                    <a:pt x="379" y="526"/>
                  </a:lnTo>
                  <a:lnTo>
                    <a:pt x="360" y="517"/>
                  </a:lnTo>
                  <a:lnTo>
                    <a:pt x="343" y="507"/>
                  </a:lnTo>
                  <a:lnTo>
                    <a:pt x="326" y="499"/>
                  </a:lnTo>
                  <a:lnTo>
                    <a:pt x="308" y="494"/>
                  </a:lnTo>
                  <a:lnTo>
                    <a:pt x="291" y="490"/>
                  </a:lnTo>
                  <a:lnTo>
                    <a:pt x="275" y="487"/>
                  </a:lnTo>
                  <a:lnTo>
                    <a:pt x="244" y="48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3" name="Freeform 89"/>
            <p:cNvSpPr>
              <a:spLocks/>
            </p:cNvSpPr>
            <p:nvPr/>
          </p:nvSpPr>
          <p:spPr bwMode="auto">
            <a:xfrm>
              <a:off x="6988497" y="1112838"/>
              <a:ext cx="1120775" cy="2484437"/>
            </a:xfrm>
            <a:custGeom>
              <a:avLst/>
              <a:gdLst/>
              <a:ahLst/>
              <a:cxnLst>
                <a:cxn ang="0">
                  <a:pos x="500" y="3142"/>
                </a:cxn>
                <a:cxn ang="0">
                  <a:pos x="393" y="3252"/>
                </a:cxn>
                <a:cxn ang="0">
                  <a:pos x="346" y="3403"/>
                </a:cxn>
                <a:cxn ang="0">
                  <a:pos x="367" y="3522"/>
                </a:cxn>
                <a:cxn ang="0">
                  <a:pos x="479" y="3743"/>
                </a:cxn>
                <a:cxn ang="0">
                  <a:pos x="444" y="3931"/>
                </a:cxn>
                <a:cxn ang="0">
                  <a:pos x="314" y="3981"/>
                </a:cxn>
                <a:cxn ang="0">
                  <a:pos x="211" y="4151"/>
                </a:cxn>
                <a:cxn ang="0">
                  <a:pos x="187" y="4272"/>
                </a:cxn>
                <a:cxn ang="0">
                  <a:pos x="231" y="4597"/>
                </a:cxn>
                <a:cxn ang="0">
                  <a:pos x="343" y="4765"/>
                </a:cxn>
                <a:cxn ang="0">
                  <a:pos x="545" y="4749"/>
                </a:cxn>
                <a:cxn ang="0">
                  <a:pos x="719" y="4970"/>
                </a:cxn>
                <a:cxn ang="0">
                  <a:pos x="812" y="5049"/>
                </a:cxn>
                <a:cxn ang="0">
                  <a:pos x="975" y="5046"/>
                </a:cxn>
                <a:cxn ang="0">
                  <a:pos x="1174" y="4902"/>
                </a:cxn>
                <a:cxn ang="0">
                  <a:pos x="1460" y="4633"/>
                </a:cxn>
                <a:cxn ang="0">
                  <a:pos x="1510" y="4722"/>
                </a:cxn>
                <a:cxn ang="0">
                  <a:pos x="1698" y="4299"/>
                </a:cxn>
                <a:cxn ang="0">
                  <a:pos x="1540" y="4393"/>
                </a:cxn>
                <a:cxn ang="0">
                  <a:pos x="1369" y="3835"/>
                </a:cxn>
                <a:cxn ang="0">
                  <a:pos x="1500" y="3551"/>
                </a:cxn>
                <a:cxn ang="0">
                  <a:pos x="1601" y="3556"/>
                </a:cxn>
                <a:cxn ang="0">
                  <a:pos x="1714" y="3572"/>
                </a:cxn>
                <a:cxn ang="0">
                  <a:pos x="1788" y="3542"/>
                </a:cxn>
                <a:cxn ang="0">
                  <a:pos x="1718" y="3214"/>
                </a:cxn>
                <a:cxn ang="0">
                  <a:pos x="1590" y="3222"/>
                </a:cxn>
                <a:cxn ang="0">
                  <a:pos x="1390" y="3059"/>
                </a:cxn>
                <a:cxn ang="0">
                  <a:pos x="1186" y="2815"/>
                </a:cxn>
                <a:cxn ang="0">
                  <a:pos x="1089" y="2698"/>
                </a:cxn>
                <a:cxn ang="0">
                  <a:pos x="1209" y="2561"/>
                </a:cxn>
                <a:cxn ang="0">
                  <a:pos x="1554" y="2310"/>
                </a:cxn>
                <a:cxn ang="0">
                  <a:pos x="1682" y="2424"/>
                </a:cxn>
                <a:cxn ang="0">
                  <a:pos x="1943" y="2366"/>
                </a:cxn>
                <a:cxn ang="0">
                  <a:pos x="2057" y="2104"/>
                </a:cxn>
                <a:cxn ang="0">
                  <a:pos x="2214" y="1937"/>
                </a:cxn>
                <a:cxn ang="0">
                  <a:pos x="2277" y="1480"/>
                </a:cxn>
                <a:cxn ang="0">
                  <a:pos x="2186" y="1292"/>
                </a:cxn>
                <a:cxn ang="0">
                  <a:pos x="1774" y="1371"/>
                </a:cxn>
                <a:cxn ang="0">
                  <a:pos x="1600" y="1443"/>
                </a:cxn>
                <a:cxn ang="0">
                  <a:pos x="1744" y="1134"/>
                </a:cxn>
                <a:cxn ang="0">
                  <a:pos x="1453" y="959"/>
                </a:cxn>
                <a:cxn ang="0">
                  <a:pos x="1658" y="854"/>
                </a:cxn>
                <a:cxn ang="0">
                  <a:pos x="1753" y="657"/>
                </a:cxn>
                <a:cxn ang="0">
                  <a:pos x="1933" y="531"/>
                </a:cxn>
                <a:cxn ang="0">
                  <a:pos x="2066" y="333"/>
                </a:cxn>
                <a:cxn ang="0">
                  <a:pos x="1860" y="270"/>
                </a:cxn>
                <a:cxn ang="0">
                  <a:pos x="1780" y="186"/>
                </a:cxn>
                <a:cxn ang="0">
                  <a:pos x="1460" y="133"/>
                </a:cxn>
                <a:cxn ang="0">
                  <a:pos x="1461" y="346"/>
                </a:cxn>
                <a:cxn ang="0">
                  <a:pos x="1448" y="475"/>
                </a:cxn>
                <a:cxn ang="0">
                  <a:pos x="841" y="717"/>
                </a:cxn>
                <a:cxn ang="0">
                  <a:pos x="343" y="1324"/>
                </a:cxn>
                <a:cxn ang="0">
                  <a:pos x="338" y="1569"/>
                </a:cxn>
                <a:cxn ang="0">
                  <a:pos x="512" y="1668"/>
                </a:cxn>
                <a:cxn ang="0">
                  <a:pos x="315" y="1771"/>
                </a:cxn>
                <a:cxn ang="0">
                  <a:pos x="198" y="1908"/>
                </a:cxn>
                <a:cxn ang="0">
                  <a:pos x="0" y="2198"/>
                </a:cxn>
                <a:cxn ang="0">
                  <a:pos x="230" y="2317"/>
                </a:cxn>
                <a:cxn ang="0">
                  <a:pos x="222" y="2508"/>
                </a:cxn>
                <a:cxn ang="0">
                  <a:pos x="130" y="2757"/>
                </a:cxn>
                <a:cxn ang="0">
                  <a:pos x="227" y="2873"/>
                </a:cxn>
                <a:cxn ang="0">
                  <a:pos x="448" y="2941"/>
                </a:cxn>
              </a:cxnLst>
              <a:rect l="0" t="0" r="r" b="b"/>
              <a:pathLst>
                <a:path w="2313" h="5123">
                  <a:moveTo>
                    <a:pt x="495" y="2981"/>
                  </a:moveTo>
                  <a:lnTo>
                    <a:pt x="503" y="2991"/>
                  </a:lnTo>
                  <a:lnTo>
                    <a:pt x="517" y="3006"/>
                  </a:lnTo>
                  <a:lnTo>
                    <a:pt x="524" y="3013"/>
                  </a:lnTo>
                  <a:lnTo>
                    <a:pt x="531" y="3021"/>
                  </a:lnTo>
                  <a:lnTo>
                    <a:pt x="535" y="3027"/>
                  </a:lnTo>
                  <a:lnTo>
                    <a:pt x="536" y="3035"/>
                  </a:lnTo>
                  <a:lnTo>
                    <a:pt x="536" y="3041"/>
                  </a:lnTo>
                  <a:lnTo>
                    <a:pt x="535" y="3045"/>
                  </a:lnTo>
                  <a:lnTo>
                    <a:pt x="533" y="3050"/>
                  </a:lnTo>
                  <a:lnTo>
                    <a:pt x="531" y="3054"/>
                  </a:lnTo>
                  <a:lnTo>
                    <a:pt x="525" y="3063"/>
                  </a:lnTo>
                  <a:lnTo>
                    <a:pt x="519" y="3071"/>
                  </a:lnTo>
                  <a:lnTo>
                    <a:pt x="512" y="3079"/>
                  </a:lnTo>
                  <a:lnTo>
                    <a:pt x="505" y="3087"/>
                  </a:lnTo>
                  <a:lnTo>
                    <a:pt x="504" y="3091"/>
                  </a:lnTo>
                  <a:lnTo>
                    <a:pt x="501" y="3097"/>
                  </a:lnTo>
                  <a:lnTo>
                    <a:pt x="500" y="3102"/>
                  </a:lnTo>
                  <a:lnTo>
                    <a:pt x="500" y="3107"/>
                  </a:lnTo>
                  <a:lnTo>
                    <a:pt x="500" y="3127"/>
                  </a:lnTo>
                  <a:lnTo>
                    <a:pt x="500" y="3142"/>
                  </a:lnTo>
                  <a:lnTo>
                    <a:pt x="500" y="3156"/>
                  </a:lnTo>
                  <a:lnTo>
                    <a:pt x="500" y="3172"/>
                  </a:lnTo>
                  <a:lnTo>
                    <a:pt x="495" y="3175"/>
                  </a:lnTo>
                  <a:lnTo>
                    <a:pt x="489" y="3175"/>
                  </a:lnTo>
                  <a:lnTo>
                    <a:pt x="484" y="3175"/>
                  </a:lnTo>
                  <a:lnTo>
                    <a:pt x="477" y="3175"/>
                  </a:lnTo>
                  <a:lnTo>
                    <a:pt x="463" y="3174"/>
                  </a:lnTo>
                  <a:lnTo>
                    <a:pt x="445" y="3172"/>
                  </a:lnTo>
                  <a:lnTo>
                    <a:pt x="441" y="3174"/>
                  </a:lnTo>
                  <a:lnTo>
                    <a:pt x="437" y="3174"/>
                  </a:lnTo>
                  <a:lnTo>
                    <a:pt x="433" y="3176"/>
                  </a:lnTo>
                  <a:lnTo>
                    <a:pt x="431" y="3178"/>
                  </a:lnTo>
                  <a:lnTo>
                    <a:pt x="428" y="3184"/>
                  </a:lnTo>
                  <a:lnTo>
                    <a:pt x="427" y="3191"/>
                  </a:lnTo>
                  <a:lnTo>
                    <a:pt x="425" y="3199"/>
                  </a:lnTo>
                  <a:lnTo>
                    <a:pt x="424" y="3208"/>
                  </a:lnTo>
                  <a:lnTo>
                    <a:pt x="421" y="3218"/>
                  </a:lnTo>
                  <a:lnTo>
                    <a:pt x="416" y="3227"/>
                  </a:lnTo>
                  <a:lnTo>
                    <a:pt x="409" y="3236"/>
                  </a:lnTo>
                  <a:lnTo>
                    <a:pt x="401" y="3246"/>
                  </a:lnTo>
                  <a:lnTo>
                    <a:pt x="393" y="3252"/>
                  </a:lnTo>
                  <a:lnTo>
                    <a:pt x="384" y="3259"/>
                  </a:lnTo>
                  <a:lnTo>
                    <a:pt x="364" y="3271"/>
                  </a:lnTo>
                  <a:lnTo>
                    <a:pt x="344" y="3283"/>
                  </a:lnTo>
                  <a:lnTo>
                    <a:pt x="335" y="3288"/>
                  </a:lnTo>
                  <a:lnTo>
                    <a:pt x="326" y="3295"/>
                  </a:lnTo>
                  <a:lnTo>
                    <a:pt x="318" y="3302"/>
                  </a:lnTo>
                  <a:lnTo>
                    <a:pt x="310" y="3308"/>
                  </a:lnTo>
                  <a:lnTo>
                    <a:pt x="304" y="3316"/>
                  </a:lnTo>
                  <a:lnTo>
                    <a:pt x="299" y="3326"/>
                  </a:lnTo>
                  <a:lnTo>
                    <a:pt x="296" y="3336"/>
                  </a:lnTo>
                  <a:lnTo>
                    <a:pt x="295" y="3347"/>
                  </a:lnTo>
                  <a:lnTo>
                    <a:pt x="296" y="3355"/>
                  </a:lnTo>
                  <a:lnTo>
                    <a:pt x="298" y="3362"/>
                  </a:lnTo>
                  <a:lnTo>
                    <a:pt x="300" y="3366"/>
                  </a:lnTo>
                  <a:lnTo>
                    <a:pt x="303" y="3371"/>
                  </a:lnTo>
                  <a:lnTo>
                    <a:pt x="311" y="3378"/>
                  </a:lnTo>
                  <a:lnTo>
                    <a:pt x="320" y="3383"/>
                  </a:lnTo>
                  <a:lnTo>
                    <a:pt x="330" y="3388"/>
                  </a:lnTo>
                  <a:lnTo>
                    <a:pt x="339" y="3394"/>
                  </a:lnTo>
                  <a:lnTo>
                    <a:pt x="343" y="3398"/>
                  </a:lnTo>
                  <a:lnTo>
                    <a:pt x="346" y="3403"/>
                  </a:lnTo>
                  <a:lnTo>
                    <a:pt x="348" y="3408"/>
                  </a:lnTo>
                  <a:lnTo>
                    <a:pt x="350" y="3414"/>
                  </a:lnTo>
                  <a:lnTo>
                    <a:pt x="344" y="3418"/>
                  </a:lnTo>
                  <a:lnTo>
                    <a:pt x="338" y="3423"/>
                  </a:lnTo>
                  <a:lnTo>
                    <a:pt x="331" y="3428"/>
                  </a:lnTo>
                  <a:lnTo>
                    <a:pt x="324" y="3436"/>
                  </a:lnTo>
                  <a:lnTo>
                    <a:pt x="318" y="3444"/>
                  </a:lnTo>
                  <a:lnTo>
                    <a:pt x="312" y="3452"/>
                  </a:lnTo>
                  <a:lnTo>
                    <a:pt x="310" y="3460"/>
                  </a:lnTo>
                  <a:lnTo>
                    <a:pt x="308" y="3468"/>
                  </a:lnTo>
                  <a:lnTo>
                    <a:pt x="308" y="3478"/>
                  </a:lnTo>
                  <a:lnTo>
                    <a:pt x="310" y="3486"/>
                  </a:lnTo>
                  <a:lnTo>
                    <a:pt x="312" y="3492"/>
                  </a:lnTo>
                  <a:lnTo>
                    <a:pt x="316" y="3498"/>
                  </a:lnTo>
                  <a:lnTo>
                    <a:pt x="320" y="3502"/>
                  </a:lnTo>
                  <a:lnTo>
                    <a:pt x="326" y="3504"/>
                  </a:lnTo>
                  <a:lnTo>
                    <a:pt x="331" y="3508"/>
                  </a:lnTo>
                  <a:lnTo>
                    <a:pt x="338" y="3510"/>
                  </a:lnTo>
                  <a:lnTo>
                    <a:pt x="350" y="3515"/>
                  </a:lnTo>
                  <a:lnTo>
                    <a:pt x="362" y="3519"/>
                  </a:lnTo>
                  <a:lnTo>
                    <a:pt x="367" y="3522"/>
                  </a:lnTo>
                  <a:lnTo>
                    <a:pt x="372" y="3526"/>
                  </a:lnTo>
                  <a:lnTo>
                    <a:pt x="376" y="3530"/>
                  </a:lnTo>
                  <a:lnTo>
                    <a:pt x="380" y="3535"/>
                  </a:lnTo>
                  <a:lnTo>
                    <a:pt x="385" y="3547"/>
                  </a:lnTo>
                  <a:lnTo>
                    <a:pt x="389" y="3563"/>
                  </a:lnTo>
                  <a:lnTo>
                    <a:pt x="392" y="3580"/>
                  </a:lnTo>
                  <a:lnTo>
                    <a:pt x="392" y="3598"/>
                  </a:lnTo>
                  <a:lnTo>
                    <a:pt x="392" y="3632"/>
                  </a:lnTo>
                  <a:lnTo>
                    <a:pt x="392" y="3660"/>
                  </a:lnTo>
                  <a:lnTo>
                    <a:pt x="395" y="3667"/>
                  </a:lnTo>
                  <a:lnTo>
                    <a:pt x="399" y="3674"/>
                  </a:lnTo>
                  <a:lnTo>
                    <a:pt x="404" y="3679"/>
                  </a:lnTo>
                  <a:lnTo>
                    <a:pt x="411" y="3684"/>
                  </a:lnTo>
                  <a:lnTo>
                    <a:pt x="425" y="3694"/>
                  </a:lnTo>
                  <a:lnTo>
                    <a:pt x="441" y="3703"/>
                  </a:lnTo>
                  <a:lnTo>
                    <a:pt x="449" y="3708"/>
                  </a:lnTo>
                  <a:lnTo>
                    <a:pt x="456" y="3714"/>
                  </a:lnTo>
                  <a:lnTo>
                    <a:pt x="464" y="3720"/>
                  </a:lnTo>
                  <a:lnTo>
                    <a:pt x="469" y="3727"/>
                  </a:lnTo>
                  <a:lnTo>
                    <a:pt x="475" y="3735"/>
                  </a:lnTo>
                  <a:lnTo>
                    <a:pt x="479" y="3743"/>
                  </a:lnTo>
                  <a:lnTo>
                    <a:pt x="481" y="3752"/>
                  </a:lnTo>
                  <a:lnTo>
                    <a:pt x="483" y="3763"/>
                  </a:lnTo>
                  <a:lnTo>
                    <a:pt x="483" y="3768"/>
                  </a:lnTo>
                  <a:lnTo>
                    <a:pt x="485" y="3772"/>
                  </a:lnTo>
                  <a:lnTo>
                    <a:pt x="488" y="3777"/>
                  </a:lnTo>
                  <a:lnTo>
                    <a:pt x="491" y="3781"/>
                  </a:lnTo>
                  <a:lnTo>
                    <a:pt x="495" y="3787"/>
                  </a:lnTo>
                  <a:lnTo>
                    <a:pt x="497" y="3792"/>
                  </a:lnTo>
                  <a:lnTo>
                    <a:pt x="500" y="3799"/>
                  </a:lnTo>
                  <a:lnTo>
                    <a:pt x="500" y="3805"/>
                  </a:lnTo>
                  <a:lnTo>
                    <a:pt x="493" y="3809"/>
                  </a:lnTo>
                  <a:lnTo>
                    <a:pt x="487" y="3813"/>
                  </a:lnTo>
                  <a:lnTo>
                    <a:pt x="481" y="3819"/>
                  </a:lnTo>
                  <a:lnTo>
                    <a:pt x="476" y="3824"/>
                  </a:lnTo>
                  <a:lnTo>
                    <a:pt x="468" y="3836"/>
                  </a:lnTo>
                  <a:lnTo>
                    <a:pt x="461" y="3851"/>
                  </a:lnTo>
                  <a:lnTo>
                    <a:pt x="457" y="3865"/>
                  </a:lnTo>
                  <a:lnTo>
                    <a:pt x="453" y="3883"/>
                  </a:lnTo>
                  <a:lnTo>
                    <a:pt x="451" y="3899"/>
                  </a:lnTo>
                  <a:lnTo>
                    <a:pt x="448" y="3915"/>
                  </a:lnTo>
                  <a:lnTo>
                    <a:pt x="444" y="3931"/>
                  </a:lnTo>
                  <a:lnTo>
                    <a:pt x="441" y="3947"/>
                  </a:lnTo>
                  <a:lnTo>
                    <a:pt x="436" y="3960"/>
                  </a:lnTo>
                  <a:lnTo>
                    <a:pt x="431" y="3973"/>
                  </a:lnTo>
                  <a:lnTo>
                    <a:pt x="427" y="3979"/>
                  </a:lnTo>
                  <a:lnTo>
                    <a:pt x="423" y="3983"/>
                  </a:lnTo>
                  <a:lnTo>
                    <a:pt x="419" y="3988"/>
                  </a:lnTo>
                  <a:lnTo>
                    <a:pt x="413" y="3991"/>
                  </a:lnTo>
                  <a:lnTo>
                    <a:pt x="408" y="3995"/>
                  </a:lnTo>
                  <a:lnTo>
                    <a:pt x="401" y="3996"/>
                  </a:lnTo>
                  <a:lnTo>
                    <a:pt x="393" y="3997"/>
                  </a:lnTo>
                  <a:lnTo>
                    <a:pt x="385" y="3997"/>
                  </a:lnTo>
                  <a:lnTo>
                    <a:pt x="373" y="3997"/>
                  </a:lnTo>
                  <a:lnTo>
                    <a:pt x="364" y="3995"/>
                  </a:lnTo>
                  <a:lnTo>
                    <a:pt x="358" y="3992"/>
                  </a:lnTo>
                  <a:lnTo>
                    <a:pt x="351" y="3989"/>
                  </a:lnTo>
                  <a:lnTo>
                    <a:pt x="344" y="3985"/>
                  </a:lnTo>
                  <a:lnTo>
                    <a:pt x="338" y="3983"/>
                  </a:lnTo>
                  <a:lnTo>
                    <a:pt x="330" y="3980"/>
                  </a:lnTo>
                  <a:lnTo>
                    <a:pt x="320" y="3980"/>
                  </a:lnTo>
                  <a:lnTo>
                    <a:pt x="316" y="3980"/>
                  </a:lnTo>
                  <a:lnTo>
                    <a:pt x="314" y="3981"/>
                  </a:lnTo>
                  <a:lnTo>
                    <a:pt x="311" y="3984"/>
                  </a:lnTo>
                  <a:lnTo>
                    <a:pt x="310" y="3987"/>
                  </a:lnTo>
                  <a:lnTo>
                    <a:pt x="306" y="3993"/>
                  </a:lnTo>
                  <a:lnTo>
                    <a:pt x="303" y="4003"/>
                  </a:lnTo>
                  <a:lnTo>
                    <a:pt x="299" y="4020"/>
                  </a:lnTo>
                  <a:lnTo>
                    <a:pt x="295" y="4035"/>
                  </a:lnTo>
                  <a:lnTo>
                    <a:pt x="291" y="4043"/>
                  </a:lnTo>
                  <a:lnTo>
                    <a:pt x="287" y="4051"/>
                  </a:lnTo>
                  <a:lnTo>
                    <a:pt x="280" y="4057"/>
                  </a:lnTo>
                  <a:lnTo>
                    <a:pt x="274" y="4064"/>
                  </a:lnTo>
                  <a:lnTo>
                    <a:pt x="259" y="4075"/>
                  </a:lnTo>
                  <a:lnTo>
                    <a:pt x="244" y="4085"/>
                  </a:lnTo>
                  <a:lnTo>
                    <a:pt x="230" y="4096"/>
                  </a:lnTo>
                  <a:lnTo>
                    <a:pt x="216" y="4107"/>
                  </a:lnTo>
                  <a:lnTo>
                    <a:pt x="212" y="4113"/>
                  </a:lnTo>
                  <a:lnTo>
                    <a:pt x="208" y="4120"/>
                  </a:lnTo>
                  <a:lnTo>
                    <a:pt x="206" y="4128"/>
                  </a:lnTo>
                  <a:lnTo>
                    <a:pt x="206" y="4136"/>
                  </a:lnTo>
                  <a:lnTo>
                    <a:pt x="206" y="4141"/>
                  </a:lnTo>
                  <a:lnTo>
                    <a:pt x="208" y="4147"/>
                  </a:lnTo>
                  <a:lnTo>
                    <a:pt x="211" y="4151"/>
                  </a:lnTo>
                  <a:lnTo>
                    <a:pt x="215" y="4155"/>
                  </a:lnTo>
                  <a:lnTo>
                    <a:pt x="224" y="4161"/>
                  </a:lnTo>
                  <a:lnTo>
                    <a:pt x="235" y="4169"/>
                  </a:lnTo>
                  <a:lnTo>
                    <a:pt x="247" y="4177"/>
                  </a:lnTo>
                  <a:lnTo>
                    <a:pt x="256" y="4187"/>
                  </a:lnTo>
                  <a:lnTo>
                    <a:pt x="260" y="4192"/>
                  </a:lnTo>
                  <a:lnTo>
                    <a:pt x="263" y="4199"/>
                  </a:lnTo>
                  <a:lnTo>
                    <a:pt x="264" y="4207"/>
                  </a:lnTo>
                  <a:lnTo>
                    <a:pt x="266" y="4215"/>
                  </a:lnTo>
                  <a:lnTo>
                    <a:pt x="264" y="4228"/>
                  </a:lnTo>
                  <a:lnTo>
                    <a:pt x="263" y="4236"/>
                  </a:lnTo>
                  <a:lnTo>
                    <a:pt x="262" y="4240"/>
                  </a:lnTo>
                  <a:lnTo>
                    <a:pt x="260" y="4241"/>
                  </a:lnTo>
                  <a:lnTo>
                    <a:pt x="258" y="4243"/>
                  </a:lnTo>
                  <a:lnTo>
                    <a:pt x="255" y="4244"/>
                  </a:lnTo>
                  <a:lnTo>
                    <a:pt x="240" y="4247"/>
                  </a:lnTo>
                  <a:lnTo>
                    <a:pt x="218" y="4251"/>
                  </a:lnTo>
                  <a:lnTo>
                    <a:pt x="210" y="4255"/>
                  </a:lnTo>
                  <a:lnTo>
                    <a:pt x="202" y="4260"/>
                  </a:lnTo>
                  <a:lnTo>
                    <a:pt x="195" y="4265"/>
                  </a:lnTo>
                  <a:lnTo>
                    <a:pt x="187" y="4272"/>
                  </a:lnTo>
                  <a:lnTo>
                    <a:pt x="180" y="4280"/>
                  </a:lnTo>
                  <a:lnTo>
                    <a:pt x="174" y="4288"/>
                  </a:lnTo>
                  <a:lnTo>
                    <a:pt x="168" y="4297"/>
                  </a:lnTo>
                  <a:lnTo>
                    <a:pt x="163" y="4307"/>
                  </a:lnTo>
                  <a:lnTo>
                    <a:pt x="152" y="4326"/>
                  </a:lnTo>
                  <a:lnTo>
                    <a:pt x="146" y="4348"/>
                  </a:lnTo>
                  <a:lnTo>
                    <a:pt x="143" y="4358"/>
                  </a:lnTo>
                  <a:lnTo>
                    <a:pt x="140" y="4369"/>
                  </a:lnTo>
                  <a:lnTo>
                    <a:pt x="139" y="4378"/>
                  </a:lnTo>
                  <a:lnTo>
                    <a:pt x="139" y="4389"/>
                  </a:lnTo>
                  <a:lnTo>
                    <a:pt x="140" y="4412"/>
                  </a:lnTo>
                  <a:lnTo>
                    <a:pt x="142" y="4433"/>
                  </a:lnTo>
                  <a:lnTo>
                    <a:pt x="146" y="4452"/>
                  </a:lnTo>
                  <a:lnTo>
                    <a:pt x="150" y="4468"/>
                  </a:lnTo>
                  <a:lnTo>
                    <a:pt x="156" y="4484"/>
                  </a:lnTo>
                  <a:lnTo>
                    <a:pt x="162" y="4498"/>
                  </a:lnTo>
                  <a:lnTo>
                    <a:pt x="170" y="4512"/>
                  </a:lnTo>
                  <a:lnTo>
                    <a:pt x="178" y="4525"/>
                  </a:lnTo>
                  <a:lnTo>
                    <a:pt x="195" y="4549"/>
                  </a:lnTo>
                  <a:lnTo>
                    <a:pt x="212" y="4572"/>
                  </a:lnTo>
                  <a:lnTo>
                    <a:pt x="231" y="4597"/>
                  </a:lnTo>
                  <a:lnTo>
                    <a:pt x="247" y="4624"/>
                  </a:lnTo>
                  <a:lnTo>
                    <a:pt x="251" y="4630"/>
                  </a:lnTo>
                  <a:lnTo>
                    <a:pt x="256" y="4636"/>
                  </a:lnTo>
                  <a:lnTo>
                    <a:pt x="263" y="4641"/>
                  </a:lnTo>
                  <a:lnTo>
                    <a:pt x="270" y="4645"/>
                  </a:lnTo>
                  <a:lnTo>
                    <a:pt x="284" y="4652"/>
                  </a:lnTo>
                  <a:lnTo>
                    <a:pt x="299" y="4658"/>
                  </a:lnTo>
                  <a:lnTo>
                    <a:pt x="314" y="4666"/>
                  </a:lnTo>
                  <a:lnTo>
                    <a:pt x="326" y="4674"/>
                  </a:lnTo>
                  <a:lnTo>
                    <a:pt x="331" y="4681"/>
                  </a:lnTo>
                  <a:lnTo>
                    <a:pt x="335" y="4686"/>
                  </a:lnTo>
                  <a:lnTo>
                    <a:pt x="338" y="4694"/>
                  </a:lnTo>
                  <a:lnTo>
                    <a:pt x="338" y="4702"/>
                  </a:lnTo>
                  <a:lnTo>
                    <a:pt x="338" y="4717"/>
                  </a:lnTo>
                  <a:lnTo>
                    <a:pt x="338" y="4730"/>
                  </a:lnTo>
                  <a:lnTo>
                    <a:pt x="338" y="4741"/>
                  </a:lnTo>
                  <a:lnTo>
                    <a:pt x="338" y="4745"/>
                  </a:lnTo>
                  <a:lnTo>
                    <a:pt x="338" y="4750"/>
                  </a:lnTo>
                  <a:lnTo>
                    <a:pt x="339" y="4756"/>
                  </a:lnTo>
                  <a:lnTo>
                    <a:pt x="342" y="4760"/>
                  </a:lnTo>
                  <a:lnTo>
                    <a:pt x="343" y="4765"/>
                  </a:lnTo>
                  <a:lnTo>
                    <a:pt x="350" y="4774"/>
                  </a:lnTo>
                  <a:lnTo>
                    <a:pt x="356" y="4782"/>
                  </a:lnTo>
                  <a:lnTo>
                    <a:pt x="363" y="4793"/>
                  </a:lnTo>
                  <a:lnTo>
                    <a:pt x="368" y="4805"/>
                  </a:lnTo>
                  <a:lnTo>
                    <a:pt x="371" y="4812"/>
                  </a:lnTo>
                  <a:lnTo>
                    <a:pt x="372" y="4818"/>
                  </a:lnTo>
                  <a:lnTo>
                    <a:pt x="373" y="4826"/>
                  </a:lnTo>
                  <a:lnTo>
                    <a:pt x="373" y="4834"/>
                  </a:lnTo>
                  <a:lnTo>
                    <a:pt x="404" y="4834"/>
                  </a:lnTo>
                  <a:lnTo>
                    <a:pt x="416" y="4826"/>
                  </a:lnTo>
                  <a:lnTo>
                    <a:pt x="431" y="4813"/>
                  </a:lnTo>
                  <a:lnTo>
                    <a:pt x="445" y="4798"/>
                  </a:lnTo>
                  <a:lnTo>
                    <a:pt x="460" y="4782"/>
                  </a:lnTo>
                  <a:lnTo>
                    <a:pt x="475" y="4769"/>
                  </a:lnTo>
                  <a:lnTo>
                    <a:pt x="489" y="4756"/>
                  </a:lnTo>
                  <a:lnTo>
                    <a:pt x="496" y="4752"/>
                  </a:lnTo>
                  <a:lnTo>
                    <a:pt x="501" y="4748"/>
                  </a:lnTo>
                  <a:lnTo>
                    <a:pt x="507" y="4745"/>
                  </a:lnTo>
                  <a:lnTo>
                    <a:pt x="512" y="4745"/>
                  </a:lnTo>
                  <a:lnTo>
                    <a:pt x="528" y="4745"/>
                  </a:lnTo>
                  <a:lnTo>
                    <a:pt x="545" y="4749"/>
                  </a:lnTo>
                  <a:lnTo>
                    <a:pt x="564" y="4753"/>
                  </a:lnTo>
                  <a:lnTo>
                    <a:pt x="583" y="4760"/>
                  </a:lnTo>
                  <a:lnTo>
                    <a:pt x="601" y="4769"/>
                  </a:lnTo>
                  <a:lnTo>
                    <a:pt x="620" y="4778"/>
                  </a:lnTo>
                  <a:lnTo>
                    <a:pt x="637" y="4789"/>
                  </a:lnTo>
                  <a:lnTo>
                    <a:pt x="655" y="4802"/>
                  </a:lnTo>
                  <a:lnTo>
                    <a:pt x="672" y="4816"/>
                  </a:lnTo>
                  <a:lnTo>
                    <a:pt x="687" y="4830"/>
                  </a:lnTo>
                  <a:lnTo>
                    <a:pt x="700" y="4845"/>
                  </a:lnTo>
                  <a:lnTo>
                    <a:pt x="712" y="4861"/>
                  </a:lnTo>
                  <a:lnTo>
                    <a:pt x="721" y="4878"/>
                  </a:lnTo>
                  <a:lnTo>
                    <a:pt x="729" y="4896"/>
                  </a:lnTo>
                  <a:lnTo>
                    <a:pt x="732" y="4905"/>
                  </a:lnTo>
                  <a:lnTo>
                    <a:pt x="733" y="4913"/>
                  </a:lnTo>
                  <a:lnTo>
                    <a:pt x="735" y="4922"/>
                  </a:lnTo>
                  <a:lnTo>
                    <a:pt x="735" y="4931"/>
                  </a:lnTo>
                  <a:lnTo>
                    <a:pt x="735" y="4939"/>
                  </a:lnTo>
                  <a:lnTo>
                    <a:pt x="731" y="4947"/>
                  </a:lnTo>
                  <a:lnTo>
                    <a:pt x="728" y="4954"/>
                  </a:lnTo>
                  <a:lnTo>
                    <a:pt x="723" y="4962"/>
                  </a:lnTo>
                  <a:lnTo>
                    <a:pt x="719" y="4970"/>
                  </a:lnTo>
                  <a:lnTo>
                    <a:pt x="715" y="4978"/>
                  </a:lnTo>
                  <a:lnTo>
                    <a:pt x="712" y="4987"/>
                  </a:lnTo>
                  <a:lnTo>
                    <a:pt x="711" y="4997"/>
                  </a:lnTo>
                  <a:lnTo>
                    <a:pt x="712" y="5014"/>
                  </a:lnTo>
                  <a:lnTo>
                    <a:pt x="715" y="5029"/>
                  </a:lnTo>
                  <a:lnTo>
                    <a:pt x="716" y="5035"/>
                  </a:lnTo>
                  <a:lnTo>
                    <a:pt x="719" y="5041"/>
                  </a:lnTo>
                  <a:lnTo>
                    <a:pt x="721" y="5047"/>
                  </a:lnTo>
                  <a:lnTo>
                    <a:pt x="725" y="5051"/>
                  </a:lnTo>
                  <a:lnTo>
                    <a:pt x="729" y="5055"/>
                  </a:lnTo>
                  <a:lnTo>
                    <a:pt x="733" y="5059"/>
                  </a:lnTo>
                  <a:lnTo>
                    <a:pt x="739" y="5062"/>
                  </a:lnTo>
                  <a:lnTo>
                    <a:pt x="744" y="5065"/>
                  </a:lnTo>
                  <a:lnTo>
                    <a:pt x="756" y="5069"/>
                  </a:lnTo>
                  <a:lnTo>
                    <a:pt x="771" y="5070"/>
                  </a:lnTo>
                  <a:lnTo>
                    <a:pt x="780" y="5069"/>
                  </a:lnTo>
                  <a:lnTo>
                    <a:pt x="787" y="5067"/>
                  </a:lnTo>
                  <a:lnTo>
                    <a:pt x="793" y="5066"/>
                  </a:lnTo>
                  <a:lnTo>
                    <a:pt x="797" y="5063"/>
                  </a:lnTo>
                  <a:lnTo>
                    <a:pt x="805" y="5057"/>
                  </a:lnTo>
                  <a:lnTo>
                    <a:pt x="812" y="5049"/>
                  </a:lnTo>
                  <a:lnTo>
                    <a:pt x="817" y="5041"/>
                  </a:lnTo>
                  <a:lnTo>
                    <a:pt x="824" y="5034"/>
                  </a:lnTo>
                  <a:lnTo>
                    <a:pt x="828" y="5031"/>
                  </a:lnTo>
                  <a:lnTo>
                    <a:pt x="832" y="5029"/>
                  </a:lnTo>
                  <a:lnTo>
                    <a:pt x="837" y="5027"/>
                  </a:lnTo>
                  <a:lnTo>
                    <a:pt x="844" y="5027"/>
                  </a:lnTo>
                  <a:lnTo>
                    <a:pt x="853" y="5027"/>
                  </a:lnTo>
                  <a:lnTo>
                    <a:pt x="863" y="5029"/>
                  </a:lnTo>
                  <a:lnTo>
                    <a:pt x="869" y="5031"/>
                  </a:lnTo>
                  <a:lnTo>
                    <a:pt x="876" y="5034"/>
                  </a:lnTo>
                  <a:lnTo>
                    <a:pt x="883" y="5035"/>
                  </a:lnTo>
                  <a:lnTo>
                    <a:pt x="888" y="5038"/>
                  </a:lnTo>
                  <a:lnTo>
                    <a:pt x="896" y="5039"/>
                  </a:lnTo>
                  <a:lnTo>
                    <a:pt x="904" y="5039"/>
                  </a:lnTo>
                  <a:lnTo>
                    <a:pt x="923" y="5039"/>
                  </a:lnTo>
                  <a:lnTo>
                    <a:pt x="936" y="5039"/>
                  </a:lnTo>
                  <a:lnTo>
                    <a:pt x="947" y="5039"/>
                  </a:lnTo>
                  <a:lnTo>
                    <a:pt x="957" y="5039"/>
                  </a:lnTo>
                  <a:lnTo>
                    <a:pt x="964" y="5041"/>
                  </a:lnTo>
                  <a:lnTo>
                    <a:pt x="969" y="5042"/>
                  </a:lnTo>
                  <a:lnTo>
                    <a:pt x="975" y="5046"/>
                  </a:lnTo>
                  <a:lnTo>
                    <a:pt x="979" y="5050"/>
                  </a:lnTo>
                  <a:lnTo>
                    <a:pt x="985" y="5061"/>
                  </a:lnTo>
                  <a:lnTo>
                    <a:pt x="992" y="5074"/>
                  </a:lnTo>
                  <a:lnTo>
                    <a:pt x="999" y="5087"/>
                  </a:lnTo>
                  <a:lnTo>
                    <a:pt x="1007" y="5101"/>
                  </a:lnTo>
                  <a:lnTo>
                    <a:pt x="1011" y="5106"/>
                  </a:lnTo>
                  <a:lnTo>
                    <a:pt x="1016" y="5111"/>
                  </a:lnTo>
                  <a:lnTo>
                    <a:pt x="1023" y="5115"/>
                  </a:lnTo>
                  <a:lnTo>
                    <a:pt x="1031" y="5118"/>
                  </a:lnTo>
                  <a:lnTo>
                    <a:pt x="1031" y="5123"/>
                  </a:lnTo>
                  <a:lnTo>
                    <a:pt x="1072" y="5091"/>
                  </a:lnTo>
                  <a:lnTo>
                    <a:pt x="1120" y="5055"/>
                  </a:lnTo>
                  <a:lnTo>
                    <a:pt x="1145" y="5035"/>
                  </a:lnTo>
                  <a:lnTo>
                    <a:pt x="1172" y="5014"/>
                  </a:lnTo>
                  <a:lnTo>
                    <a:pt x="1197" y="4989"/>
                  </a:lnTo>
                  <a:lnTo>
                    <a:pt x="1222" y="4961"/>
                  </a:lnTo>
                  <a:lnTo>
                    <a:pt x="1218" y="4958"/>
                  </a:lnTo>
                  <a:lnTo>
                    <a:pt x="1209" y="4947"/>
                  </a:lnTo>
                  <a:lnTo>
                    <a:pt x="1196" y="4931"/>
                  </a:lnTo>
                  <a:lnTo>
                    <a:pt x="1181" y="4913"/>
                  </a:lnTo>
                  <a:lnTo>
                    <a:pt x="1174" y="4902"/>
                  </a:lnTo>
                  <a:lnTo>
                    <a:pt x="1168" y="4890"/>
                  </a:lnTo>
                  <a:lnTo>
                    <a:pt x="1164" y="4880"/>
                  </a:lnTo>
                  <a:lnTo>
                    <a:pt x="1160" y="4868"/>
                  </a:lnTo>
                  <a:lnTo>
                    <a:pt x="1157" y="4856"/>
                  </a:lnTo>
                  <a:lnTo>
                    <a:pt x="1157" y="4845"/>
                  </a:lnTo>
                  <a:lnTo>
                    <a:pt x="1158" y="4833"/>
                  </a:lnTo>
                  <a:lnTo>
                    <a:pt x="1162" y="4822"/>
                  </a:lnTo>
                  <a:lnTo>
                    <a:pt x="1172" y="4810"/>
                  </a:lnTo>
                  <a:lnTo>
                    <a:pt x="1184" y="4800"/>
                  </a:lnTo>
                  <a:lnTo>
                    <a:pt x="1197" y="4788"/>
                  </a:lnTo>
                  <a:lnTo>
                    <a:pt x="1213" y="4777"/>
                  </a:lnTo>
                  <a:lnTo>
                    <a:pt x="1249" y="4756"/>
                  </a:lnTo>
                  <a:lnTo>
                    <a:pt x="1289" y="4733"/>
                  </a:lnTo>
                  <a:lnTo>
                    <a:pt x="1332" y="4710"/>
                  </a:lnTo>
                  <a:lnTo>
                    <a:pt x="1374" y="4686"/>
                  </a:lnTo>
                  <a:lnTo>
                    <a:pt x="1394" y="4673"/>
                  </a:lnTo>
                  <a:lnTo>
                    <a:pt x="1414" y="4660"/>
                  </a:lnTo>
                  <a:lnTo>
                    <a:pt x="1434" y="4645"/>
                  </a:lnTo>
                  <a:lnTo>
                    <a:pt x="1452" y="4630"/>
                  </a:lnTo>
                  <a:lnTo>
                    <a:pt x="1456" y="4632"/>
                  </a:lnTo>
                  <a:lnTo>
                    <a:pt x="1460" y="4633"/>
                  </a:lnTo>
                  <a:lnTo>
                    <a:pt x="1462" y="4636"/>
                  </a:lnTo>
                  <a:lnTo>
                    <a:pt x="1465" y="4640"/>
                  </a:lnTo>
                  <a:lnTo>
                    <a:pt x="1466" y="4650"/>
                  </a:lnTo>
                  <a:lnTo>
                    <a:pt x="1466" y="4662"/>
                  </a:lnTo>
                  <a:lnTo>
                    <a:pt x="1461" y="4692"/>
                  </a:lnTo>
                  <a:lnTo>
                    <a:pt x="1453" y="4724"/>
                  </a:lnTo>
                  <a:lnTo>
                    <a:pt x="1449" y="4738"/>
                  </a:lnTo>
                  <a:lnTo>
                    <a:pt x="1446" y="4753"/>
                  </a:lnTo>
                  <a:lnTo>
                    <a:pt x="1445" y="4766"/>
                  </a:lnTo>
                  <a:lnTo>
                    <a:pt x="1446" y="4776"/>
                  </a:lnTo>
                  <a:lnTo>
                    <a:pt x="1448" y="4780"/>
                  </a:lnTo>
                  <a:lnTo>
                    <a:pt x="1450" y="4784"/>
                  </a:lnTo>
                  <a:lnTo>
                    <a:pt x="1453" y="4785"/>
                  </a:lnTo>
                  <a:lnTo>
                    <a:pt x="1457" y="4786"/>
                  </a:lnTo>
                  <a:lnTo>
                    <a:pt x="1461" y="4786"/>
                  </a:lnTo>
                  <a:lnTo>
                    <a:pt x="1468" y="4786"/>
                  </a:lnTo>
                  <a:lnTo>
                    <a:pt x="1474" y="4784"/>
                  </a:lnTo>
                  <a:lnTo>
                    <a:pt x="1482" y="4781"/>
                  </a:lnTo>
                  <a:lnTo>
                    <a:pt x="1490" y="4760"/>
                  </a:lnTo>
                  <a:lnTo>
                    <a:pt x="1500" y="4740"/>
                  </a:lnTo>
                  <a:lnTo>
                    <a:pt x="1510" y="4722"/>
                  </a:lnTo>
                  <a:lnTo>
                    <a:pt x="1521" y="4705"/>
                  </a:lnTo>
                  <a:lnTo>
                    <a:pt x="1542" y="4674"/>
                  </a:lnTo>
                  <a:lnTo>
                    <a:pt x="1564" y="4646"/>
                  </a:lnTo>
                  <a:lnTo>
                    <a:pt x="1572" y="4632"/>
                  </a:lnTo>
                  <a:lnTo>
                    <a:pt x="1580" y="4616"/>
                  </a:lnTo>
                  <a:lnTo>
                    <a:pt x="1586" y="4601"/>
                  </a:lnTo>
                  <a:lnTo>
                    <a:pt x="1592" y="4584"/>
                  </a:lnTo>
                  <a:lnTo>
                    <a:pt x="1594" y="4565"/>
                  </a:lnTo>
                  <a:lnTo>
                    <a:pt x="1596" y="4545"/>
                  </a:lnTo>
                  <a:lnTo>
                    <a:pt x="1594" y="4522"/>
                  </a:lnTo>
                  <a:lnTo>
                    <a:pt x="1590" y="4497"/>
                  </a:lnTo>
                  <a:lnTo>
                    <a:pt x="1626" y="4449"/>
                  </a:lnTo>
                  <a:lnTo>
                    <a:pt x="1660" y="4405"/>
                  </a:lnTo>
                  <a:lnTo>
                    <a:pt x="1668" y="4394"/>
                  </a:lnTo>
                  <a:lnTo>
                    <a:pt x="1674" y="4382"/>
                  </a:lnTo>
                  <a:lnTo>
                    <a:pt x="1681" y="4370"/>
                  </a:lnTo>
                  <a:lnTo>
                    <a:pt x="1686" y="4358"/>
                  </a:lnTo>
                  <a:lnTo>
                    <a:pt x="1690" y="4345"/>
                  </a:lnTo>
                  <a:lnTo>
                    <a:pt x="1694" y="4330"/>
                  </a:lnTo>
                  <a:lnTo>
                    <a:pt x="1697" y="4316"/>
                  </a:lnTo>
                  <a:lnTo>
                    <a:pt x="1698" y="4299"/>
                  </a:lnTo>
                  <a:lnTo>
                    <a:pt x="1698" y="4295"/>
                  </a:lnTo>
                  <a:lnTo>
                    <a:pt x="1697" y="4291"/>
                  </a:lnTo>
                  <a:lnTo>
                    <a:pt x="1696" y="4288"/>
                  </a:lnTo>
                  <a:lnTo>
                    <a:pt x="1693" y="4288"/>
                  </a:lnTo>
                  <a:lnTo>
                    <a:pt x="1690" y="4288"/>
                  </a:lnTo>
                  <a:lnTo>
                    <a:pt x="1686" y="4289"/>
                  </a:lnTo>
                  <a:lnTo>
                    <a:pt x="1682" y="4292"/>
                  </a:lnTo>
                  <a:lnTo>
                    <a:pt x="1677" y="4295"/>
                  </a:lnTo>
                  <a:lnTo>
                    <a:pt x="1656" y="4313"/>
                  </a:lnTo>
                  <a:lnTo>
                    <a:pt x="1629" y="4340"/>
                  </a:lnTo>
                  <a:lnTo>
                    <a:pt x="1614" y="4353"/>
                  </a:lnTo>
                  <a:lnTo>
                    <a:pt x="1601" y="4366"/>
                  </a:lnTo>
                  <a:lnTo>
                    <a:pt x="1588" y="4377"/>
                  </a:lnTo>
                  <a:lnTo>
                    <a:pt x="1574" y="4386"/>
                  </a:lnTo>
                  <a:lnTo>
                    <a:pt x="1568" y="4390"/>
                  </a:lnTo>
                  <a:lnTo>
                    <a:pt x="1562" y="4393"/>
                  </a:lnTo>
                  <a:lnTo>
                    <a:pt x="1557" y="4396"/>
                  </a:lnTo>
                  <a:lnTo>
                    <a:pt x="1552" y="4397"/>
                  </a:lnTo>
                  <a:lnTo>
                    <a:pt x="1546" y="4397"/>
                  </a:lnTo>
                  <a:lnTo>
                    <a:pt x="1542" y="4396"/>
                  </a:lnTo>
                  <a:lnTo>
                    <a:pt x="1540" y="4393"/>
                  </a:lnTo>
                  <a:lnTo>
                    <a:pt x="1536" y="4389"/>
                  </a:lnTo>
                  <a:lnTo>
                    <a:pt x="1526" y="4368"/>
                  </a:lnTo>
                  <a:lnTo>
                    <a:pt x="1517" y="4342"/>
                  </a:lnTo>
                  <a:lnTo>
                    <a:pt x="1508" y="4313"/>
                  </a:lnTo>
                  <a:lnTo>
                    <a:pt x="1500" y="4279"/>
                  </a:lnTo>
                  <a:lnTo>
                    <a:pt x="1485" y="4205"/>
                  </a:lnTo>
                  <a:lnTo>
                    <a:pt x="1470" y="4125"/>
                  </a:lnTo>
                  <a:lnTo>
                    <a:pt x="1454" y="4049"/>
                  </a:lnTo>
                  <a:lnTo>
                    <a:pt x="1440" y="3980"/>
                  </a:lnTo>
                  <a:lnTo>
                    <a:pt x="1432" y="3949"/>
                  </a:lnTo>
                  <a:lnTo>
                    <a:pt x="1422" y="3924"/>
                  </a:lnTo>
                  <a:lnTo>
                    <a:pt x="1418" y="3913"/>
                  </a:lnTo>
                  <a:lnTo>
                    <a:pt x="1413" y="3904"/>
                  </a:lnTo>
                  <a:lnTo>
                    <a:pt x="1409" y="3896"/>
                  </a:lnTo>
                  <a:lnTo>
                    <a:pt x="1404" y="3889"/>
                  </a:lnTo>
                  <a:lnTo>
                    <a:pt x="1394" y="3881"/>
                  </a:lnTo>
                  <a:lnTo>
                    <a:pt x="1388" y="3872"/>
                  </a:lnTo>
                  <a:lnTo>
                    <a:pt x="1381" y="3863"/>
                  </a:lnTo>
                  <a:lnTo>
                    <a:pt x="1376" y="3853"/>
                  </a:lnTo>
                  <a:lnTo>
                    <a:pt x="1372" y="3844"/>
                  </a:lnTo>
                  <a:lnTo>
                    <a:pt x="1369" y="3835"/>
                  </a:lnTo>
                  <a:lnTo>
                    <a:pt x="1366" y="3825"/>
                  </a:lnTo>
                  <a:lnTo>
                    <a:pt x="1364" y="3816"/>
                  </a:lnTo>
                  <a:lnTo>
                    <a:pt x="1364" y="3805"/>
                  </a:lnTo>
                  <a:lnTo>
                    <a:pt x="1364" y="3796"/>
                  </a:lnTo>
                  <a:lnTo>
                    <a:pt x="1364" y="3785"/>
                  </a:lnTo>
                  <a:lnTo>
                    <a:pt x="1365" y="3775"/>
                  </a:lnTo>
                  <a:lnTo>
                    <a:pt x="1369" y="3753"/>
                  </a:lnTo>
                  <a:lnTo>
                    <a:pt x="1374" y="3732"/>
                  </a:lnTo>
                  <a:lnTo>
                    <a:pt x="1390" y="3688"/>
                  </a:lnTo>
                  <a:lnTo>
                    <a:pt x="1410" y="3643"/>
                  </a:lnTo>
                  <a:lnTo>
                    <a:pt x="1420" y="3620"/>
                  </a:lnTo>
                  <a:lnTo>
                    <a:pt x="1429" y="3598"/>
                  </a:lnTo>
                  <a:lnTo>
                    <a:pt x="1438" y="3575"/>
                  </a:lnTo>
                  <a:lnTo>
                    <a:pt x="1445" y="3552"/>
                  </a:lnTo>
                  <a:lnTo>
                    <a:pt x="1456" y="3555"/>
                  </a:lnTo>
                  <a:lnTo>
                    <a:pt x="1466" y="3556"/>
                  </a:lnTo>
                  <a:lnTo>
                    <a:pt x="1474" y="3558"/>
                  </a:lnTo>
                  <a:lnTo>
                    <a:pt x="1482" y="3558"/>
                  </a:lnTo>
                  <a:lnTo>
                    <a:pt x="1489" y="3556"/>
                  </a:lnTo>
                  <a:lnTo>
                    <a:pt x="1494" y="3554"/>
                  </a:lnTo>
                  <a:lnTo>
                    <a:pt x="1500" y="3551"/>
                  </a:lnTo>
                  <a:lnTo>
                    <a:pt x="1504" y="3547"/>
                  </a:lnTo>
                  <a:lnTo>
                    <a:pt x="1508" y="3543"/>
                  </a:lnTo>
                  <a:lnTo>
                    <a:pt x="1510" y="3538"/>
                  </a:lnTo>
                  <a:lnTo>
                    <a:pt x="1512" y="3534"/>
                  </a:lnTo>
                  <a:lnTo>
                    <a:pt x="1514" y="3527"/>
                  </a:lnTo>
                  <a:lnTo>
                    <a:pt x="1516" y="3515"/>
                  </a:lnTo>
                  <a:lnTo>
                    <a:pt x="1517" y="3502"/>
                  </a:lnTo>
                  <a:lnTo>
                    <a:pt x="1516" y="3476"/>
                  </a:lnTo>
                  <a:lnTo>
                    <a:pt x="1513" y="3454"/>
                  </a:lnTo>
                  <a:lnTo>
                    <a:pt x="1513" y="3444"/>
                  </a:lnTo>
                  <a:lnTo>
                    <a:pt x="1516" y="3439"/>
                  </a:lnTo>
                  <a:lnTo>
                    <a:pt x="1517" y="3438"/>
                  </a:lnTo>
                  <a:lnTo>
                    <a:pt x="1518" y="3436"/>
                  </a:lnTo>
                  <a:lnTo>
                    <a:pt x="1521" y="3436"/>
                  </a:lnTo>
                  <a:lnTo>
                    <a:pt x="1524" y="3438"/>
                  </a:lnTo>
                  <a:lnTo>
                    <a:pt x="1532" y="3446"/>
                  </a:lnTo>
                  <a:lnTo>
                    <a:pt x="1541" y="3456"/>
                  </a:lnTo>
                  <a:lnTo>
                    <a:pt x="1550" y="3470"/>
                  </a:lnTo>
                  <a:lnTo>
                    <a:pt x="1560" y="3486"/>
                  </a:lnTo>
                  <a:lnTo>
                    <a:pt x="1580" y="3520"/>
                  </a:lnTo>
                  <a:lnTo>
                    <a:pt x="1601" y="3556"/>
                  </a:lnTo>
                  <a:lnTo>
                    <a:pt x="1610" y="3574"/>
                  </a:lnTo>
                  <a:lnTo>
                    <a:pt x="1621" y="3590"/>
                  </a:lnTo>
                  <a:lnTo>
                    <a:pt x="1630" y="3602"/>
                  </a:lnTo>
                  <a:lnTo>
                    <a:pt x="1640" y="3612"/>
                  </a:lnTo>
                  <a:lnTo>
                    <a:pt x="1644" y="3616"/>
                  </a:lnTo>
                  <a:lnTo>
                    <a:pt x="1648" y="3619"/>
                  </a:lnTo>
                  <a:lnTo>
                    <a:pt x="1652" y="3622"/>
                  </a:lnTo>
                  <a:lnTo>
                    <a:pt x="1656" y="3622"/>
                  </a:lnTo>
                  <a:lnTo>
                    <a:pt x="1658" y="3622"/>
                  </a:lnTo>
                  <a:lnTo>
                    <a:pt x="1662" y="3620"/>
                  </a:lnTo>
                  <a:lnTo>
                    <a:pt x="1665" y="3618"/>
                  </a:lnTo>
                  <a:lnTo>
                    <a:pt x="1669" y="3612"/>
                  </a:lnTo>
                  <a:lnTo>
                    <a:pt x="1678" y="3594"/>
                  </a:lnTo>
                  <a:lnTo>
                    <a:pt x="1688" y="3582"/>
                  </a:lnTo>
                  <a:lnTo>
                    <a:pt x="1692" y="3578"/>
                  </a:lnTo>
                  <a:lnTo>
                    <a:pt x="1696" y="3574"/>
                  </a:lnTo>
                  <a:lnTo>
                    <a:pt x="1700" y="3572"/>
                  </a:lnTo>
                  <a:lnTo>
                    <a:pt x="1704" y="3571"/>
                  </a:lnTo>
                  <a:lnTo>
                    <a:pt x="1706" y="3571"/>
                  </a:lnTo>
                  <a:lnTo>
                    <a:pt x="1710" y="3571"/>
                  </a:lnTo>
                  <a:lnTo>
                    <a:pt x="1714" y="3572"/>
                  </a:lnTo>
                  <a:lnTo>
                    <a:pt x="1717" y="3575"/>
                  </a:lnTo>
                  <a:lnTo>
                    <a:pt x="1724" y="3580"/>
                  </a:lnTo>
                  <a:lnTo>
                    <a:pt x="1730" y="3588"/>
                  </a:lnTo>
                  <a:lnTo>
                    <a:pt x="1742" y="3606"/>
                  </a:lnTo>
                  <a:lnTo>
                    <a:pt x="1754" y="3622"/>
                  </a:lnTo>
                  <a:lnTo>
                    <a:pt x="1761" y="3628"/>
                  </a:lnTo>
                  <a:lnTo>
                    <a:pt x="1768" y="3632"/>
                  </a:lnTo>
                  <a:lnTo>
                    <a:pt x="1772" y="3634"/>
                  </a:lnTo>
                  <a:lnTo>
                    <a:pt x="1776" y="3634"/>
                  </a:lnTo>
                  <a:lnTo>
                    <a:pt x="1780" y="3632"/>
                  </a:lnTo>
                  <a:lnTo>
                    <a:pt x="1782" y="3631"/>
                  </a:lnTo>
                  <a:lnTo>
                    <a:pt x="1790" y="3627"/>
                  </a:lnTo>
                  <a:lnTo>
                    <a:pt x="1796" y="3622"/>
                  </a:lnTo>
                  <a:lnTo>
                    <a:pt x="1800" y="3616"/>
                  </a:lnTo>
                  <a:lnTo>
                    <a:pt x="1802" y="3610"/>
                  </a:lnTo>
                  <a:lnTo>
                    <a:pt x="1804" y="3603"/>
                  </a:lnTo>
                  <a:lnTo>
                    <a:pt x="1805" y="3595"/>
                  </a:lnTo>
                  <a:lnTo>
                    <a:pt x="1804" y="3587"/>
                  </a:lnTo>
                  <a:lnTo>
                    <a:pt x="1802" y="3579"/>
                  </a:lnTo>
                  <a:lnTo>
                    <a:pt x="1797" y="3560"/>
                  </a:lnTo>
                  <a:lnTo>
                    <a:pt x="1788" y="3542"/>
                  </a:lnTo>
                  <a:lnTo>
                    <a:pt x="1778" y="3520"/>
                  </a:lnTo>
                  <a:lnTo>
                    <a:pt x="1766" y="3498"/>
                  </a:lnTo>
                  <a:lnTo>
                    <a:pt x="1754" y="3474"/>
                  </a:lnTo>
                  <a:lnTo>
                    <a:pt x="1742" y="3450"/>
                  </a:lnTo>
                  <a:lnTo>
                    <a:pt x="1732" y="3426"/>
                  </a:lnTo>
                  <a:lnTo>
                    <a:pt x="1724" y="3402"/>
                  </a:lnTo>
                  <a:lnTo>
                    <a:pt x="1720" y="3388"/>
                  </a:lnTo>
                  <a:lnTo>
                    <a:pt x="1717" y="3376"/>
                  </a:lnTo>
                  <a:lnTo>
                    <a:pt x="1716" y="3364"/>
                  </a:lnTo>
                  <a:lnTo>
                    <a:pt x="1714" y="3352"/>
                  </a:lnTo>
                  <a:lnTo>
                    <a:pt x="1716" y="3340"/>
                  </a:lnTo>
                  <a:lnTo>
                    <a:pt x="1717" y="3328"/>
                  </a:lnTo>
                  <a:lnTo>
                    <a:pt x="1718" y="3316"/>
                  </a:lnTo>
                  <a:lnTo>
                    <a:pt x="1722" y="3306"/>
                  </a:lnTo>
                  <a:lnTo>
                    <a:pt x="1729" y="3292"/>
                  </a:lnTo>
                  <a:lnTo>
                    <a:pt x="1732" y="3279"/>
                  </a:lnTo>
                  <a:lnTo>
                    <a:pt x="1734" y="3266"/>
                  </a:lnTo>
                  <a:lnTo>
                    <a:pt x="1734" y="3252"/>
                  </a:lnTo>
                  <a:lnTo>
                    <a:pt x="1733" y="3227"/>
                  </a:lnTo>
                  <a:lnTo>
                    <a:pt x="1729" y="3203"/>
                  </a:lnTo>
                  <a:lnTo>
                    <a:pt x="1718" y="3214"/>
                  </a:lnTo>
                  <a:lnTo>
                    <a:pt x="1706" y="3226"/>
                  </a:lnTo>
                  <a:lnTo>
                    <a:pt x="1700" y="3231"/>
                  </a:lnTo>
                  <a:lnTo>
                    <a:pt x="1692" y="3235"/>
                  </a:lnTo>
                  <a:lnTo>
                    <a:pt x="1684" y="3238"/>
                  </a:lnTo>
                  <a:lnTo>
                    <a:pt x="1674" y="3239"/>
                  </a:lnTo>
                  <a:lnTo>
                    <a:pt x="1668" y="3239"/>
                  </a:lnTo>
                  <a:lnTo>
                    <a:pt x="1660" y="3236"/>
                  </a:lnTo>
                  <a:lnTo>
                    <a:pt x="1653" y="3232"/>
                  </a:lnTo>
                  <a:lnTo>
                    <a:pt x="1646" y="3228"/>
                  </a:lnTo>
                  <a:lnTo>
                    <a:pt x="1641" y="3223"/>
                  </a:lnTo>
                  <a:lnTo>
                    <a:pt x="1637" y="3216"/>
                  </a:lnTo>
                  <a:lnTo>
                    <a:pt x="1633" y="3210"/>
                  </a:lnTo>
                  <a:lnTo>
                    <a:pt x="1633" y="3203"/>
                  </a:lnTo>
                  <a:lnTo>
                    <a:pt x="1626" y="3204"/>
                  </a:lnTo>
                  <a:lnTo>
                    <a:pt x="1621" y="3206"/>
                  </a:lnTo>
                  <a:lnTo>
                    <a:pt x="1617" y="3208"/>
                  </a:lnTo>
                  <a:lnTo>
                    <a:pt x="1613" y="3212"/>
                  </a:lnTo>
                  <a:lnTo>
                    <a:pt x="1609" y="3215"/>
                  </a:lnTo>
                  <a:lnTo>
                    <a:pt x="1605" y="3218"/>
                  </a:lnTo>
                  <a:lnTo>
                    <a:pt x="1598" y="3220"/>
                  </a:lnTo>
                  <a:lnTo>
                    <a:pt x="1590" y="3222"/>
                  </a:lnTo>
                  <a:lnTo>
                    <a:pt x="1585" y="3220"/>
                  </a:lnTo>
                  <a:lnTo>
                    <a:pt x="1581" y="3216"/>
                  </a:lnTo>
                  <a:lnTo>
                    <a:pt x="1577" y="3211"/>
                  </a:lnTo>
                  <a:lnTo>
                    <a:pt x="1574" y="3203"/>
                  </a:lnTo>
                  <a:lnTo>
                    <a:pt x="1568" y="3184"/>
                  </a:lnTo>
                  <a:lnTo>
                    <a:pt x="1562" y="3163"/>
                  </a:lnTo>
                  <a:lnTo>
                    <a:pt x="1558" y="3152"/>
                  </a:lnTo>
                  <a:lnTo>
                    <a:pt x="1556" y="3142"/>
                  </a:lnTo>
                  <a:lnTo>
                    <a:pt x="1550" y="3131"/>
                  </a:lnTo>
                  <a:lnTo>
                    <a:pt x="1545" y="3122"/>
                  </a:lnTo>
                  <a:lnTo>
                    <a:pt x="1538" y="3114"/>
                  </a:lnTo>
                  <a:lnTo>
                    <a:pt x="1532" y="3107"/>
                  </a:lnTo>
                  <a:lnTo>
                    <a:pt x="1522" y="3103"/>
                  </a:lnTo>
                  <a:lnTo>
                    <a:pt x="1512" y="3101"/>
                  </a:lnTo>
                  <a:lnTo>
                    <a:pt x="1461" y="3097"/>
                  </a:lnTo>
                  <a:lnTo>
                    <a:pt x="1421" y="3090"/>
                  </a:lnTo>
                  <a:lnTo>
                    <a:pt x="1413" y="3087"/>
                  </a:lnTo>
                  <a:lnTo>
                    <a:pt x="1406" y="3082"/>
                  </a:lnTo>
                  <a:lnTo>
                    <a:pt x="1400" y="3077"/>
                  </a:lnTo>
                  <a:lnTo>
                    <a:pt x="1394" y="3069"/>
                  </a:lnTo>
                  <a:lnTo>
                    <a:pt x="1390" y="3059"/>
                  </a:lnTo>
                  <a:lnTo>
                    <a:pt x="1388" y="3047"/>
                  </a:lnTo>
                  <a:lnTo>
                    <a:pt x="1386" y="3034"/>
                  </a:lnTo>
                  <a:lnTo>
                    <a:pt x="1385" y="3017"/>
                  </a:lnTo>
                  <a:lnTo>
                    <a:pt x="1277" y="2926"/>
                  </a:lnTo>
                  <a:lnTo>
                    <a:pt x="1262" y="2926"/>
                  </a:lnTo>
                  <a:lnTo>
                    <a:pt x="1249" y="2926"/>
                  </a:lnTo>
                  <a:lnTo>
                    <a:pt x="1234" y="2925"/>
                  </a:lnTo>
                  <a:lnTo>
                    <a:pt x="1221" y="2922"/>
                  </a:lnTo>
                  <a:lnTo>
                    <a:pt x="1214" y="2919"/>
                  </a:lnTo>
                  <a:lnTo>
                    <a:pt x="1208" y="2918"/>
                  </a:lnTo>
                  <a:lnTo>
                    <a:pt x="1202" y="2914"/>
                  </a:lnTo>
                  <a:lnTo>
                    <a:pt x="1198" y="2911"/>
                  </a:lnTo>
                  <a:lnTo>
                    <a:pt x="1194" y="2907"/>
                  </a:lnTo>
                  <a:lnTo>
                    <a:pt x="1190" y="2902"/>
                  </a:lnTo>
                  <a:lnTo>
                    <a:pt x="1188" y="2897"/>
                  </a:lnTo>
                  <a:lnTo>
                    <a:pt x="1186" y="2890"/>
                  </a:lnTo>
                  <a:lnTo>
                    <a:pt x="1189" y="2866"/>
                  </a:lnTo>
                  <a:lnTo>
                    <a:pt x="1192" y="2841"/>
                  </a:lnTo>
                  <a:lnTo>
                    <a:pt x="1192" y="2830"/>
                  </a:lnTo>
                  <a:lnTo>
                    <a:pt x="1189" y="2819"/>
                  </a:lnTo>
                  <a:lnTo>
                    <a:pt x="1186" y="2815"/>
                  </a:lnTo>
                  <a:lnTo>
                    <a:pt x="1184" y="2811"/>
                  </a:lnTo>
                  <a:lnTo>
                    <a:pt x="1180" y="2809"/>
                  </a:lnTo>
                  <a:lnTo>
                    <a:pt x="1174" y="2806"/>
                  </a:lnTo>
                  <a:lnTo>
                    <a:pt x="1153" y="2803"/>
                  </a:lnTo>
                  <a:lnTo>
                    <a:pt x="1128" y="2803"/>
                  </a:lnTo>
                  <a:lnTo>
                    <a:pt x="1115" y="2803"/>
                  </a:lnTo>
                  <a:lnTo>
                    <a:pt x="1103" y="2802"/>
                  </a:lnTo>
                  <a:lnTo>
                    <a:pt x="1092" y="2802"/>
                  </a:lnTo>
                  <a:lnTo>
                    <a:pt x="1084" y="2799"/>
                  </a:lnTo>
                  <a:lnTo>
                    <a:pt x="1091" y="2799"/>
                  </a:lnTo>
                  <a:lnTo>
                    <a:pt x="1084" y="2799"/>
                  </a:lnTo>
                  <a:lnTo>
                    <a:pt x="1083" y="2795"/>
                  </a:lnTo>
                  <a:lnTo>
                    <a:pt x="1081" y="2789"/>
                  </a:lnTo>
                  <a:lnTo>
                    <a:pt x="1081" y="2782"/>
                  </a:lnTo>
                  <a:lnTo>
                    <a:pt x="1083" y="2775"/>
                  </a:lnTo>
                  <a:lnTo>
                    <a:pt x="1084" y="2759"/>
                  </a:lnTo>
                  <a:lnTo>
                    <a:pt x="1084" y="2746"/>
                  </a:lnTo>
                  <a:lnTo>
                    <a:pt x="1085" y="2730"/>
                  </a:lnTo>
                  <a:lnTo>
                    <a:pt x="1085" y="2717"/>
                  </a:lnTo>
                  <a:lnTo>
                    <a:pt x="1088" y="2706"/>
                  </a:lnTo>
                  <a:lnTo>
                    <a:pt x="1089" y="2698"/>
                  </a:lnTo>
                  <a:lnTo>
                    <a:pt x="1093" y="2690"/>
                  </a:lnTo>
                  <a:lnTo>
                    <a:pt x="1096" y="2685"/>
                  </a:lnTo>
                  <a:lnTo>
                    <a:pt x="1101" y="2681"/>
                  </a:lnTo>
                  <a:lnTo>
                    <a:pt x="1105" y="2677"/>
                  </a:lnTo>
                  <a:lnTo>
                    <a:pt x="1117" y="2671"/>
                  </a:lnTo>
                  <a:lnTo>
                    <a:pt x="1131" y="2667"/>
                  </a:lnTo>
                  <a:lnTo>
                    <a:pt x="1137" y="2663"/>
                  </a:lnTo>
                  <a:lnTo>
                    <a:pt x="1145" y="2659"/>
                  </a:lnTo>
                  <a:lnTo>
                    <a:pt x="1153" y="2655"/>
                  </a:lnTo>
                  <a:lnTo>
                    <a:pt x="1162" y="2649"/>
                  </a:lnTo>
                  <a:lnTo>
                    <a:pt x="1165" y="2647"/>
                  </a:lnTo>
                  <a:lnTo>
                    <a:pt x="1168" y="2643"/>
                  </a:lnTo>
                  <a:lnTo>
                    <a:pt x="1169" y="2641"/>
                  </a:lnTo>
                  <a:lnTo>
                    <a:pt x="1170" y="2637"/>
                  </a:lnTo>
                  <a:lnTo>
                    <a:pt x="1172" y="2630"/>
                  </a:lnTo>
                  <a:lnTo>
                    <a:pt x="1170" y="2621"/>
                  </a:lnTo>
                  <a:lnTo>
                    <a:pt x="1170" y="2613"/>
                  </a:lnTo>
                  <a:lnTo>
                    <a:pt x="1170" y="2605"/>
                  </a:lnTo>
                  <a:lnTo>
                    <a:pt x="1172" y="2597"/>
                  </a:lnTo>
                  <a:lnTo>
                    <a:pt x="1174" y="2589"/>
                  </a:lnTo>
                  <a:lnTo>
                    <a:pt x="1209" y="2561"/>
                  </a:lnTo>
                  <a:lnTo>
                    <a:pt x="1241" y="2537"/>
                  </a:lnTo>
                  <a:lnTo>
                    <a:pt x="1256" y="2525"/>
                  </a:lnTo>
                  <a:lnTo>
                    <a:pt x="1270" y="2512"/>
                  </a:lnTo>
                  <a:lnTo>
                    <a:pt x="1284" y="2497"/>
                  </a:lnTo>
                  <a:lnTo>
                    <a:pt x="1294" y="2481"/>
                  </a:lnTo>
                  <a:lnTo>
                    <a:pt x="1306" y="2465"/>
                  </a:lnTo>
                  <a:lnTo>
                    <a:pt x="1318" y="2449"/>
                  </a:lnTo>
                  <a:lnTo>
                    <a:pt x="1330" y="2436"/>
                  </a:lnTo>
                  <a:lnTo>
                    <a:pt x="1342" y="2422"/>
                  </a:lnTo>
                  <a:lnTo>
                    <a:pt x="1356" y="2410"/>
                  </a:lnTo>
                  <a:lnTo>
                    <a:pt x="1369" y="2400"/>
                  </a:lnTo>
                  <a:lnTo>
                    <a:pt x="1382" y="2389"/>
                  </a:lnTo>
                  <a:lnTo>
                    <a:pt x="1397" y="2380"/>
                  </a:lnTo>
                  <a:lnTo>
                    <a:pt x="1413" y="2372"/>
                  </a:lnTo>
                  <a:lnTo>
                    <a:pt x="1428" y="2364"/>
                  </a:lnTo>
                  <a:lnTo>
                    <a:pt x="1444" y="2356"/>
                  </a:lnTo>
                  <a:lnTo>
                    <a:pt x="1461" y="2349"/>
                  </a:lnTo>
                  <a:lnTo>
                    <a:pt x="1497" y="2336"/>
                  </a:lnTo>
                  <a:lnTo>
                    <a:pt x="1536" y="2324"/>
                  </a:lnTo>
                  <a:lnTo>
                    <a:pt x="1546" y="2318"/>
                  </a:lnTo>
                  <a:lnTo>
                    <a:pt x="1554" y="2310"/>
                  </a:lnTo>
                  <a:lnTo>
                    <a:pt x="1562" y="2302"/>
                  </a:lnTo>
                  <a:lnTo>
                    <a:pt x="1570" y="2293"/>
                  </a:lnTo>
                  <a:lnTo>
                    <a:pt x="1578" y="2284"/>
                  </a:lnTo>
                  <a:lnTo>
                    <a:pt x="1589" y="2277"/>
                  </a:lnTo>
                  <a:lnTo>
                    <a:pt x="1594" y="2274"/>
                  </a:lnTo>
                  <a:lnTo>
                    <a:pt x="1600" y="2272"/>
                  </a:lnTo>
                  <a:lnTo>
                    <a:pt x="1606" y="2270"/>
                  </a:lnTo>
                  <a:lnTo>
                    <a:pt x="1614" y="2270"/>
                  </a:lnTo>
                  <a:lnTo>
                    <a:pt x="1620" y="2270"/>
                  </a:lnTo>
                  <a:lnTo>
                    <a:pt x="1625" y="2272"/>
                  </a:lnTo>
                  <a:lnTo>
                    <a:pt x="1629" y="2274"/>
                  </a:lnTo>
                  <a:lnTo>
                    <a:pt x="1633" y="2277"/>
                  </a:lnTo>
                  <a:lnTo>
                    <a:pt x="1640" y="2286"/>
                  </a:lnTo>
                  <a:lnTo>
                    <a:pt x="1645" y="2297"/>
                  </a:lnTo>
                  <a:lnTo>
                    <a:pt x="1653" y="2325"/>
                  </a:lnTo>
                  <a:lnTo>
                    <a:pt x="1660" y="2357"/>
                  </a:lnTo>
                  <a:lnTo>
                    <a:pt x="1664" y="2373"/>
                  </a:lnTo>
                  <a:lnTo>
                    <a:pt x="1668" y="2389"/>
                  </a:lnTo>
                  <a:lnTo>
                    <a:pt x="1672" y="2404"/>
                  </a:lnTo>
                  <a:lnTo>
                    <a:pt x="1678" y="2417"/>
                  </a:lnTo>
                  <a:lnTo>
                    <a:pt x="1682" y="2424"/>
                  </a:lnTo>
                  <a:lnTo>
                    <a:pt x="1686" y="2429"/>
                  </a:lnTo>
                  <a:lnTo>
                    <a:pt x="1692" y="2433"/>
                  </a:lnTo>
                  <a:lnTo>
                    <a:pt x="1696" y="2437"/>
                  </a:lnTo>
                  <a:lnTo>
                    <a:pt x="1702" y="2441"/>
                  </a:lnTo>
                  <a:lnTo>
                    <a:pt x="1708" y="2442"/>
                  </a:lnTo>
                  <a:lnTo>
                    <a:pt x="1716" y="2444"/>
                  </a:lnTo>
                  <a:lnTo>
                    <a:pt x="1722" y="2445"/>
                  </a:lnTo>
                  <a:lnTo>
                    <a:pt x="1729" y="2444"/>
                  </a:lnTo>
                  <a:lnTo>
                    <a:pt x="1734" y="2442"/>
                  </a:lnTo>
                  <a:lnTo>
                    <a:pt x="1741" y="2441"/>
                  </a:lnTo>
                  <a:lnTo>
                    <a:pt x="1746" y="2438"/>
                  </a:lnTo>
                  <a:lnTo>
                    <a:pt x="1760" y="2430"/>
                  </a:lnTo>
                  <a:lnTo>
                    <a:pt x="1773" y="2422"/>
                  </a:lnTo>
                  <a:lnTo>
                    <a:pt x="1796" y="2404"/>
                  </a:lnTo>
                  <a:lnTo>
                    <a:pt x="1813" y="2390"/>
                  </a:lnTo>
                  <a:lnTo>
                    <a:pt x="1826" y="2385"/>
                  </a:lnTo>
                  <a:lnTo>
                    <a:pt x="1841" y="2380"/>
                  </a:lnTo>
                  <a:lnTo>
                    <a:pt x="1857" y="2377"/>
                  </a:lnTo>
                  <a:lnTo>
                    <a:pt x="1874" y="2374"/>
                  </a:lnTo>
                  <a:lnTo>
                    <a:pt x="1909" y="2370"/>
                  </a:lnTo>
                  <a:lnTo>
                    <a:pt x="1943" y="2366"/>
                  </a:lnTo>
                  <a:lnTo>
                    <a:pt x="1959" y="2364"/>
                  </a:lnTo>
                  <a:lnTo>
                    <a:pt x="1974" y="2358"/>
                  </a:lnTo>
                  <a:lnTo>
                    <a:pt x="1987" y="2353"/>
                  </a:lnTo>
                  <a:lnTo>
                    <a:pt x="1999" y="2345"/>
                  </a:lnTo>
                  <a:lnTo>
                    <a:pt x="2005" y="2340"/>
                  </a:lnTo>
                  <a:lnTo>
                    <a:pt x="2010" y="2334"/>
                  </a:lnTo>
                  <a:lnTo>
                    <a:pt x="2014" y="2329"/>
                  </a:lnTo>
                  <a:lnTo>
                    <a:pt x="2017" y="2322"/>
                  </a:lnTo>
                  <a:lnTo>
                    <a:pt x="2019" y="2314"/>
                  </a:lnTo>
                  <a:lnTo>
                    <a:pt x="2022" y="2306"/>
                  </a:lnTo>
                  <a:lnTo>
                    <a:pt x="2023" y="2298"/>
                  </a:lnTo>
                  <a:lnTo>
                    <a:pt x="2023" y="2288"/>
                  </a:lnTo>
                  <a:lnTo>
                    <a:pt x="2023" y="2269"/>
                  </a:lnTo>
                  <a:lnTo>
                    <a:pt x="2023" y="2253"/>
                  </a:lnTo>
                  <a:lnTo>
                    <a:pt x="2023" y="2241"/>
                  </a:lnTo>
                  <a:lnTo>
                    <a:pt x="2023" y="2228"/>
                  </a:lnTo>
                  <a:lnTo>
                    <a:pt x="2025" y="2204"/>
                  </a:lnTo>
                  <a:lnTo>
                    <a:pt x="2029" y="2182"/>
                  </a:lnTo>
                  <a:lnTo>
                    <a:pt x="2034" y="2161"/>
                  </a:lnTo>
                  <a:lnTo>
                    <a:pt x="2041" y="2142"/>
                  </a:lnTo>
                  <a:lnTo>
                    <a:pt x="2057" y="2104"/>
                  </a:lnTo>
                  <a:lnTo>
                    <a:pt x="2071" y="2065"/>
                  </a:lnTo>
                  <a:lnTo>
                    <a:pt x="2077" y="2030"/>
                  </a:lnTo>
                  <a:lnTo>
                    <a:pt x="2081" y="1997"/>
                  </a:lnTo>
                  <a:lnTo>
                    <a:pt x="2082" y="1982"/>
                  </a:lnTo>
                  <a:lnTo>
                    <a:pt x="2086" y="1967"/>
                  </a:lnTo>
                  <a:lnTo>
                    <a:pt x="2089" y="1960"/>
                  </a:lnTo>
                  <a:lnTo>
                    <a:pt x="2093" y="1953"/>
                  </a:lnTo>
                  <a:lnTo>
                    <a:pt x="2097" y="1945"/>
                  </a:lnTo>
                  <a:lnTo>
                    <a:pt x="2102" y="1939"/>
                  </a:lnTo>
                  <a:lnTo>
                    <a:pt x="2114" y="1948"/>
                  </a:lnTo>
                  <a:lnTo>
                    <a:pt x="2123" y="1956"/>
                  </a:lnTo>
                  <a:lnTo>
                    <a:pt x="2129" y="1959"/>
                  </a:lnTo>
                  <a:lnTo>
                    <a:pt x="2135" y="1961"/>
                  </a:lnTo>
                  <a:lnTo>
                    <a:pt x="2142" y="1963"/>
                  </a:lnTo>
                  <a:lnTo>
                    <a:pt x="2150" y="1963"/>
                  </a:lnTo>
                  <a:lnTo>
                    <a:pt x="2162" y="1961"/>
                  </a:lnTo>
                  <a:lnTo>
                    <a:pt x="2174" y="1959"/>
                  </a:lnTo>
                  <a:lnTo>
                    <a:pt x="2183" y="1953"/>
                  </a:lnTo>
                  <a:lnTo>
                    <a:pt x="2193" y="1948"/>
                  </a:lnTo>
                  <a:lnTo>
                    <a:pt x="2203" y="1943"/>
                  </a:lnTo>
                  <a:lnTo>
                    <a:pt x="2214" y="1937"/>
                  </a:lnTo>
                  <a:lnTo>
                    <a:pt x="2226" y="1935"/>
                  </a:lnTo>
                  <a:lnTo>
                    <a:pt x="2241" y="1933"/>
                  </a:lnTo>
                  <a:lnTo>
                    <a:pt x="2231" y="1896"/>
                  </a:lnTo>
                  <a:lnTo>
                    <a:pt x="2223" y="1857"/>
                  </a:lnTo>
                  <a:lnTo>
                    <a:pt x="2215" y="1817"/>
                  </a:lnTo>
                  <a:lnTo>
                    <a:pt x="2207" y="1777"/>
                  </a:lnTo>
                  <a:lnTo>
                    <a:pt x="2199" y="1736"/>
                  </a:lnTo>
                  <a:lnTo>
                    <a:pt x="2191" y="1693"/>
                  </a:lnTo>
                  <a:lnTo>
                    <a:pt x="2183" y="1651"/>
                  </a:lnTo>
                  <a:lnTo>
                    <a:pt x="2174" y="1608"/>
                  </a:lnTo>
                  <a:lnTo>
                    <a:pt x="2173" y="1603"/>
                  </a:lnTo>
                  <a:lnTo>
                    <a:pt x="2173" y="1597"/>
                  </a:lnTo>
                  <a:lnTo>
                    <a:pt x="2174" y="1592"/>
                  </a:lnTo>
                  <a:lnTo>
                    <a:pt x="2175" y="1587"/>
                  </a:lnTo>
                  <a:lnTo>
                    <a:pt x="2181" y="1576"/>
                  </a:lnTo>
                  <a:lnTo>
                    <a:pt x="2189" y="1565"/>
                  </a:lnTo>
                  <a:lnTo>
                    <a:pt x="2210" y="1543"/>
                  </a:lnTo>
                  <a:lnTo>
                    <a:pt x="2237" y="1519"/>
                  </a:lnTo>
                  <a:lnTo>
                    <a:pt x="2250" y="1507"/>
                  </a:lnTo>
                  <a:lnTo>
                    <a:pt x="2265" y="1493"/>
                  </a:lnTo>
                  <a:lnTo>
                    <a:pt x="2277" y="1480"/>
                  </a:lnTo>
                  <a:lnTo>
                    <a:pt x="2289" y="1465"/>
                  </a:lnTo>
                  <a:lnTo>
                    <a:pt x="2298" y="1451"/>
                  </a:lnTo>
                  <a:lnTo>
                    <a:pt x="2306" y="1436"/>
                  </a:lnTo>
                  <a:lnTo>
                    <a:pt x="2309" y="1428"/>
                  </a:lnTo>
                  <a:lnTo>
                    <a:pt x="2311" y="1420"/>
                  </a:lnTo>
                  <a:lnTo>
                    <a:pt x="2313" y="1411"/>
                  </a:lnTo>
                  <a:lnTo>
                    <a:pt x="2313" y="1403"/>
                  </a:lnTo>
                  <a:lnTo>
                    <a:pt x="2313" y="1392"/>
                  </a:lnTo>
                  <a:lnTo>
                    <a:pt x="2310" y="1382"/>
                  </a:lnTo>
                  <a:lnTo>
                    <a:pt x="2307" y="1371"/>
                  </a:lnTo>
                  <a:lnTo>
                    <a:pt x="2303" y="1360"/>
                  </a:lnTo>
                  <a:lnTo>
                    <a:pt x="2298" y="1351"/>
                  </a:lnTo>
                  <a:lnTo>
                    <a:pt x="2291" y="1340"/>
                  </a:lnTo>
                  <a:lnTo>
                    <a:pt x="2283" y="1331"/>
                  </a:lnTo>
                  <a:lnTo>
                    <a:pt x="2274" y="1322"/>
                  </a:lnTo>
                  <a:lnTo>
                    <a:pt x="2263" y="1314"/>
                  </a:lnTo>
                  <a:lnTo>
                    <a:pt x="2250" y="1307"/>
                  </a:lnTo>
                  <a:lnTo>
                    <a:pt x="2237" y="1300"/>
                  </a:lnTo>
                  <a:lnTo>
                    <a:pt x="2221" y="1296"/>
                  </a:lnTo>
                  <a:lnTo>
                    <a:pt x="2205" y="1294"/>
                  </a:lnTo>
                  <a:lnTo>
                    <a:pt x="2186" y="1292"/>
                  </a:lnTo>
                  <a:lnTo>
                    <a:pt x="2166" y="1292"/>
                  </a:lnTo>
                  <a:lnTo>
                    <a:pt x="2145" y="1295"/>
                  </a:lnTo>
                  <a:lnTo>
                    <a:pt x="2109" y="1300"/>
                  </a:lnTo>
                  <a:lnTo>
                    <a:pt x="2074" y="1303"/>
                  </a:lnTo>
                  <a:lnTo>
                    <a:pt x="2042" y="1304"/>
                  </a:lnTo>
                  <a:lnTo>
                    <a:pt x="2010" y="1304"/>
                  </a:lnTo>
                  <a:lnTo>
                    <a:pt x="1981" y="1303"/>
                  </a:lnTo>
                  <a:lnTo>
                    <a:pt x="1951" y="1303"/>
                  </a:lnTo>
                  <a:lnTo>
                    <a:pt x="1925" y="1303"/>
                  </a:lnTo>
                  <a:lnTo>
                    <a:pt x="1898" y="1306"/>
                  </a:lnTo>
                  <a:lnTo>
                    <a:pt x="1885" y="1307"/>
                  </a:lnTo>
                  <a:lnTo>
                    <a:pt x="1873" y="1310"/>
                  </a:lnTo>
                  <a:lnTo>
                    <a:pt x="1861" y="1312"/>
                  </a:lnTo>
                  <a:lnTo>
                    <a:pt x="1849" y="1316"/>
                  </a:lnTo>
                  <a:lnTo>
                    <a:pt x="1837" y="1320"/>
                  </a:lnTo>
                  <a:lnTo>
                    <a:pt x="1826" y="1326"/>
                  </a:lnTo>
                  <a:lnTo>
                    <a:pt x="1816" y="1332"/>
                  </a:lnTo>
                  <a:lnTo>
                    <a:pt x="1805" y="1340"/>
                  </a:lnTo>
                  <a:lnTo>
                    <a:pt x="1794" y="1350"/>
                  </a:lnTo>
                  <a:lnTo>
                    <a:pt x="1784" y="1359"/>
                  </a:lnTo>
                  <a:lnTo>
                    <a:pt x="1774" y="1371"/>
                  </a:lnTo>
                  <a:lnTo>
                    <a:pt x="1765" y="1384"/>
                  </a:lnTo>
                  <a:lnTo>
                    <a:pt x="1756" y="1397"/>
                  </a:lnTo>
                  <a:lnTo>
                    <a:pt x="1746" y="1413"/>
                  </a:lnTo>
                  <a:lnTo>
                    <a:pt x="1737" y="1432"/>
                  </a:lnTo>
                  <a:lnTo>
                    <a:pt x="1729" y="1451"/>
                  </a:lnTo>
                  <a:lnTo>
                    <a:pt x="1722" y="1459"/>
                  </a:lnTo>
                  <a:lnTo>
                    <a:pt x="1714" y="1465"/>
                  </a:lnTo>
                  <a:lnTo>
                    <a:pt x="1708" y="1471"/>
                  </a:lnTo>
                  <a:lnTo>
                    <a:pt x="1701" y="1475"/>
                  </a:lnTo>
                  <a:lnTo>
                    <a:pt x="1693" y="1479"/>
                  </a:lnTo>
                  <a:lnTo>
                    <a:pt x="1686" y="1483"/>
                  </a:lnTo>
                  <a:lnTo>
                    <a:pt x="1680" y="1484"/>
                  </a:lnTo>
                  <a:lnTo>
                    <a:pt x="1672" y="1485"/>
                  </a:lnTo>
                  <a:lnTo>
                    <a:pt x="1658" y="1487"/>
                  </a:lnTo>
                  <a:lnTo>
                    <a:pt x="1645" y="1485"/>
                  </a:lnTo>
                  <a:lnTo>
                    <a:pt x="1633" y="1483"/>
                  </a:lnTo>
                  <a:lnTo>
                    <a:pt x="1622" y="1476"/>
                  </a:lnTo>
                  <a:lnTo>
                    <a:pt x="1613" y="1469"/>
                  </a:lnTo>
                  <a:lnTo>
                    <a:pt x="1606" y="1461"/>
                  </a:lnTo>
                  <a:lnTo>
                    <a:pt x="1601" y="1452"/>
                  </a:lnTo>
                  <a:lnTo>
                    <a:pt x="1600" y="1443"/>
                  </a:lnTo>
                  <a:lnTo>
                    <a:pt x="1598" y="1437"/>
                  </a:lnTo>
                  <a:lnTo>
                    <a:pt x="1600" y="1432"/>
                  </a:lnTo>
                  <a:lnTo>
                    <a:pt x="1601" y="1427"/>
                  </a:lnTo>
                  <a:lnTo>
                    <a:pt x="1602" y="1423"/>
                  </a:lnTo>
                  <a:lnTo>
                    <a:pt x="1606" y="1417"/>
                  </a:lnTo>
                  <a:lnTo>
                    <a:pt x="1610" y="1412"/>
                  </a:lnTo>
                  <a:lnTo>
                    <a:pt x="1614" y="1408"/>
                  </a:lnTo>
                  <a:lnTo>
                    <a:pt x="1620" y="1403"/>
                  </a:lnTo>
                  <a:lnTo>
                    <a:pt x="1673" y="1366"/>
                  </a:lnTo>
                  <a:lnTo>
                    <a:pt x="1721" y="1331"/>
                  </a:lnTo>
                  <a:lnTo>
                    <a:pt x="1732" y="1322"/>
                  </a:lnTo>
                  <a:lnTo>
                    <a:pt x="1741" y="1311"/>
                  </a:lnTo>
                  <a:lnTo>
                    <a:pt x="1748" y="1299"/>
                  </a:lnTo>
                  <a:lnTo>
                    <a:pt x="1754" y="1286"/>
                  </a:lnTo>
                  <a:lnTo>
                    <a:pt x="1758" y="1270"/>
                  </a:lnTo>
                  <a:lnTo>
                    <a:pt x="1761" y="1252"/>
                  </a:lnTo>
                  <a:lnTo>
                    <a:pt x="1761" y="1232"/>
                  </a:lnTo>
                  <a:lnTo>
                    <a:pt x="1758" y="1211"/>
                  </a:lnTo>
                  <a:lnTo>
                    <a:pt x="1754" y="1183"/>
                  </a:lnTo>
                  <a:lnTo>
                    <a:pt x="1750" y="1158"/>
                  </a:lnTo>
                  <a:lnTo>
                    <a:pt x="1744" y="1134"/>
                  </a:lnTo>
                  <a:lnTo>
                    <a:pt x="1737" y="1114"/>
                  </a:lnTo>
                  <a:lnTo>
                    <a:pt x="1729" y="1095"/>
                  </a:lnTo>
                  <a:lnTo>
                    <a:pt x="1721" y="1079"/>
                  </a:lnTo>
                  <a:lnTo>
                    <a:pt x="1712" y="1066"/>
                  </a:lnTo>
                  <a:lnTo>
                    <a:pt x="1702" y="1052"/>
                  </a:lnTo>
                  <a:lnTo>
                    <a:pt x="1692" y="1042"/>
                  </a:lnTo>
                  <a:lnTo>
                    <a:pt x="1681" y="1032"/>
                  </a:lnTo>
                  <a:lnTo>
                    <a:pt x="1669" y="1026"/>
                  </a:lnTo>
                  <a:lnTo>
                    <a:pt x="1658" y="1019"/>
                  </a:lnTo>
                  <a:lnTo>
                    <a:pt x="1646" y="1014"/>
                  </a:lnTo>
                  <a:lnTo>
                    <a:pt x="1633" y="1008"/>
                  </a:lnTo>
                  <a:lnTo>
                    <a:pt x="1621" y="1006"/>
                  </a:lnTo>
                  <a:lnTo>
                    <a:pt x="1608" y="1003"/>
                  </a:lnTo>
                  <a:lnTo>
                    <a:pt x="1557" y="995"/>
                  </a:lnTo>
                  <a:lnTo>
                    <a:pt x="1510" y="988"/>
                  </a:lnTo>
                  <a:lnTo>
                    <a:pt x="1498" y="986"/>
                  </a:lnTo>
                  <a:lnTo>
                    <a:pt x="1488" y="982"/>
                  </a:lnTo>
                  <a:lnTo>
                    <a:pt x="1478" y="978"/>
                  </a:lnTo>
                  <a:lnTo>
                    <a:pt x="1469" y="972"/>
                  </a:lnTo>
                  <a:lnTo>
                    <a:pt x="1461" y="967"/>
                  </a:lnTo>
                  <a:lnTo>
                    <a:pt x="1453" y="959"/>
                  </a:lnTo>
                  <a:lnTo>
                    <a:pt x="1446" y="950"/>
                  </a:lnTo>
                  <a:lnTo>
                    <a:pt x="1440" y="939"/>
                  </a:lnTo>
                  <a:lnTo>
                    <a:pt x="1440" y="927"/>
                  </a:lnTo>
                  <a:lnTo>
                    <a:pt x="1441" y="916"/>
                  </a:lnTo>
                  <a:lnTo>
                    <a:pt x="1444" y="907"/>
                  </a:lnTo>
                  <a:lnTo>
                    <a:pt x="1448" y="899"/>
                  </a:lnTo>
                  <a:lnTo>
                    <a:pt x="1454" y="892"/>
                  </a:lnTo>
                  <a:lnTo>
                    <a:pt x="1461" y="888"/>
                  </a:lnTo>
                  <a:lnTo>
                    <a:pt x="1469" y="884"/>
                  </a:lnTo>
                  <a:lnTo>
                    <a:pt x="1478" y="882"/>
                  </a:lnTo>
                  <a:lnTo>
                    <a:pt x="1498" y="878"/>
                  </a:lnTo>
                  <a:lnTo>
                    <a:pt x="1521" y="878"/>
                  </a:lnTo>
                  <a:lnTo>
                    <a:pt x="1545" y="878"/>
                  </a:lnTo>
                  <a:lnTo>
                    <a:pt x="1569" y="878"/>
                  </a:lnTo>
                  <a:lnTo>
                    <a:pt x="1593" y="878"/>
                  </a:lnTo>
                  <a:lnTo>
                    <a:pt x="1616" y="875"/>
                  </a:lnTo>
                  <a:lnTo>
                    <a:pt x="1625" y="874"/>
                  </a:lnTo>
                  <a:lnTo>
                    <a:pt x="1636" y="870"/>
                  </a:lnTo>
                  <a:lnTo>
                    <a:pt x="1644" y="866"/>
                  </a:lnTo>
                  <a:lnTo>
                    <a:pt x="1652" y="860"/>
                  </a:lnTo>
                  <a:lnTo>
                    <a:pt x="1658" y="854"/>
                  </a:lnTo>
                  <a:lnTo>
                    <a:pt x="1664" y="846"/>
                  </a:lnTo>
                  <a:lnTo>
                    <a:pt x="1668" y="836"/>
                  </a:lnTo>
                  <a:lnTo>
                    <a:pt x="1670" y="824"/>
                  </a:lnTo>
                  <a:lnTo>
                    <a:pt x="1670" y="811"/>
                  </a:lnTo>
                  <a:lnTo>
                    <a:pt x="1670" y="797"/>
                  </a:lnTo>
                  <a:lnTo>
                    <a:pt x="1668" y="778"/>
                  </a:lnTo>
                  <a:lnTo>
                    <a:pt x="1662" y="759"/>
                  </a:lnTo>
                  <a:lnTo>
                    <a:pt x="1660" y="735"/>
                  </a:lnTo>
                  <a:lnTo>
                    <a:pt x="1660" y="717"/>
                  </a:lnTo>
                  <a:lnTo>
                    <a:pt x="1661" y="699"/>
                  </a:lnTo>
                  <a:lnTo>
                    <a:pt x="1664" y="686"/>
                  </a:lnTo>
                  <a:lnTo>
                    <a:pt x="1666" y="675"/>
                  </a:lnTo>
                  <a:lnTo>
                    <a:pt x="1672" y="667"/>
                  </a:lnTo>
                  <a:lnTo>
                    <a:pt x="1678" y="661"/>
                  </a:lnTo>
                  <a:lnTo>
                    <a:pt x="1685" y="655"/>
                  </a:lnTo>
                  <a:lnTo>
                    <a:pt x="1693" y="653"/>
                  </a:lnTo>
                  <a:lnTo>
                    <a:pt x="1701" y="651"/>
                  </a:lnTo>
                  <a:lnTo>
                    <a:pt x="1709" y="651"/>
                  </a:lnTo>
                  <a:lnTo>
                    <a:pt x="1718" y="651"/>
                  </a:lnTo>
                  <a:lnTo>
                    <a:pt x="1736" y="654"/>
                  </a:lnTo>
                  <a:lnTo>
                    <a:pt x="1753" y="657"/>
                  </a:lnTo>
                  <a:lnTo>
                    <a:pt x="1770" y="659"/>
                  </a:lnTo>
                  <a:lnTo>
                    <a:pt x="1786" y="661"/>
                  </a:lnTo>
                  <a:lnTo>
                    <a:pt x="1800" y="661"/>
                  </a:lnTo>
                  <a:lnTo>
                    <a:pt x="1813" y="661"/>
                  </a:lnTo>
                  <a:lnTo>
                    <a:pt x="1825" y="659"/>
                  </a:lnTo>
                  <a:lnTo>
                    <a:pt x="1834" y="657"/>
                  </a:lnTo>
                  <a:lnTo>
                    <a:pt x="1844" y="654"/>
                  </a:lnTo>
                  <a:lnTo>
                    <a:pt x="1852" y="651"/>
                  </a:lnTo>
                  <a:lnTo>
                    <a:pt x="1860" y="647"/>
                  </a:lnTo>
                  <a:lnTo>
                    <a:pt x="1866" y="643"/>
                  </a:lnTo>
                  <a:lnTo>
                    <a:pt x="1872" y="638"/>
                  </a:lnTo>
                  <a:lnTo>
                    <a:pt x="1876" y="633"/>
                  </a:lnTo>
                  <a:lnTo>
                    <a:pt x="1884" y="622"/>
                  </a:lnTo>
                  <a:lnTo>
                    <a:pt x="1889" y="609"/>
                  </a:lnTo>
                  <a:lnTo>
                    <a:pt x="1897" y="583"/>
                  </a:lnTo>
                  <a:lnTo>
                    <a:pt x="1905" y="559"/>
                  </a:lnTo>
                  <a:lnTo>
                    <a:pt x="1910" y="549"/>
                  </a:lnTo>
                  <a:lnTo>
                    <a:pt x="1917" y="541"/>
                  </a:lnTo>
                  <a:lnTo>
                    <a:pt x="1921" y="537"/>
                  </a:lnTo>
                  <a:lnTo>
                    <a:pt x="1926" y="534"/>
                  </a:lnTo>
                  <a:lnTo>
                    <a:pt x="1933" y="531"/>
                  </a:lnTo>
                  <a:lnTo>
                    <a:pt x="1939" y="530"/>
                  </a:lnTo>
                  <a:lnTo>
                    <a:pt x="1950" y="527"/>
                  </a:lnTo>
                  <a:lnTo>
                    <a:pt x="1961" y="525"/>
                  </a:lnTo>
                  <a:lnTo>
                    <a:pt x="1971" y="522"/>
                  </a:lnTo>
                  <a:lnTo>
                    <a:pt x="1981" y="517"/>
                  </a:lnTo>
                  <a:lnTo>
                    <a:pt x="1990" y="513"/>
                  </a:lnTo>
                  <a:lnTo>
                    <a:pt x="1999" y="507"/>
                  </a:lnTo>
                  <a:lnTo>
                    <a:pt x="2007" y="501"/>
                  </a:lnTo>
                  <a:lnTo>
                    <a:pt x="2015" y="494"/>
                  </a:lnTo>
                  <a:lnTo>
                    <a:pt x="2029" y="481"/>
                  </a:lnTo>
                  <a:lnTo>
                    <a:pt x="2042" y="465"/>
                  </a:lnTo>
                  <a:lnTo>
                    <a:pt x="2051" y="449"/>
                  </a:lnTo>
                  <a:lnTo>
                    <a:pt x="2061" y="433"/>
                  </a:lnTo>
                  <a:lnTo>
                    <a:pt x="2067" y="415"/>
                  </a:lnTo>
                  <a:lnTo>
                    <a:pt x="2071" y="398"/>
                  </a:lnTo>
                  <a:lnTo>
                    <a:pt x="2075" y="382"/>
                  </a:lnTo>
                  <a:lnTo>
                    <a:pt x="2075" y="367"/>
                  </a:lnTo>
                  <a:lnTo>
                    <a:pt x="2074" y="354"/>
                  </a:lnTo>
                  <a:lnTo>
                    <a:pt x="2071" y="342"/>
                  </a:lnTo>
                  <a:lnTo>
                    <a:pt x="2070" y="337"/>
                  </a:lnTo>
                  <a:lnTo>
                    <a:pt x="2066" y="333"/>
                  </a:lnTo>
                  <a:lnTo>
                    <a:pt x="2063" y="329"/>
                  </a:lnTo>
                  <a:lnTo>
                    <a:pt x="2059" y="325"/>
                  </a:lnTo>
                  <a:lnTo>
                    <a:pt x="2043" y="333"/>
                  </a:lnTo>
                  <a:lnTo>
                    <a:pt x="2029" y="339"/>
                  </a:lnTo>
                  <a:lnTo>
                    <a:pt x="2014" y="345"/>
                  </a:lnTo>
                  <a:lnTo>
                    <a:pt x="2002" y="347"/>
                  </a:lnTo>
                  <a:lnTo>
                    <a:pt x="1990" y="349"/>
                  </a:lnTo>
                  <a:lnTo>
                    <a:pt x="1979" y="350"/>
                  </a:lnTo>
                  <a:lnTo>
                    <a:pt x="1969" y="349"/>
                  </a:lnTo>
                  <a:lnTo>
                    <a:pt x="1961" y="346"/>
                  </a:lnTo>
                  <a:lnTo>
                    <a:pt x="1951" y="343"/>
                  </a:lnTo>
                  <a:lnTo>
                    <a:pt x="1943" y="341"/>
                  </a:lnTo>
                  <a:lnTo>
                    <a:pt x="1937" y="335"/>
                  </a:lnTo>
                  <a:lnTo>
                    <a:pt x="1930" y="331"/>
                  </a:lnTo>
                  <a:lnTo>
                    <a:pt x="1917" y="319"/>
                  </a:lnTo>
                  <a:lnTo>
                    <a:pt x="1905" y="307"/>
                  </a:lnTo>
                  <a:lnTo>
                    <a:pt x="1893" y="295"/>
                  </a:lnTo>
                  <a:lnTo>
                    <a:pt x="1881" y="283"/>
                  </a:lnTo>
                  <a:lnTo>
                    <a:pt x="1874" y="278"/>
                  </a:lnTo>
                  <a:lnTo>
                    <a:pt x="1868" y="274"/>
                  </a:lnTo>
                  <a:lnTo>
                    <a:pt x="1860" y="270"/>
                  </a:lnTo>
                  <a:lnTo>
                    <a:pt x="1852" y="267"/>
                  </a:lnTo>
                  <a:lnTo>
                    <a:pt x="1844" y="266"/>
                  </a:lnTo>
                  <a:lnTo>
                    <a:pt x="1834" y="265"/>
                  </a:lnTo>
                  <a:lnTo>
                    <a:pt x="1824" y="265"/>
                  </a:lnTo>
                  <a:lnTo>
                    <a:pt x="1813" y="267"/>
                  </a:lnTo>
                  <a:lnTo>
                    <a:pt x="1801" y="270"/>
                  </a:lnTo>
                  <a:lnTo>
                    <a:pt x="1788" y="274"/>
                  </a:lnTo>
                  <a:lnTo>
                    <a:pt x="1774" y="281"/>
                  </a:lnTo>
                  <a:lnTo>
                    <a:pt x="1758" y="289"/>
                  </a:lnTo>
                  <a:lnTo>
                    <a:pt x="1752" y="293"/>
                  </a:lnTo>
                  <a:lnTo>
                    <a:pt x="1745" y="295"/>
                  </a:lnTo>
                  <a:lnTo>
                    <a:pt x="1741" y="297"/>
                  </a:lnTo>
                  <a:lnTo>
                    <a:pt x="1740" y="295"/>
                  </a:lnTo>
                  <a:lnTo>
                    <a:pt x="1738" y="294"/>
                  </a:lnTo>
                  <a:lnTo>
                    <a:pt x="1738" y="291"/>
                  </a:lnTo>
                  <a:lnTo>
                    <a:pt x="1740" y="287"/>
                  </a:lnTo>
                  <a:lnTo>
                    <a:pt x="1741" y="282"/>
                  </a:lnTo>
                  <a:lnTo>
                    <a:pt x="1756" y="253"/>
                  </a:lnTo>
                  <a:lnTo>
                    <a:pt x="1773" y="210"/>
                  </a:lnTo>
                  <a:lnTo>
                    <a:pt x="1777" y="198"/>
                  </a:lnTo>
                  <a:lnTo>
                    <a:pt x="1780" y="186"/>
                  </a:lnTo>
                  <a:lnTo>
                    <a:pt x="1782" y="173"/>
                  </a:lnTo>
                  <a:lnTo>
                    <a:pt x="1784" y="160"/>
                  </a:lnTo>
                  <a:lnTo>
                    <a:pt x="1784" y="146"/>
                  </a:lnTo>
                  <a:lnTo>
                    <a:pt x="1782" y="133"/>
                  </a:lnTo>
                  <a:lnTo>
                    <a:pt x="1781" y="120"/>
                  </a:lnTo>
                  <a:lnTo>
                    <a:pt x="1777" y="105"/>
                  </a:lnTo>
                  <a:lnTo>
                    <a:pt x="1772" y="92"/>
                  </a:lnTo>
                  <a:lnTo>
                    <a:pt x="1764" y="78"/>
                  </a:lnTo>
                  <a:lnTo>
                    <a:pt x="1754" y="65"/>
                  </a:lnTo>
                  <a:lnTo>
                    <a:pt x="1744" y="50"/>
                  </a:lnTo>
                  <a:lnTo>
                    <a:pt x="1730" y="38"/>
                  </a:lnTo>
                  <a:lnTo>
                    <a:pt x="1714" y="25"/>
                  </a:lnTo>
                  <a:lnTo>
                    <a:pt x="1696" y="12"/>
                  </a:lnTo>
                  <a:lnTo>
                    <a:pt x="1674" y="0"/>
                  </a:lnTo>
                  <a:lnTo>
                    <a:pt x="1618" y="32"/>
                  </a:lnTo>
                  <a:lnTo>
                    <a:pt x="1565" y="61"/>
                  </a:lnTo>
                  <a:lnTo>
                    <a:pt x="1540" y="76"/>
                  </a:lnTo>
                  <a:lnTo>
                    <a:pt x="1514" y="90"/>
                  </a:lnTo>
                  <a:lnTo>
                    <a:pt x="1492" y="106"/>
                  </a:lnTo>
                  <a:lnTo>
                    <a:pt x="1470" y="124"/>
                  </a:lnTo>
                  <a:lnTo>
                    <a:pt x="1460" y="133"/>
                  </a:lnTo>
                  <a:lnTo>
                    <a:pt x="1449" y="142"/>
                  </a:lnTo>
                  <a:lnTo>
                    <a:pt x="1441" y="153"/>
                  </a:lnTo>
                  <a:lnTo>
                    <a:pt x="1432" y="164"/>
                  </a:lnTo>
                  <a:lnTo>
                    <a:pt x="1424" y="176"/>
                  </a:lnTo>
                  <a:lnTo>
                    <a:pt x="1416" y="188"/>
                  </a:lnTo>
                  <a:lnTo>
                    <a:pt x="1408" y="200"/>
                  </a:lnTo>
                  <a:lnTo>
                    <a:pt x="1402" y="214"/>
                  </a:lnTo>
                  <a:lnTo>
                    <a:pt x="1396" y="227"/>
                  </a:lnTo>
                  <a:lnTo>
                    <a:pt x="1390" y="243"/>
                  </a:lnTo>
                  <a:lnTo>
                    <a:pt x="1386" y="259"/>
                  </a:lnTo>
                  <a:lnTo>
                    <a:pt x="1382" y="277"/>
                  </a:lnTo>
                  <a:lnTo>
                    <a:pt x="1378" y="294"/>
                  </a:lnTo>
                  <a:lnTo>
                    <a:pt x="1376" y="314"/>
                  </a:lnTo>
                  <a:lnTo>
                    <a:pt x="1374" y="334"/>
                  </a:lnTo>
                  <a:lnTo>
                    <a:pt x="1373" y="355"/>
                  </a:lnTo>
                  <a:lnTo>
                    <a:pt x="1378" y="354"/>
                  </a:lnTo>
                  <a:lnTo>
                    <a:pt x="1390" y="351"/>
                  </a:lnTo>
                  <a:lnTo>
                    <a:pt x="1409" y="349"/>
                  </a:lnTo>
                  <a:lnTo>
                    <a:pt x="1433" y="346"/>
                  </a:lnTo>
                  <a:lnTo>
                    <a:pt x="1446" y="346"/>
                  </a:lnTo>
                  <a:lnTo>
                    <a:pt x="1461" y="346"/>
                  </a:lnTo>
                  <a:lnTo>
                    <a:pt x="1476" y="347"/>
                  </a:lnTo>
                  <a:lnTo>
                    <a:pt x="1490" y="350"/>
                  </a:lnTo>
                  <a:lnTo>
                    <a:pt x="1505" y="354"/>
                  </a:lnTo>
                  <a:lnTo>
                    <a:pt x="1520" y="359"/>
                  </a:lnTo>
                  <a:lnTo>
                    <a:pt x="1534" y="365"/>
                  </a:lnTo>
                  <a:lnTo>
                    <a:pt x="1548" y="374"/>
                  </a:lnTo>
                  <a:lnTo>
                    <a:pt x="1546" y="402"/>
                  </a:lnTo>
                  <a:lnTo>
                    <a:pt x="1544" y="425"/>
                  </a:lnTo>
                  <a:lnTo>
                    <a:pt x="1542" y="434"/>
                  </a:lnTo>
                  <a:lnTo>
                    <a:pt x="1541" y="443"/>
                  </a:lnTo>
                  <a:lnTo>
                    <a:pt x="1538" y="450"/>
                  </a:lnTo>
                  <a:lnTo>
                    <a:pt x="1534" y="457"/>
                  </a:lnTo>
                  <a:lnTo>
                    <a:pt x="1530" y="462"/>
                  </a:lnTo>
                  <a:lnTo>
                    <a:pt x="1525" y="466"/>
                  </a:lnTo>
                  <a:lnTo>
                    <a:pt x="1517" y="469"/>
                  </a:lnTo>
                  <a:lnTo>
                    <a:pt x="1509" y="471"/>
                  </a:lnTo>
                  <a:lnTo>
                    <a:pt x="1498" y="474"/>
                  </a:lnTo>
                  <a:lnTo>
                    <a:pt x="1488" y="475"/>
                  </a:lnTo>
                  <a:lnTo>
                    <a:pt x="1473" y="475"/>
                  </a:lnTo>
                  <a:lnTo>
                    <a:pt x="1457" y="475"/>
                  </a:lnTo>
                  <a:lnTo>
                    <a:pt x="1448" y="475"/>
                  </a:lnTo>
                  <a:lnTo>
                    <a:pt x="1437" y="473"/>
                  </a:lnTo>
                  <a:lnTo>
                    <a:pt x="1426" y="467"/>
                  </a:lnTo>
                  <a:lnTo>
                    <a:pt x="1416" y="463"/>
                  </a:lnTo>
                  <a:lnTo>
                    <a:pt x="1390" y="451"/>
                  </a:lnTo>
                  <a:lnTo>
                    <a:pt x="1362" y="439"/>
                  </a:lnTo>
                  <a:lnTo>
                    <a:pt x="1346" y="434"/>
                  </a:lnTo>
                  <a:lnTo>
                    <a:pt x="1329" y="430"/>
                  </a:lnTo>
                  <a:lnTo>
                    <a:pt x="1310" y="427"/>
                  </a:lnTo>
                  <a:lnTo>
                    <a:pt x="1290" y="427"/>
                  </a:lnTo>
                  <a:lnTo>
                    <a:pt x="1268" y="429"/>
                  </a:lnTo>
                  <a:lnTo>
                    <a:pt x="1242" y="434"/>
                  </a:lnTo>
                  <a:lnTo>
                    <a:pt x="1216" y="441"/>
                  </a:lnTo>
                  <a:lnTo>
                    <a:pt x="1186" y="451"/>
                  </a:lnTo>
                  <a:lnTo>
                    <a:pt x="1168" y="473"/>
                  </a:lnTo>
                  <a:lnTo>
                    <a:pt x="1148" y="491"/>
                  </a:lnTo>
                  <a:lnTo>
                    <a:pt x="1127" y="511"/>
                  </a:lnTo>
                  <a:lnTo>
                    <a:pt x="1107" y="529"/>
                  </a:lnTo>
                  <a:lnTo>
                    <a:pt x="1064" y="563"/>
                  </a:lnTo>
                  <a:lnTo>
                    <a:pt x="1020" y="597"/>
                  </a:lnTo>
                  <a:lnTo>
                    <a:pt x="932" y="658"/>
                  </a:lnTo>
                  <a:lnTo>
                    <a:pt x="841" y="717"/>
                  </a:lnTo>
                  <a:lnTo>
                    <a:pt x="796" y="746"/>
                  </a:lnTo>
                  <a:lnTo>
                    <a:pt x="752" y="777"/>
                  </a:lnTo>
                  <a:lnTo>
                    <a:pt x="709" y="809"/>
                  </a:lnTo>
                  <a:lnTo>
                    <a:pt x="668" y="842"/>
                  </a:lnTo>
                  <a:lnTo>
                    <a:pt x="647" y="859"/>
                  </a:lnTo>
                  <a:lnTo>
                    <a:pt x="627" y="876"/>
                  </a:lnTo>
                  <a:lnTo>
                    <a:pt x="608" y="895"/>
                  </a:lnTo>
                  <a:lnTo>
                    <a:pt x="589" y="914"/>
                  </a:lnTo>
                  <a:lnTo>
                    <a:pt x="571" y="934"/>
                  </a:lnTo>
                  <a:lnTo>
                    <a:pt x="552" y="955"/>
                  </a:lnTo>
                  <a:lnTo>
                    <a:pt x="535" y="976"/>
                  </a:lnTo>
                  <a:lnTo>
                    <a:pt x="519" y="999"/>
                  </a:lnTo>
                  <a:lnTo>
                    <a:pt x="500" y="1028"/>
                  </a:lnTo>
                  <a:lnTo>
                    <a:pt x="483" y="1062"/>
                  </a:lnTo>
                  <a:lnTo>
                    <a:pt x="465" y="1096"/>
                  </a:lnTo>
                  <a:lnTo>
                    <a:pt x="448" y="1134"/>
                  </a:lnTo>
                  <a:lnTo>
                    <a:pt x="431" y="1171"/>
                  </a:lnTo>
                  <a:lnTo>
                    <a:pt x="412" y="1208"/>
                  </a:lnTo>
                  <a:lnTo>
                    <a:pt x="393" y="1243"/>
                  </a:lnTo>
                  <a:lnTo>
                    <a:pt x="373" y="1276"/>
                  </a:lnTo>
                  <a:lnTo>
                    <a:pt x="343" y="1324"/>
                  </a:lnTo>
                  <a:lnTo>
                    <a:pt x="314" y="1368"/>
                  </a:lnTo>
                  <a:lnTo>
                    <a:pt x="287" y="1407"/>
                  </a:lnTo>
                  <a:lnTo>
                    <a:pt x="264" y="1440"/>
                  </a:lnTo>
                  <a:lnTo>
                    <a:pt x="255" y="1456"/>
                  </a:lnTo>
                  <a:lnTo>
                    <a:pt x="248" y="1469"/>
                  </a:lnTo>
                  <a:lnTo>
                    <a:pt x="242" y="1483"/>
                  </a:lnTo>
                  <a:lnTo>
                    <a:pt x="238" y="1493"/>
                  </a:lnTo>
                  <a:lnTo>
                    <a:pt x="235" y="1503"/>
                  </a:lnTo>
                  <a:lnTo>
                    <a:pt x="235" y="1511"/>
                  </a:lnTo>
                  <a:lnTo>
                    <a:pt x="236" y="1515"/>
                  </a:lnTo>
                  <a:lnTo>
                    <a:pt x="238" y="1519"/>
                  </a:lnTo>
                  <a:lnTo>
                    <a:pt x="239" y="1521"/>
                  </a:lnTo>
                  <a:lnTo>
                    <a:pt x="242" y="1523"/>
                  </a:lnTo>
                  <a:lnTo>
                    <a:pt x="259" y="1536"/>
                  </a:lnTo>
                  <a:lnTo>
                    <a:pt x="274" y="1545"/>
                  </a:lnTo>
                  <a:lnTo>
                    <a:pt x="287" y="1553"/>
                  </a:lnTo>
                  <a:lnTo>
                    <a:pt x="299" y="1560"/>
                  </a:lnTo>
                  <a:lnTo>
                    <a:pt x="310" y="1564"/>
                  </a:lnTo>
                  <a:lnTo>
                    <a:pt x="319" y="1567"/>
                  </a:lnTo>
                  <a:lnTo>
                    <a:pt x="328" y="1569"/>
                  </a:lnTo>
                  <a:lnTo>
                    <a:pt x="338" y="1569"/>
                  </a:lnTo>
                  <a:lnTo>
                    <a:pt x="355" y="1571"/>
                  </a:lnTo>
                  <a:lnTo>
                    <a:pt x="375" y="1569"/>
                  </a:lnTo>
                  <a:lnTo>
                    <a:pt x="397" y="1569"/>
                  </a:lnTo>
                  <a:lnTo>
                    <a:pt x="428" y="1572"/>
                  </a:lnTo>
                  <a:lnTo>
                    <a:pt x="435" y="1568"/>
                  </a:lnTo>
                  <a:lnTo>
                    <a:pt x="441" y="1565"/>
                  </a:lnTo>
                  <a:lnTo>
                    <a:pt x="448" y="1564"/>
                  </a:lnTo>
                  <a:lnTo>
                    <a:pt x="455" y="1563"/>
                  </a:lnTo>
                  <a:lnTo>
                    <a:pt x="460" y="1564"/>
                  </a:lnTo>
                  <a:lnTo>
                    <a:pt x="465" y="1564"/>
                  </a:lnTo>
                  <a:lnTo>
                    <a:pt x="471" y="1565"/>
                  </a:lnTo>
                  <a:lnTo>
                    <a:pt x="475" y="1568"/>
                  </a:lnTo>
                  <a:lnTo>
                    <a:pt x="484" y="1573"/>
                  </a:lnTo>
                  <a:lnTo>
                    <a:pt x="491" y="1581"/>
                  </a:lnTo>
                  <a:lnTo>
                    <a:pt x="497" y="1591"/>
                  </a:lnTo>
                  <a:lnTo>
                    <a:pt x="503" y="1601"/>
                  </a:lnTo>
                  <a:lnTo>
                    <a:pt x="511" y="1623"/>
                  </a:lnTo>
                  <a:lnTo>
                    <a:pt x="515" y="1641"/>
                  </a:lnTo>
                  <a:lnTo>
                    <a:pt x="517" y="1656"/>
                  </a:lnTo>
                  <a:lnTo>
                    <a:pt x="519" y="1661"/>
                  </a:lnTo>
                  <a:lnTo>
                    <a:pt x="512" y="1668"/>
                  </a:lnTo>
                  <a:lnTo>
                    <a:pt x="508" y="1675"/>
                  </a:lnTo>
                  <a:lnTo>
                    <a:pt x="505" y="1683"/>
                  </a:lnTo>
                  <a:lnTo>
                    <a:pt x="503" y="1689"/>
                  </a:lnTo>
                  <a:lnTo>
                    <a:pt x="499" y="1705"/>
                  </a:lnTo>
                  <a:lnTo>
                    <a:pt x="495" y="1719"/>
                  </a:lnTo>
                  <a:lnTo>
                    <a:pt x="491" y="1724"/>
                  </a:lnTo>
                  <a:lnTo>
                    <a:pt x="484" y="1728"/>
                  </a:lnTo>
                  <a:lnTo>
                    <a:pt x="477" y="1731"/>
                  </a:lnTo>
                  <a:lnTo>
                    <a:pt x="468" y="1732"/>
                  </a:lnTo>
                  <a:lnTo>
                    <a:pt x="455" y="1732"/>
                  </a:lnTo>
                  <a:lnTo>
                    <a:pt x="440" y="1729"/>
                  </a:lnTo>
                  <a:lnTo>
                    <a:pt x="420" y="1724"/>
                  </a:lnTo>
                  <a:lnTo>
                    <a:pt x="397" y="1716"/>
                  </a:lnTo>
                  <a:lnTo>
                    <a:pt x="388" y="1729"/>
                  </a:lnTo>
                  <a:lnTo>
                    <a:pt x="379" y="1741"/>
                  </a:lnTo>
                  <a:lnTo>
                    <a:pt x="370" y="1751"/>
                  </a:lnTo>
                  <a:lnTo>
                    <a:pt x="359" y="1757"/>
                  </a:lnTo>
                  <a:lnTo>
                    <a:pt x="348" y="1764"/>
                  </a:lnTo>
                  <a:lnTo>
                    <a:pt x="338" y="1768"/>
                  </a:lnTo>
                  <a:lnTo>
                    <a:pt x="326" y="1769"/>
                  </a:lnTo>
                  <a:lnTo>
                    <a:pt x="315" y="1771"/>
                  </a:lnTo>
                  <a:lnTo>
                    <a:pt x="303" y="1769"/>
                  </a:lnTo>
                  <a:lnTo>
                    <a:pt x="291" y="1768"/>
                  </a:lnTo>
                  <a:lnTo>
                    <a:pt x="279" y="1764"/>
                  </a:lnTo>
                  <a:lnTo>
                    <a:pt x="267" y="1760"/>
                  </a:lnTo>
                  <a:lnTo>
                    <a:pt x="242" y="1749"/>
                  </a:lnTo>
                  <a:lnTo>
                    <a:pt x="218" y="1735"/>
                  </a:lnTo>
                  <a:lnTo>
                    <a:pt x="208" y="1731"/>
                  </a:lnTo>
                  <a:lnTo>
                    <a:pt x="202" y="1729"/>
                  </a:lnTo>
                  <a:lnTo>
                    <a:pt x="199" y="1731"/>
                  </a:lnTo>
                  <a:lnTo>
                    <a:pt x="198" y="1732"/>
                  </a:lnTo>
                  <a:lnTo>
                    <a:pt x="196" y="1735"/>
                  </a:lnTo>
                  <a:lnTo>
                    <a:pt x="195" y="1739"/>
                  </a:lnTo>
                  <a:lnTo>
                    <a:pt x="194" y="1747"/>
                  </a:lnTo>
                  <a:lnTo>
                    <a:pt x="194" y="1756"/>
                  </a:lnTo>
                  <a:lnTo>
                    <a:pt x="195" y="1769"/>
                  </a:lnTo>
                  <a:lnTo>
                    <a:pt x="196" y="1783"/>
                  </a:lnTo>
                  <a:lnTo>
                    <a:pt x="200" y="1816"/>
                  </a:lnTo>
                  <a:lnTo>
                    <a:pt x="202" y="1852"/>
                  </a:lnTo>
                  <a:lnTo>
                    <a:pt x="202" y="1871"/>
                  </a:lnTo>
                  <a:lnTo>
                    <a:pt x="200" y="1889"/>
                  </a:lnTo>
                  <a:lnTo>
                    <a:pt x="198" y="1908"/>
                  </a:lnTo>
                  <a:lnTo>
                    <a:pt x="194" y="1927"/>
                  </a:lnTo>
                  <a:lnTo>
                    <a:pt x="190" y="1936"/>
                  </a:lnTo>
                  <a:lnTo>
                    <a:pt x="186" y="1945"/>
                  </a:lnTo>
                  <a:lnTo>
                    <a:pt x="182" y="1953"/>
                  </a:lnTo>
                  <a:lnTo>
                    <a:pt x="176" y="1963"/>
                  </a:lnTo>
                  <a:lnTo>
                    <a:pt x="164" y="1977"/>
                  </a:lnTo>
                  <a:lnTo>
                    <a:pt x="151" y="1992"/>
                  </a:lnTo>
                  <a:lnTo>
                    <a:pt x="119" y="2020"/>
                  </a:lnTo>
                  <a:lnTo>
                    <a:pt x="86" y="2046"/>
                  </a:lnTo>
                  <a:lnTo>
                    <a:pt x="70" y="2061"/>
                  </a:lnTo>
                  <a:lnTo>
                    <a:pt x="54" y="2076"/>
                  </a:lnTo>
                  <a:lnTo>
                    <a:pt x="39" y="2092"/>
                  </a:lnTo>
                  <a:lnTo>
                    <a:pt x="27" y="2109"/>
                  </a:lnTo>
                  <a:lnTo>
                    <a:pt x="20" y="2118"/>
                  </a:lnTo>
                  <a:lnTo>
                    <a:pt x="16" y="2128"/>
                  </a:lnTo>
                  <a:lnTo>
                    <a:pt x="11" y="2138"/>
                  </a:lnTo>
                  <a:lnTo>
                    <a:pt x="7" y="2149"/>
                  </a:lnTo>
                  <a:lnTo>
                    <a:pt x="4" y="2160"/>
                  </a:lnTo>
                  <a:lnTo>
                    <a:pt x="2" y="2172"/>
                  </a:lnTo>
                  <a:lnTo>
                    <a:pt x="0" y="2185"/>
                  </a:lnTo>
                  <a:lnTo>
                    <a:pt x="0" y="2198"/>
                  </a:lnTo>
                  <a:lnTo>
                    <a:pt x="0" y="2204"/>
                  </a:lnTo>
                  <a:lnTo>
                    <a:pt x="2" y="2210"/>
                  </a:lnTo>
                  <a:lnTo>
                    <a:pt x="3" y="2218"/>
                  </a:lnTo>
                  <a:lnTo>
                    <a:pt x="7" y="2228"/>
                  </a:lnTo>
                  <a:lnTo>
                    <a:pt x="16" y="2226"/>
                  </a:lnTo>
                  <a:lnTo>
                    <a:pt x="26" y="2226"/>
                  </a:lnTo>
                  <a:lnTo>
                    <a:pt x="32" y="2228"/>
                  </a:lnTo>
                  <a:lnTo>
                    <a:pt x="38" y="2229"/>
                  </a:lnTo>
                  <a:lnTo>
                    <a:pt x="46" y="2232"/>
                  </a:lnTo>
                  <a:lnTo>
                    <a:pt x="55" y="2234"/>
                  </a:lnTo>
                  <a:lnTo>
                    <a:pt x="68" y="2234"/>
                  </a:lnTo>
                  <a:lnTo>
                    <a:pt x="83" y="2237"/>
                  </a:lnTo>
                  <a:lnTo>
                    <a:pt x="99" y="2241"/>
                  </a:lnTo>
                  <a:lnTo>
                    <a:pt x="115" y="2248"/>
                  </a:lnTo>
                  <a:lnTo>
                    <a:pt x="132" y="2254"/>
                  </a:lnTo>
                  <a:lnTo>
                    <a:pt x="151" y="2262"/>
                  </a:lnTo>
                  <a:lnTo>
                    <a:pt x="168" y="2272"/>
                  </a:lnTo>
                  <a:lnTo>
                    <a:pt x="184" y="2282"/>
                  </a:lnTo>
                  <a:lnTo>
                    <a:pt x="202" y="2293"/>
                  </a:lnTo>
                  <a:lnTo>
                    <a:pt x="216" y="2305"/>
                  </a:lnTo>
                  <a:lnTo>
                    <a:pt x="230" y="2317"/>
                  </a:lnTo>
                  <a:lnTo>
                    <a:pt x="242" y="2330"/>
                  </a:lnTo>
                  <a:lnTo>
                    <a:pt x="252" y="2344"/>
                  </a:lnTo>
                  <a:lnTo>
                    <a:pt x="259" y="2357"/>
                  </a:lnTo>
                  <a:lnTo>
                    <a:pt x="262" y="2364"/>
                  </a:lnTo>
                  <a:lnTo>
                    <a:pt x="264" y="2370"/>
                  </a:lnTo>
                  <a:lnTo>
                    <a:pt x="266" y="2377"/>
                  </a:lnTo>
                  <a:lnTo>
                    <a:pt x="266" y="2385"/>
                  </a:lnTo>
                  <a:lnTo>
                    <a:pt x="266" y="2396"/>
                  </a:lnTo>
                  <a:lnTo>
                    <a:pt x="264" y="2405"/>
                  </a:lnTo>
                  <a:lnTo>
                    <a:pt x="262" y="2413"/>
                  </a:lnTo>
                  <a:lnTo>
                    <a:pt x="260" y="2420"/>
                  </a:lnTo>
                  <a:lnTo>
                    <a:pt x="254" y="2432"/>
                  </a:lnTo>
                  <a:lnTo>
                    <a:pt x="247" y="2441"/>
                  </a:lnTo>
                  <a:lnTo>
                    <a:pt x="239" y="2449"/>
                  </a:lnTo>
                  <a:lnTo>
                    <a:pt x="232" y="2457"/>
                  </a:lnTo>
                  <a:lnTo>
                    <a:pt x="227" y="2465"/>
                  </a:lnTo>
                  <a:lnTo>
                    <a:pt x="223" y="2474"/>
                  </a:lnTo>
                  <a:lnTo>
                    <a:pt x="220" y="2484"/>
                  </a:lnTo>
                  <a:lnTo>
                    <a:pt x="219" y="2492"/>
                  </a:lnTo>
                  <a:lnTo>
                    <a:pt x="219" y="2500"/>
                  </a:lnTo>
                  <a:lnTo>
                    <a:pt x="222" y="2508"/>
                  </a:lnTo>
                  <a:lnTo>
                    <a:pt x="223" y="2516"/>
                  </a:lnTo>
                  <a:lnTo>
                    <a:pt x="224" y="2524"/>
                  </a:lnTo>
                  <a:lnTo>
                    <a:pt x="224" y="2532"/>
                  </a:lnTo>
                  <a:lnTo>
                    <a:pt x="223" y="2541"/>
                  </a:lnTo>
                  <a:lnTo>
                    <a:pt x="218" y="2554"/>
                  </a:lnTo>
                  <a:lnTo>
                    <a:pt x="212" y="2566"/>
                  </a:lnTo>
                  <a:lnTo>
                    <a:pt x="206" y="2578"/>
                  </a:lnTo>
                  <a:lnTo>
                    <a:pt x="198" y="2590"/>
                  </a:lnTo>
                  <a:lnTo>
                    <a:pt x="182" y="2611"/>
                  </a:lnTo>
                  <a:lnTo>
                    <a:pt x="166" y="2633"/>
                  </a:lnTo>
                  <a:lnTo>
                    <a:pt x="159" y="2643"/>
                  </a:lnTo>
                  <a:lnTo>
                    <a:pt x="151" y="2654"/>
                  </a:lnTo>
                  <a:lnTo>
                    <a:pt x="144" y="2666"/>
                  </a:lnTo>
                  <a:lnTo>
                    <a:pt x="139" y="2678"/>
                  </a:lnTo>
                  <a:lnTo>
                    <a:pt x="134" y="2690"/>
                  </a:lnTo>
                  <a:lnTo>
                    <a:pt x="130" y="2703"/>
                  </a:lnTo>
                  <a:lnTo>
                    <a:pt x="128" y="2718"/>
                  </a:lnTo>
                  <a:lnTo>
                    <a:pt x="127" y="2734"/>
                  </a:lnTo>
                  <a:lnTo>
                    <a:pt x="127" y="2742"/>
                  </a:lnTo>
                  <a:lnTo>
                    <a:pt x="128" y="2750"/>
                  </a:lnTo>
                  <a:lnTo>
                    <a:pt x="130" y="2757"/>
                  </a:lnTo>
                  <a:lnTo>
                    <a:pt x="131" y="2762"/>
                  </a:lnTo>
                  <a:lnTo>
                    <a:pt x="134" y="2767"/>
                  </a:lnTo>
                  <a:lnTo>
                    <a:pt x="136" y="2771"/>
                  </a:lnTo>
                  <a:lnTo>
                    <a:pt x="140" y="2775"/>
                  </a:lnTo>
                  <a:lnTo>
                    <a:pt x="144" y="2778"/>
                  </a:lnTo>
                  <a:lnTo>
                    <a:pt x="154" y="2782"/>
                  </a:lnTo>
                  <a:lnTo>
                    <a:pt x="166" y="2783"/>
                  </a:lnTo>
                  <a:lnTo>
                    <a:pt x="178" y="2783"/>
                  </a:lnTo>
                  <a:lnTo>
                    <a:pt x="194" y="2782"/>
                  </a:lnTo>
                  <a:lnTo>
                    <a:pt x="196" y="2790"/>
                  </a:lnTo>
                  <a:lnTo>
                    <a:pt x="199" y="2799"/>
                  </a:lnTo>
                  <a:lnTo>
                    <a:pt x="200" y="2806"/>
                  </a:lnTo>
                  <a:lnTo>
                    <a:pt x="200" y="2814"/>
                  </a:lnTo>
                  <a:lnTo>
                    <a:pt x="200" y="2829"/>
                  </a:lnTo>
                  <a:lnTo>
                    <a:pt x="199" y="2842"/>
                  </a:lnTo>
                  <a:lnTo>
                    <a:pt x="200" y="2846"/>
                  </a:lnTo>
                  <a:lnTo>
                    <a:pt x="202" y="2849"/>
                  </a:lnTo>
                  <a:lnTo>
                    <a:pt x="203" y="2853"/>
                  </a:lnTo>
                  <a:lnTo>
                    <a:pt x="207" y="2857"/>
                  </a:lnTo>
                  <a:lnTo>
                    <a:pt x="215" y="2865"/>
                  </a:lnTo>
                  <a:lnTo>
                    <a:pt x="227" y="2873"/>
                  </a:lnTo>
                  <a:lnTo>
                    <a:pt x="240" y="2879"/>
                  </a:lnTo>
                  <a:lnTo>
                    <a:pt x="255" y="2885"/>
                  </a:lnTo>
                  <a:lnTo>
                    <a:pt x="272" y="2889"/>
                  </a:lnTo>
                  <a:lnTo>
                    <a:pt x="290" y="2890"/>
                  </a:lnTo>
                  <a:lnTo>
                    <a:pt x="300" y="2890"/>
                  </a:lnTo>
                  <a:lnTo>
                    <a:pt x="311" y="2887"/>
                  </a:lnTo>
                  <a:lnTo>
                    <a:pt x="322" y="2885"/>
                  </a:lnTo>
                  <a:lnTo>
                    <a:pt x="332" y="2881"/>
                  </a:lnTo>
                  <a:lnTo>
                    <a:pt x="342" y="2878"/>
                  </a:lnTo>
                  <a:lnTo>
                    <a:pt x="352" y="2875"/>
                  </a:lnTo>
                  <a:lnTo>
                    <a:pt x="363" y="2873"/>
                  </a:lnTo>
                  <a:lnTo>
                    <a:pt x="373" y="2873"/>
                  </a:lnTo>
                  <a:lnTo>
                    <a:pt x="389" y="2873"/>
                  </a:lnTo>
                  <a:lnTo>
                    <a:pt x="403" y="2877"/>
                  </a:lnTo>
                  <a:lnTo>
                    <a:pt x="412" y="2881"/>
                  </a:lnTo>
                  <a:lnTo>
                    <a:pt x="421" y="2887"/>
                  </a:lnTo>
                  <a:lnTo>
                    <a:pt x="428" y="2895"/>
                  </a:lnTo>
                  <a:lnTo>
                    <a:pt x="433" y="2903"/>
                  </a:lnTo>
                  <a:lnTo>
                    <a:pt x="437" y="2913"/>
                  </a:lnTo>
                  <a:lnTo>
                    <a:pt x="441" y="2922"/>
                  </a:lnTo>
                  <a:lnTo>
                    <a:pt x="448" y="2941"/>
                  </a:lnTo>
                  <a:lnTo>
                    <a:pt x="455" y="2958"/>
                  </a:lnTo>
                  <a:lnTo>
                    <a:pt x="460" y="2966"/>
                  </a:lnTo>
                  <a:lnTo>
                    <a:pt x="465" y="2973"/>
                  </a:lnTo>
                  <a:lnTo>
                    <a:pt x="473" y="2977"/>
                  </a:lnTo>
                  <a:lnTo>
                    <a:pt x="483" y="2981"/>
                  </a:lnTo>
                  <a:lnTo>
                    <a:pt x="495" y="298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4" name="Freeform 90"/>
            <p:cNvSpPr>
              <a:spLocks/>
            </p:cNvSpPr>
            <p:nvPr/>
          </p:nvSpPr>
          <p:spPr bwMode="auto">
            <a:xfrm>
              <a:off x="6299522" y="4548188"/>
              <a:ext cx="1146175" cy="801687"/>
            </a:xfrm>
            <a:custGeom>
              <a:avLst/>
              <a:gdLst/>
              <a:ahLst/>
              <a:cxnLst>
                <a:cxn ang="0">
                  <a:pos x="2296" y="1318"/>
                </a:cxn>
                <a:cxn ang="0">
                  <a:pos x="2214" y="1214"/>
                </a:cxn>
                <a:cxn ang="0">
                  <a:pos x="2139" y="1206"/>
                </a:cxn>
                <a:cxn ang="0">
                  <a:pos x="2071" y="1165"/>
                </a:cxn>
                <a:cxn ang="0">
                  <a:pos x="2039" y="1060"/>
                </a:cxn>
                <a:cxn ang="0">
                  <a:pos x="2055" y="948"/>
                </a:cxn>
                <a:cxn ang="0">
                  <a:pos x="2046" y="881"/>
                </a:cxn>
                <a:cxn ang="0">
                  <a:pos x="2118" y="757"/>
                </a:cxn>
                <a:cxn ang="0">
                  <a:pos x="2168" y="653"/>
                </a:cxn>
                <a:cxn ang="0">
                  <a:pos x="2155" y="597"/>
                </a:cxn>
                <a:cxn ang="0">
                  <a:pos x="2106" y="548"/>
                </a:cxn>
                <a:cxn ang="0">
                  <a:pos x="2227" y="512"/>
                </a:cxn>
                <a:cxn ang="0">
                  <a:pos x="2298" y="448"/>
                </a:cxn>
                <a:cxn ang="0">
                  <a:pos x="2207" y="268"/>
                </a:cxn>
                <a:cxn ang="0">
                  <a:pos x="2151" y="245"/>
                </a:cxn>
                <a:cxn ang="0">
                  <a:pos x="2075" y="321"/>
                </a:cxn>
                <a:cxn ang="0">
                  <a:pos x="2011" y="376"/>
                </a:cxn>
                <a:cxn ang="0">
                  <a:pos x="1967" y="476"/>
                </a:cxn>
                <a:cxn ang="0">
                  <a:pos x="1892" y="531"/>
                </a:cxn>
                <a:cxn ang="0">
                  <a:pos x="1835" y="552"/>
                </a:cxn>
                <a:cxn ang="0">
                  <a:pos x="1739" y="483"/>
                </a:cxn>
                <a:cxn ang="0">
                  <a:pos x="1654" y="512"/>
                </a:cxn>
                <a:cxn ang="0">
                  <a:pos x="1594" y="469"/>
                </a:cxn>
                <a:cxn ang="0">
                  <a:pos x="1630" y="389"/>
                </a:cxn>
                <a:cxn ang="0">
                  <a:pos x="1619" y="328"/>
                </a:cxn>
                <a:cxn ang="0">
                  <a:pos x="1635" y="271"/>
                </a:cxn>
                <a:cxn ang="0">
                  <a:pos x="1683" y="50"/>
                </a:cxn>
                <a:cxn ang="0">
                  <a:pos x="1651" y="4"/>
                </a:cxn>
                <a:cxn ang="0">
                  <a:pos x="1535" y="27"/>
                </a:cxn>
                <a:cxn ang="0">
                  <a:pos x="1365" y="132"/>
                </a:cxn>
                <a:cxn ang="0">
                  <a:pos x="1225" y="281"/>
                </a:cxn>
                <a:cxn ang="0">
                  <a:pos x="1099" y="335"/>
                </a:cxn>
                <a:cxn ang="0">
                  <a:pos x="962" y="441"/>
                </a:cxn>
                <a:cxn ang="0">
                  <a:pos x="837" y="469"/>
                </a:cxn>
                <a:cxn ang="0">
                  <a:pos x="673" y="519"/>
                </a:cxn>
                <a:cxn ang="0">
                  <a:pos x="552" y="459"/>
                </a:cxn>
                <a:cxn ang="0">
                  <a:pos x="421" y="477"/>
                </a:cxn>
                <a:cxn ang="0">
                  <a:pos x="199" y="483"/>
                </a:cxn>
                <a:cxn ang="0">
                  <a:pos x="76" y="508"/>
                </a:cxn>
                <a:cxn ang="0">
                  <a:pos x="0" y="596"/>
                </a:cxn>
                <a:cxn ang="0">
                  <a:pos x="51" y="656"/>
                </a:cxn>
                <a:cxn ang="0">
                  <a:pos x="124" y="684"/>
                </a:cxn>
                <a:cxn ang="0">
                  <a:pos x="109" y="734"/>
                </a:cxn>
                <a:cxn ang="0">
                  <a:pos x="143" y="778"/>
                </a:cxn>
                <a:cxn ang="0">
                  <a:pos x="236" y="716"/>
                </a:cxn>
                <a:cxn ang="0">
                  <a:pos x="290" y="761"/>
                </a:cxn>
                <a:cxn ang="0">
                  <a:pos x="338" y="786"/>
                </a:cxn>
                <a:cxn ang="0">
                  <a:pos x="377" y="766"/>
                </a:cxn>
                <a:cxn ang="0">
                  <a:pos x="445" y="880"/>
                </a:cxn>
                <a:cxn ang="0">
                  <a:pos x="444" y="938"/>
                </a:cxn>
                <a:cxn ang="0">
                  <a:pos x="518" y="1008"/>
                </a:cxn>
                <a:cxn ang="0">
                  <a:pos x="474" y="1037"/>
                </a:cxn>
                <a:cxn ang="0">
                  <a:pos x="498" y="1084"/>
                </a:cxn>
                <a:cxn ang="0">
                  <a:pos x="586" y="1177"/>
                </a:cxn>
                <a:cxn ang="0">
                  <a:pos x="765" y="1124"/>
                </a:cxn>
                <a:cxn ang="0">
                  <a:pos x="1002" y="1085"/>
                </a:cxn>
                <a:cxn ang="0">
                  <a:pos x="1133" y="1072"/>
                </a:cxn>
                <a:cxn ang="0">
                  <a:pos x="1365" y="1218"/>
                </a:cxn>
                <a:cxn ang="0">
                  <a:pos x="1786" y="1627"/>
                </a:cxn>
                <a:cxn ang="0">
                  <a:pos x="1875" y="1651"/>
                </a:cxn>
                <a:cxn ang="0">
                  <a:pos x="2043" y="1565"/>
                </a:cxn>
                <a:cxn ang="0">
                  <a:pos x="2282" y="1566"/>
                </a:cxn>
              </a:cxnLst>
              <a:rect l="0" t="0" r="r" b="b"/>
              <a:pathLst>
                <a:path w="2364" h="1653">
                  <a:moveTo>
                    <a:pt x="2364" y="1379"/>
                  </a:moveTo>
                  <a:lnTo>
                    <a:pt x="2358" y="1377"/>
                  </a:lnTo>
                  <a:lnTo>
                    <a:pt x="2350" y="1374"/>
                  </a:lnTo>
                  <a:lnTo>
                    <a:pt x="2343" y="1371"/>
                  </a:lnTo>
                  <a:lnTo>
                    <a:pt x="2336" y="1367"/>
                  </a:lnTo>
                  <a:lnTo>
                    <a:pt x="2326" y="1357"/>
                  </a:lnTo>
                  <a:lnTo>
                    <a:pt x="2315" y="1345"/>
                  </a:lnTo>
                  <a:lnTo>
                    <a:pt x="2306" y="1333"/>
                  </a:lnTo>
                  <a:lnTo>
                    <a:pt x="2296" y="1318"/>
                  </a:lnTo>
                  <a:lnTo>
                    <a:pt x="2288" y="1304"/>
                  </a:lnTo>
                  <a:lnTo>
                    <a:pt x="2280" y="1289"/>
                  </a:lnTo>
                  <a:lnTo>
                    <a:pt x="2271" y="1273"/>
                  </a:lnTo>
                  <a:lnTo>
                    <a:pt x="2263" y="1260"/>
                  </a:lnTo>
                  <a:lnTo>
                    <a:pt x="2254" y="1246"/>
                  </a:lnTo>
                  <a:lnTo>
                    <a:pt x="2244" y="1234"/>
                  </a:lnTo>
                  <a:lnTo>
                    <a:pt x="2232" y="1225"/>
                  </a:lnTo>
                  <a:lnTo>
                    <a:pt x="2220" y="1217"/>
                  </a:lnTo>
                  <a:lnTo>
                    <a:pt x="2214" y="1214"/>
                  </a:lnTo>
                  <a:lnTo>
                    <a:pt x="2206" y="1213"/>
                  </a:lnTo>
                  <a:lnTo>
                    <a:pt x="2199" y="1212"/>
                  </a:lnTo>
                  <a:lnTo>
                    <a:pt x="2190" y="1210"/>
                  </a:lnTo>
                  <a:lnTo>
                    <a:pt x="2180" y="1210"/>
                  </a:lnTo>
                  <a:lnTo>
                    <a:pt x="2175" y="1210"/>
                  </a:lnTo>
                  <a:lnTo>
                    <a:pt x="2167" y="1210"/>
                  </a:lnTo>
                  <a:lnTo>
                    <a:pt x="2154" y="1210"/>
                  </a:lnTo>
                  <a:lnTo>
                    <a:pt x="2146" y="1210"/>
                  </a:lnTo>
                  <a:lnTo>
                    <a:pt x="2139" y="1206"/>
                  </a:lnTo>
                  <a:lnTo>
                    <a:pt x="2134" y="1202"/>
                  </a:lnTo>
                  <a:lnTo>
                    <a:pt x="2130" y="1197"/>
                  </a:lnTo>
                  <a:lnTo>
                    <a:pt x="2123" y="1182"/>
                  </a:lnTo>
                  <a:lnTo>
                    <a:pt x="2118" y="1169"/>
                  </a:lnTo>
                  <a:lnTo>
                    <a:pt x="2106" y="1172"/>
                  </a:lnTo>
                  <a:lnTo>
                    <a:pt x="2095" y="1172"/>
                  </a:lnTo>
                  <a:lnTo>
                    <a:pt x="2086" y="1172"/>
                  </a:lnTo>
                  <a:lnTo>
                    <a:pt x="2078" y="1169"/>
                  </a:lnTo>
                  <a:lnTo>
                    <a:pt x="2071" y="1165"/>
                  </a:lnTo>
                  <a:lnTo>
                    <a:pt x="2064" y="1160"/>
                  </a:lnTo>
                  <a:lnTo>
                    <a:pt x="2059" y="1153"/>
                  </a:lnTo>
                  <a:lnTo>
                    <a:pt x="2054" y="1146"/>
                  </a:lnTo>
                  <a:lnTo>
                    <a:pt x="2050" y="1138"/>
                  </a:lnTo>
                  <a:lnTo>
                    <a:pt x="2047" y="1129"/>
                  </a:lnTo>
                  <a:lnTo>
                    <a:pt x="2044" y="1118"/>
                  </a:lnTo>
                  <a:lnTo>
                    <a:pt x="2043" y="1108"/>
                  </a:lnTo>
                  <a:lnTo>
                    <a:pt x="2040" y="1085"/>
                  </a:lnTo>
                  <a:lnTo>
                    <a:pt x="2039" y="1060"/>
                  </a:lnTo>
                  <a:lnTo>
                    <a:pt x="2040" y="1044"/>
                  </a:lnTo>
                  <a:lnTo>
                    <a:pt x="2043" y="1028"/>
                  </a:lnTo>
                  <a:lnTo>
                    <a:pt x="2048" y="1014"/>
                  </a:lnTo>
                  <a:lnTo>
                    <a:pt x="2054" y="1002"/>
                  </a:lnTo>
                  <a:lnTo>
                    <a:pt x="2066" y="980"/>
                  </a:lnTo>
                  <a:lnTo>
                    <a:pt x="2076" y="958"/>
                  </a:lnTo>
                  <a:lnTo>
                    <a:pt x="2068" y="956"/>
                  </a:lnTo>
                  <a:lnTo>
                    <a:pt x="2062" y="952"/>
                  </a:lnTo>
                  <a:lnTo>
                    <a:pt x="2055" y="948"/>
                  </a:lnTo>
                  <a:lnTo>
                    <a:pt x="2048" y="942"/>
                  </a:lnTo>
                  <a:lnTo>
                    <a:pt x="2042" y="937"/>
                  </a:lnTo>
                  <a:lnTo>
                    <a:pt x="2038" y="929"/>
                  </a:lnTo>
                  <a:lnTo>
                    <a:pt x="2035" y="920"/>
                  </a:lnTo>
                  <a:lnTo>
                    <a:pt x="2034" y="909"/>
                  </a:lnTo>
                  <a:lnTo>
                    <a:pt x="2035" y="902"/>
                  </a:lnTo>
                  <a:lnTo>
                    <a:pt x="2036" y="896"/>
                  </a:lnTo>
                  <a:lnTo>
                    <a:pt x="2040" y="889"/>
                  </a:lnTo>
                  <a:lnTo>
                    <a:pt x="2046" y="881"/>
                  </a:lnTo>
                  <a:lnTo>
                    <a:pt x="2059" y="866"/>
                  </a:lnTo>
                  <a:lnTo>
                    <a:pt x="2074" y="849"/>
                  </a:lnTo>
                  <a:lnTo>
                    <a:pt x="2088" y="832"/>
                  </a:lnTo>
                  <a:lnTo>
                    <a:pt x="2102" y="813"/>
                  </a:lnTo>
                  <a:lnTo>
                    <a:pt x="2108" y="804"/>
                  </a:lnTo>
                  <a:lnTo>
                    <a:pt x="2112" y="793"/>
                  </a:lnTo>
                  <a:lnTo>
                    <a:pt x="2116" y="782"/>
                  </a:lnTo>
                  <a:lnTo>
                    <a:pt x="2118" y="772"/>
                  </a:lnTo>
                  <a:lnTo>
                    <a:pt x="2118" y="757"/>
                  </a:lnTo>
                  <a:lnTo>
                    <a:pt x="2118" y="734"/>
                  </a:lnTo>
                  <a:lnTo>
                    <a:pt x="2119" y="725"/>
                  </a:lnTo>
                  <a:lnTo>
                    <a:pt x="2120" y="717"/>
                  </a:lnTo>
                  <a:lnTo>
                    <a:pt x="2123" y="709"/>
                  </a:lnTo>
                  <a:lnTo>
                    <a:pt x="2127" y="701"/>
                  </a:lnTo>
                  <a:lnTo>
                    <a:pt x="2136" y="688"/>
                  </a:lnTo>
                  <a:lnTo>
                    <a:pt x="2148" y="676"/>
                  </a:lnTo>
                  <a:lnTo>
                    <a:pt x="2159" y="665"/>
                  </a:lnTo>
                  <a:lnTo>
                    <a:pt x="2168" y="653"/>
                  </a:lnTo>
                  <a:lnTo>
                    <a:pt x="2172" y="648"/>
                  </a:lnTo>
                  <a:lnTo>
                    <a:pt x="2175" y="641"/>
                  </a:lnTo>
                  <a:lnTo>
                    <a:pt x="2178" y="635"/>
                  </a:lnTo>
                  <a:lnTo>
                    <a:pt x="2178" y="627"/>
                  </a:lnTo>
                  <a:lnTo>
                    <a:pt x="2178" y="619"/>
                  </a:lnTo>
                  <a:lnTo>
                    <a:pt x="2175" y="612"/>
                  </a:lnTo>
                  <a:lnTo>
                    <a:pt x="2171" y="607"/>
                  </a:lnTo>
                  <a:lnTo>
                    <a:pt x="2167" y="603"/>
                  </a:lnTo>
                  <a:lnTo>
                    <a:pt x="2155" y="597"/>
                  </a:lnTo>
                  <a:lnTo>
                    <a:pt x="2142" y="592"/>
                  </a:lnTo>
                  <a:lnTo>
                    <a:pt x="2135" y="589"/>
                  </a:lnTo>
                  <a:lnTo>
                    <a:pt x="2128" y="587"/>
                  </a:lnTo>
                  <a:lnTo>
                    <a:pt x="2123" y="584"/>
                  </a:lnTo>
                  <a:lnTo>
                    <a:pt x="2118" y="580"/>
                  </a:lnTo>
                  <a:lnTo>
                    <a:pt x="2112" y="573"/>
                  </a:lnTo>
                  <a:lnTo>
                    <a:pt x="2108" y="567"/>
                  </a:lnTo>
                  <a:lnTo>
                    <a:pt x="2107" y="559"/>
                  </a:lnTo>
                  <a:lnTo>
                    <a:pt x="2106" y="548"/>
                  </a:lnTo>
                  <a:lnTo>
                    <a:pt x="2107" y="544"/>
                  </a:lnTo>
                  <a:lnTo>
                    <a:pt x="2108" y="539"/>
                  </a:lnTo>
                  <a:lnTo>
                    <a:pt x="2110" y="533"/>
                  </a:lnTo>
                  <a:lnTo>
                    <a:pt x="2114" y="528"/>
                  </a:lnTo>
                  <a:lnTo>
                    <a:pt x="2118" y="523"/>
                  </a:lnTo>
                  <a:lnTo>
                    <a:pt x="2122" y="519"/>
                  </a:lnTo>
                  <a:lnTo>
                    <a:pt x="2126" y="515"/>
                  </a:lnTo>
                  <a:lnTo>
                    <a:pt x="2130" y="512"/>
                  </a:lnTo>
                  <a:lnTo>
                    <a:pt x="2227" y="512"/>
                  </a:lnTo>
                  <a:lnTo>
                    <a:pt x="2248" y="504"/>
                  </a:lnTo>
                  <a:lnTo>
                    <a:pt x="2271" y="495"/>
                  </a:lnTo>
                  <a:lnTo>
                    <a:pt x="2282" y="488"/>
                  </a:lnTo>
                  <a:lnTo>
                    <a:pt x="2291" y="480"/>
                  </a:lnTo>
                  <a:lnTo>
                    <a:pt x="2294" y="476"/>
                  </a:lnTo>
                  <a:lnTo>
                    <a:pt x="2296" y="471"/>
                  </a:lnTo>
                  <a:lnTo>
                    <a:pt x="2298" y="464"/>
                  </a:lnTo>
                  <a:lnTo>
                    <a:pt x="2299" y="459"/>
                  </a:lnTo>
                  <a:lnTo>
                    <a:pt x="2298" y="448"/>
                  </a:lnTo>
                  <a:lnTo>
                    <a:pt x="2295" y="435"/>
                  </a:lnTo>
                  <a:lnTo>
                    <a:pt x="2290" y="420"/>
                  </a:lnTo>
                  <a:lnTo>
                    <a:pt x="2284" y="404"/>
                  </a:lnTo>
                  <a:lnTo>
                    <a:pt x="2268" y="368"/>
                  </a:lnTo>
                  <a:lnTo>
                    <a:pt x="2248" y="332"/>
                  </a:lnTo>
                  <a:lnTo>
                    <a:pt x="2239" y="313"/>
                  </a:lnTo>
                  <a:lnTo>
                    <a:pt x="2228" y="297"/>
                  </a:lnTo>
                  <a:lnTo>
                    <a:pt x="2218" y="281"/>
                  </a:lnTo>
                  <a:lnTo>
                    <a:pt x="2207" y="268"/>
                  </a:lnTo>
                  <a:lnTo>
                    <a:pt x="2198" y="257"/>
                  </a:lnTo>
                  <a:lnTo>
                    <a:pt x="2188" y="248"/>
                  </a:lnTo>
                  <a:lnTo>
                    <a:pt x="2183" y="245"/>
                  </a:lnTo>
                  <a:lnTo>
                    <a:pt x="2179" y="243"/>
                  </a:lnTo>
                  <a:lnTo>
                    <a:pt x="2176" y="241"/>
                  </a:lnTo>
                  <a:lnTo>
                    <a:pt x="2172" y="241"/>
                  </a:lnTo>
                  <a:lnTo>
                    <a:pt x="2164" y="241"/>
                  </a:lnTo>
                  <a:lnTo>
                    <a:pt x="2158" y="244"/>
                  </a:lnTo>
                  <a:lnTo>
                    <a:pt x="2151" y="245"/>
                  </a:lnTo>
                  <a:lnTo>
                    <a:pt x="2146" y="249"/>
                  </a:lnTo>
                  <a:lnTo>
                    <a:pt x="2135" y="257"/>
                  </a:lnTo>
                  <a:lnTo>
                    <a:pt x="2126" y="268"/>
                  </a:lnTo>
                  <a:lnTo>
                    <a:pt x="2118" y="279"/>
                  </a:lnTo>
                  <a:lnTo>
                    <a:pt x="2110" y="289"/>
                  </a:lnTo>
                  <a:lnTo>
                    <a:pt x="2103" y="300"/>
                  </a:lnTo>
                  <a:lnTo>
                    <a:pt x="2094" y="308"/>
                  </a:lnTo>
                  <a:lnTo>
                    <a:pt x="2084" y="315"/>
                  </a:lnTo>
                  <a:lnTo>
                    <a:pt x="2075" y="321"/>
                  </a:lnTo>
                  <a:lnTo>
                    <a:pt x="2066" y="325"/>
                  </a:lnTo>
                  <a:lnTo>
                    <a:pt x="2055" y="329"/>
                  </a:lnTo>
                  <a:lnTo>
                    <a:pt x="2046" y="333"/>
                  </a:lnTo>
                  <a:lnTo>
                    <a:pt x="2038" y="339"/>
                  </a:lnTo>
                  <a:lnTo>
                    <a:pt x="2028" y="347"/>
                  </a:lnTo>
                  <a:lnTo>
                    <a:pt x="2022" y="356"/>
                  </a:lnTo>
                  <a:lnTo>
                    <a:pt x="2018" y="361"/>
                  </a:lnTo>
                  <a:lnTo>
                    <a:pt x="2014" y="368"/>
                  </a:lnTo>
                  <a:lnTo>
                    <a:pt x="2011" y="376"/>
                  </a:lnTo>
                  <a:lnTo>
                    <a:pt x="2008" y="383"/>
                  </a:lnTo>
                  <a:lnTo>
                    <a:pt x="2003" y="399"/>
                  </a:lnTo>
                  <a:lnTo>
                    <a:pt x="1999" y="416"/>
                  </a:lnTo>
                  <a:lnTo>
                    <a:pt x="1994" y="433"/>
                  </a:lnTo>
                  <a:lnTo>
                    <a:pt x="1987" y="449"/>
                  </a:lnTo>
                  <a:lnTo>
                    <a:pt x="1984" y="456"/>
                  </a:lnTo>
                  <a:lnTo>
                    <a:pt x="1979" y="464"/>
                  </a:lnTo>
                  <a:lnTo>
                    <a:pt x="1974" y="471"/>
                  </a:lnTo>
                  <a:lnTo>
                    <a:pt x="1967" y="476"/>
                  </a:lnTo>
                  <a:lnTo>
                    <a:pt x="1952" y="484"/>
                  </a:lnTo>
                  <a:lnTo>
                    <a:pt x="1938" y="489"/>
                  </a:lnTo>
                  <a:lnTo>
                    <a:pt x="1930" y="493"/>
                  </a:lnTo>
                  <a:lnTo>
                    <a:pt x="1922" y="499"/>
                  </a:lnTo>
                  <a:lnTo>
                    <a:pt x="1914" y="504"/>
                  </a:lnTo>
                  <a:lnTo>
                    <a:pt x="1907" y="512"/>
                  </a:lnTo>
                  <a:lnTo>
                    <a:pt x="1902" y="517"/>
                  </a:lnTo>
                  <a:lnTo>
                    <a:pt x="1896" y="524"/>
                  </a:lnTo>
                  <a:lnTo>
                    <a:pt x="1892" y="531"/>
                  </a:lnTo>
                  <a:lnTo>
                    <a:pt x="1887" y="537"/>
                  </a:lnTo>
                  <a:lnTo>
                    <a:pt x="1883" y="544"/>
                  </a:lnTo>
                  <a:lnTo>
                    <a:pt x="1876" y="549"/>
                  </a:lnTo>
                  <a:lnTo>
                    <a:pt x="1872" y="552"/>
                  </a:lnTo>
                  <a:lnTo>
                    <a:pt x="1868" y="553"/>
                  </a:lnTo>
                  <a:lnTo>
                    <a:pt x="1864" y="555"/>
                  </a:lnTo>
                  <a:lnTo>
                    <a:pt x="1859" y="555"/>
                  </a:lnTo>
                  <a:lnTo>
                    <a:pt x="1846" y="553"/>
                  </a:lnTo>
                  <a:lnTo>
                    <a:pt x="1835" y="552"/>
                  </a:lnTo>
                  <a:lnTo>
                    <a:pt x="1826" y="548"/>
                  </a:lnTo>
                  <a:lnTo>
                    <a:pt x="1818" y="543"/>
                  </a:lnTo>
                  <a:lnTo>
                    <a:pt x="1804" y="532"/>
                  </a:lnTo>
                  <a:lnTo>
                    <a:pt x="1792" y="519"/>
                  </a:lnTo>
                  <a:lnTo>
                    <a:pt x="1782" y="505"/>
                  </a:lnTo>
                  <a:lnTo>
                    <a:pt x="1767" y="493"/>
                  </a:lnTo>
                  <a:lnTo>
                    <a:pt x="1759" y="489"/>
                  </a:lnTo>
                  <a:lnTo>
                    <a:pt x="1750" y="485"/>
                  </a:lnTo>
                  <a:lnTo>
                    <a:pt x="1739" y="483"/>
                  </a:lnTo>
                  <a:lnTo>
                    <a:pt x="1727" y="483"/>
                  </a:lnTo>
                  <a:lnTo>
                    <a:pt x="1717" y="484"/>
                  </a:lnTo>
                  <a:lnTo>
                    <a:pt x="1707" y="487"/>
                  </a:lnTo>
                  <a:lnTo>
                    <a:pt x="1701" y="492"/>
                  </a:lnTo>
                  <a:lnTo>
                    <a:pt x="1693" y="497"/>
                  </a:lnTo>
                  <a:lnTo>
                    <a:pt x="1685" y="503"/>
                  </a:lnTo>
                  <a:lnTo>
                    <a:pt x="1677" y="508"/>
                  </a:lnTo>
                  <a:lnTo>
                    <a:pt x="1666" y="511"/>
                  </a:lnTo>
                  <a:lnTo>
                    <a:pt x="1654" y="512"/>
                  </a:lnTo>
                  <a:lnTo>
                    <a:pt x="1643" y="512"/>
                  </a:lnTo>
                  <a:lnTo>
                    <a:pt x="1633" y="509"/>
                  </a:lnTo>
                  <a:lnTo>
                    <a:pt x="1622" y="505"/>
                  </a:lnTo>
                  <a:lnTo>
                    <a:pt x="1613" y="500"/>
                  </a:lnTo>
                  <a:lnTo>
                    <a:pt x="1605" y="492"/>
                  </a:lnTo>
                  <a:lnTo>
                    <a:pt x="1599" y="484"/>
                  </a:lnTo>
                  <a:lnTo>
                    <a:pt x="1597" y="480"/>
                  </a:lnTo>
                  <a:lnTo>
                    <a:pt x="1595" y="475"/>
                  </a:lnTo>
                  <a:lnTo>
                    <a:pt x="1594" y="469"/>
                  </a:lnTo>
                  <a:lnTo>
                    <a:pt x="1594" y="464"/>
                  </a:lnTo>
                  <a:lnTo>
                    <a:pt x="1594" y="456"/>
                  </a:lnTo>
                  <a:lnTo>
                    <a:pt x="1595" y="449"/>
                  </a:lnTo>
                  <a:lnTo>
                    <a:pt x="1598" y="443"/>
                  </a:lnTo>
                  <a:lnTo>
                    <a:pt x="1601" y="436"/>
                  </a:lnTo>
                  <a:lnTo>
                    <a:pt x="1607" y="424"/>
                  </a:lnTo>
                  <a:lnTo>
                    <a:pt x="1615" y="413"/>
                  </a:lnTo>
                  <a:lnTo>
                    <a:pt x="1623" y="401"/>
                  </a:lnTo>
                  <a:lnTo>
                    <a:pt x="1630" y="389"/>
                  </a:lnTo>
                  <a:lnTo>
                    <a:pt x="1633" y="383"/>
                  </a:lnTo>
                  <a:lnTo>
                    <a:pt x="1634" y="376"/>
                  </a:lnTo>
                  <a:lnTo>
                    <a:pt x="1635" y="369"/>
                  </a:lnTo>
                  <a:lnTo>
                    <a:pt x="1637" y="361"/>
                  </a:lnTo>
                  <a:lnTo>
                    <a:pt x="1635" y="353"/>
                  </a:lnTo>
                  <a:lnTo>
                    <a:pt x="1633" y="347"/>
                  </a:lnTo>
                  <a:lnTo>
                    <a:pt x="1629" y="340"/>
                  </a:lnTo>
                  <a:lnTo>
                    <a:pt x="1625" y="333"/>
                  </a:lnTo>
                  <a:lnTo>
                    <a:pt x="1619" y="328"/>
                  </a:lnTo>
                  <a:lnTo>
                    <a:pt x="1617" y="320"/>
                  </a:lnTo>
                  <a:lnTo>
                    <a:pt x="1613" y="312"/>
                  </a:lnTo>
                  <a:lnTo>
                    <a:pt x="1613" y="301"/>
                  </a:lnTo>
                  <a:lnTo>
                    <a:pt x="1613" y="295"/>
                  </a:lnTo>
                  <a:lnTo>
                    <a:pt x="1617" y="289"/>
                  </a:lnTo>
                  <a:lnTo>
                    <a:pt x="1621" y="285"/>
                  </a:lnTo>
                  <a:lnTo>
                    <a:pt x="1625" y="280"/>
                  </a:lnTo>
                  <a:lnTo>
                    <a:pt x="1630" y="276"/>
                  </a:lnTo>
                  <a:lnTo>
                    <a:pt x="1635" y="271"/>
                  </a:lnTo>
                  <a:lnTo>
                    <a:pt x="1639" y="265"/>
                  </a:lnTo>
                  <a:lnTo>
                    <a:pt x="1642" y="260"/>
                  </a:lnTo>
                  <a:lnTo>
                    <a:pt x="1657" y="213"/>
                  </a:lnTo>
                  <a:lnTo>
                    <a:pt x="1670" y="165"/>
                  </a:lnTo>
                  <a:lnTo>
                    <a:pt x="1675" y="142"/>
                  </a:lnTo>
                  <a:lnTo>
                    <a:pt x="1681" y="116"/>
                  </a:lnTo>
                  <a:lnTo>
                    <a:pt x="1683" y="92"/>
                  </a:lnTo>
                  <a:lnTo>
                    <a:pt x="1685" y="67"/>
                  </a:lnTo>
                  <a:lnTo>
                    <a:pt x="1683" y="50"/>
                  </a:lnTo>
                  <a:lnTo>
                    <a:pt x="1682" y="36"/>
                  </a:lnTo>
                  <a:lnTo>
                    <a:pt x="1681" y="30"/>
                  </a:lnTo>
                  <a:lnTo>
                    <a:pt x="1678" y="24"/>
                  </a:lnTo>
                  <a:lnTo>
                    <a:pt x="1675" y="20"/>
                  </a:lnTo>
                  <a:lnTo>
                    <a:pt x="1671" y="16"/>
                  </a:lnTo>
                  <a:lnTo>
                    <a:pt x="1667" y="12"/>
                  </a:lnTo>
                  <a:lnTo>
                    <a:pt x="1663" y="8"/>
                  </a:lnTo>
                  <a:lnTo>
                    <a:pt x="1658" y="6"/>
                  </a:lnTo>
                  <a:lnTo>
                    <a:pt x="1651" y="4"/>
                  </a:lnTo>
                  <a:lnTo>
                    <a:pt x="1637" y="2"/>
                  </a:lnTo>
                  <a:lnTo>
                    <a:pt x="1618" y="0"/>
                  </a:lnTo>
                  <a:lnTo>
                    <a:pt x="1605" y="2"/>
                  </a:lnTo>
                  <a:lnTo>
                    <a:pt x="1591" y="3"/>
                  </a:lnTo>
                  <a:lnTo>
                    <a:pt x="1578" y="6"/>
                  </a:lnTo>
                  <a:lnTo>
                    <a:pt x="1567" y="10"/>
                  </a:lnTo>
                  <a:lnTo>
                    <a:pt x="1555" y="15"/>
                  </a:lnTo>
                  <a:lnTo>
                    <a:pt x="1546" y="20"/>
                  </a:lnTo>
                  <a:lnTo>
                    <a:pt x="1535" y="27"/>
                  </a:lnTo>
                  <a:lnTo>
                    <a:pt x="1526" y="34"/>
                  </a:lnTo>
                  <a:lnTo>
                    <a:pt x="1509" y="50"/>
                  </a:lnTo>
                  <a:lnTo>
                    <a:pt x="1493" y="67"/>
                  </a:lnTo>
                  <a:lnTo>
                    <a:pt x="1477" y="84"/>
                  </a:lnTo>
                  <a:lnTo>
                    <a:pt x="1462" y="103"/>
                  </a:lnTo>
                  <a:lnTo>
                    <a:pt x="1419" y="103"/>
                  </a:lnTo>
                  <a:lnTo>
                    <a:pt x="1399" y="111"/>
                  </a:lnTo>
                  <a:lnTo>
                    <a:pt x="1381" y="122"/>
                  </a:lnTo>
                  <a:lnTo>
                    <a:pt x="1365" y="132"/>
                  </a:lnTo>
                  <a:lnTo>
                    <a:pt x="1350" y="143"/>
                  </a:lnTo>
                  <a:lnTo>
                    <a:pt x="1337" y="156"/>
                  </a:lnTo>
                  <a:lnTo>
                    <a:pt x="1323" y="168"/>
                  </a:lnTo>
                  <a:lnTo>
                    <a:pt x="1311" y="183"/>
                  </a:lnTo>
                  <a:lnTo>
                    <a:pt x="1301" y="196"/>
                  </a:lnTo>
                  <a:lnTo>
                    <a:pt x="1278" y="225"/>
                  </a:lnTo>
                  <a:lnTo>
                    <a:pt x="1254" y="253"/>
                  </a:lnTo>
                  <a:lnTo>
                    <a:pt x="1239" y="268"/>
                  </a:lnTo>
                  <a:lnTo>
                    <a:pt x="1225" y="281"/>
                  </a:lnTo>
                  <a:lnTo>
                    <a:pt x="1209" y="295"/>
                  </a:lnTo>
                  <a:lnTo>
                    <a:pt x="1190" y="308"/>
                  </a:lnTo>
                  <a:lnTo>
                    <a:pt x="1183" y="313"/>
                  </a:lnTo>
                  <a:lnTo>
                    <a:pt x="1175" y="317"/>
                  </a:lnTo>
                  <a:lnTo>
                    <a:pt x="1167" y="320"/>
                  </a:lnTo>
                  <a:lnTo>
                    <a:pt x="1158" y="324"/>
                  </a:lnTo>
                  <a:lnTo>
                    <a:pt x="1139" y="328"/>
                  </a:lnTo>
                  <a:lnTo>
                    <a:pt x="1119" y="332"/>
                  </a:lnTo>
                  <a:lnTo>
                    <a:pt x="1099" y="335"/>
                  </a:lnTo>
                  <a:lnTo>
                    <a:pt x="1081" y="340"/>
                  </a:lnTo>
                  <a:lnTo>
                    <a:pt x="1073" y="343"/>
                  </a:lnTo>
                  <a:lnTo>
                    <a:pt x="1065" y="347"/>
                  </a:lnTo>
                  <a:lnTo>
                    <a:pt x="1058" y="351"/>
                  </a:lnTo>
                  <a:lnTo>
                    <a:pt x="1053" y="356"/>
                  </a:lnTo>
                  <a:lnTo>
                    <a:pt x="1020" y="391"/>
                  </a:lnTo>
                  <a:lnTo>
                    <a:pt x="984" y="425"/>
                  </a:lnTo>
                  <a:lnTo>
                    <a:pt x="974" y="433"/>
                  </a:lnTo>
                  <a:lnTo>
                    <a:pt x="962" y="441"/>
                  </a:lnTo>
                  <a:lnTo>
                    <a:pt x="952" y="448"/>
                  </a:lnTo>
                  <a:lnTo>
                    <a:pt x="940" y="453"/>
                  </a:lnTo>
                  <a:lnTo>
                    <a:pt x="926" y="457"/>
                  </a:lnTo>
                  <a:lnTo>
                    <a:pt x="913" y="461"/>
                  </a:lnTo>
                  <a:lnTo>
                    <a:pt x="898" y="464"/>
                  </a:lnTo>
                  <a:lnTo>
                    <a:pt x="884" y="464"/>
                  </a:lnTo>
                  <a:lnTo>
                    <a:pt x="868" y="465"/>
                  </a:lnTo>
                  <a:lnTo>
                    <a:pt x="852" y="467"/>
                  </a:lnTo>
                  <a:lnTo>
                    <a:pt x="837" y="469"/>
                  </a:lnTo>
                  <a:lnTo>
                    <a:pt x="824" y="472"/>
                  </a:lnTo>
                  <a:lnTo>
                    <a:pt x="798" y="481"/>
                  </a:lnTo>
                  <a:lnTo>
                    <a:pt x="774" y="491"/>
                  </a:lnTo>
                  <a:lnTo>
                    <a:pt x="750" y="501"/>
                  </a:lnTo>
                  <a:lnTo>
                    <a:pt x="726" y="509"/>
                  </a:lnTo>
                  <a:lnTo>
                    <a:pt x="713" y="513"/>
                  </a:lnTo>
                  <a:lnTo>
                    <a:pt x="701" y="516"/>
                  </a:lnTo>
                  <a:lnTo>
                    <a:pt x="688" y="517"/>
                  </a:lnTo>
                  <a:lnTo>
                    <a:pt x="673" y="519"/>
                  </a:lnTo>
                  <a:lnTo>
                    <a:pt x="660" y="517"/>
                  </a:lnTo>
                  <a:lnTo>
                    <a:pt x="648" y="516"/>
                  </a:lnTo>
                  <a:lnTo>
                    <a:pt x="637" y="512"/>
                  </a:lnTo>
                  <a:lnTo>
                    <a:pt x="628" y="508"/>
                  </a:lnTo>
                  <a:lnTo>
                    <a:pt x="609" y="497"/>
                  </a:lnTo>
                  <a:lnTo>
                    <a:pt x="593" y="485"/>
                  </a:lnTo>
                  <a:lnTo>
                    <a:pt x="577" y="473"/>
                  </a:lnTo>
                  <a:lnTo>
                    <a:pt x="561" y="463"/>
                  </a:lnTo>
                  <a:lnTo>
                    <a:pt x="552" y="459"/>
                  </a:lnTo>
                  <a:lnTo>
                    <a:pt x="544" y="455"/>
                  </a:lnTo>
                  <a:lnTo>
                    <a:pt x="533" y="453"/>
                  </a:lnTo>
                  <a:lnTo>
                    <a:pt x="522" y="452"/>
                  </a:lnTo>
                  <a:lnTo>
                    <a:pt x="502" y="453"/>
                  </a:lnTo>
                  <a:lnTo>
                    <a:pt x="485" y="457"/>
                  </a:lnTo>
                  <a:lnTo>
                    <a:pt x="468" y="461"/>
                  </a:lnTo>
                  <a:lnTo>
                    <a:pt x="452" y="467"/>
                  </a:lnTo>
                  <a:lnTo>
                    <a:pt x="436" y="473"/>
                  </a:lnTo>
                  <a:lnTo>
                    <a:pt x="421" y="477"/>
                  </a:lnTo>
                  <a:lnTo>
                    <a:pt x="405" y="481"/>
                  </a:lnTo>
                  <a:lnTo>
                    <a:pt x="390" y="483"/>
                  </a:lnTo>
                  <a:lnTo>
                    <a:pt x="356" y="483"/>
                  </a:lnTo>
                  <a:lnTo>
                    <a:pt x="329" y="483"/>
                  </a:lnTo>
                  <a:lnTo>
                    <a:pt x="305" y="483"/>
                  </a:lnTo>
                  <a:lnTo>
                    <a:pt x="284" y="483"/>
                  </a:lnTo>
                  <a:lnTo>
                    <a:pt x="260" y="483"/>
                  </a:lnTo>
                  <a:lnTo>
                    <a:pt x="233" y="483"/>
                  </a:lnTo>
                  <a:lnTo>
                    <a:pt x="199" y="483"/>
                  </a:lnTo>
                  <a:lnTo>
                    <a:pt x="155" y="483"/>
                  </a:lnTo>
                  <a:lnTo>
                    <a:pt x="143" y="483"/>
                  </a:lnTo>
                  <a:lnTo>
                    <a:pt x="132" y="484"/>
                  </a:lnTo>
                  <a:lnTo>
                    <a:pt x="121" y="487"/>
                  </a:lnTo>
                  <a:lnTo>
                    <a:pt x="111" y="489"/>
                  </a:lnTo>
                  <a:lnTo>
                    <a:pt x="101" y="493"/>
                  </a:lnTo>
                  <a:lnTo>
                    <a:pt x="92" y="497"/>
                  </a:lnTo>
                  <a:lnTo>
                    <a:pt x="84" y="503"/>
                  </a:lnTo>
                  <a:lnTo>
                    <a:pt x="76" y="508"/>
                  </a:lnTo>
                  <a:lnTo>
                    <a:pt x="61" y="520"/>
                  </a:lnTo>
                  <a:lnTo>
                    <a:pt x="49" y="533"/>
                  </a:lnTo>
                  <a:lnTo>
                    <a:pt x="39" y="547"/>
                  </a:lnTo>
                  <a:lnTo>
                    <a:pt x="28" y="560"/>
                  </a:lnTo>
                  <a:lnTo>
                    <a:pt x="20" y="557"/>
                  </a:lnTo>
                  <a:lnTo>
                    <a:pt x="16" y="555"/>
                  </a:lnTo>
                  <a:lnTo>
                    <a:pt x="11" y="564"/>
                  </a:lnTo>
                  <a:lnTo>
                    <a:pt x="1" y="588"/>
                  </a:lnTo>
                  <a:lnTo>
                    <a:pt x="0" y="596"/>
                  </a:lnTo>
                  <a:lnTo>
                    <a:pt x="0" y="603"/>
                  </a:lnTo>
                  <a:lnTo>
                    <a:pt x="0" y="611"/>
                  </a:lnTo>
                  <a:lnTo>
                    <a:pt x="1" y="619"/>
                  </a:lnTo>
                  <a:lnTo>
                    <a:pt x="4" y="625"/>
                  </a:lnTo>
                  <a:lnTo>
                    <a:pt x="8" y="632"/>
                  </a:lnTo>
                  <a:lnTo>
                    <a:pt x="15" y="639"/>
                  </a:lnTo>
                  <a:lnTo>
                    <a:pt x="23" y="645"/>
                  </a:lnTo>
                  <a:lnTo>
                    <a:pt x="40" y="652"/>
                  </a:lnTo>
                  <a:lnTo>
                    <a:pt x="51" y="656"/>
                  </a:lnTo>
                  <a:lnTo>
                    <a:pt x="57" y="657"/>
                  </a:lnTo>
                  <a:lnTo>
                    <a:pt x="63" y="657"/>
                  </a:lnTo>
                  <a:lnTo>
                    <a:pt x="67" y="657"/>
                  </a:lnTo>
                  <a:lnTo>
                    <a:pt x="71" y="659"/>
                  </a:lnTo>
                  <a:lnTo>
                    <a:pt x="77" y="663"/>
                  </a:lnTo>
                  <a:lnTo>
                    <a:pt x="89" y="669"/>
                  </a:lnTo>
                  <a:lnTo>
                    <a:pt x="101" y="676"/>
                  </a:lnTo>
                  <a:lnTo>
                    <a:pt x="113" y="681"/>
                  </a:lnTo>
                  <a:lnTo>
                    <a:pt x="124" y="684"/>
                  </a:lnTo>
                  <a:lnTo>
                    <a:pt x="131" y="687"/>
                  </a:lnTo>
                  <a:lnTo>
                    <a:pt x="133" y="688"/>
                  </a:lnTo>
                  <a:lnTo>
                    <a:pt x="135" y="689"/>
                  </a:lnTo>
                  <a:lnTo>
                    <a:pt x="135" y="692"/>
                  </a:lnTo>
                  <a:lnTo>
                    <a:pt x="135" y="695"/>
                  </a:lnTo>
                  <a:lnTo>
                    <a:pt x="129" y="704"/>
                  </a:lnTo>
                  <a:lnTo>
                    <a:pt x="119" y="717"/>
                  </a:lnTo>
                  <a:lnTo>
                    <a:pt x="113" y="727"/>
                  </a:lnTo>
                  <a:lnTo>
                    <a:pt x="109" y="734"/>
                  </a:lnTo>
                  <a:lnTo>
                    <a:pt x="108" y="742"/>
                  </a:lnTo>
                  <a:lnTo>
                    <a:pt x="108" y="750"/>
                  </a:lnTo>
                  <a:lnTo>
                    <a:pt x="109" y="757"/>
                  </a:lnTo>
                  <a:lnTo>
                    <a:pt x="112" y="764"/>
                  </a:lnTo>
                  <a:lnTo>
                    <a:pt x="116" y="769"/>
                  </a:lnTo>
                  <a:lnTo>
                    <a:pt x="121" y="773"/>
                  </a:lnTo>
                  <a:lnTo>
                    <a:pt x="128" y="777"/>
                  </a:lnTo>
                  <a:lnTo>
                    <a:pt x="135" y="778"/>
                  </a:lnTo>
                  <a:lnTo>
                    <a:pt x="143" y="778"/>
                  </a:lnTo>
                  <a:lnTo>
                    <a:pt x="152" y="777"/>
                  </a:lnTo>
                  <a:lnTo>
                    <a:pt x="161" y="774"/>
                  </a:lnTo>
                  <a:lnTo>
                    <a:pt x="171" y="769"/>
                  </a:lnTo>
                  <a:lnTo>
                    <a:pt x="181" y="762"/>
                  </a:lnTo>
                  <a:lnTo>
                    <a:pt x="191" y="753"/>
                  </a:lnTo>
                  <a:lnTo>
                    <a:pt x="208" y="736"/>
                  </a:lnTo>
                  <a:lnTo>
                    <a:pt x="223" y="724"/>
                  </a:lnTo>
                  <a:lnTo>
                    <a:pt x="229" y="720"/>
                  </a:lnTo>
                  <a:lnTo>
                    <a:pt x="236" y="716"/>
                  </a:lnTo>
                  <a:lnTo>
                    <a:pt x="243" y="715"/>
                  </a:lnTo>
                  <a:lnTo>
                    <a:pt x="248" y="715"/>
                  </a:lnTo>
                  <a:lnTo>
                    <a:pt x="253" y="715"/>
                  </a:lnTo>
                  <a:lnTo>
                    <a:pt x="257" y="716"/>
                  </a:lnTo>
                  <a:lnTo>
                    <a:pt x="263" y="719"/>
                  </a:lnTo>
                  <a:lnTo>
                    <a:pt x="267" y="723"/>
                  </a:lnTo>
                  <a:lnTo>
                    <a:pt x="274" y="733"/>
                  </a:lnTo>
                  <a:lnTo>
                    <a:pt x="281" y="746"/>
                  </a:lnTo>
                  <a:lnTo>
                    <a:pt x="290" y="761"/>
                  </a:lnTo>
                  <a:lnTo>
                    <a:pt x="298" y="774"/>
                  </a:lnTo>
                  <a:lnTo>
                    <a:pt x="306" y="782"/>
                  </a:lnTo>
                  <a:lnTo>
                    <a:pt x="314" y="789"/>
                  </a:lnTo>
                  <a:lnTo>
                    <a:pt x="318" y="790"/>
                  </a:lnTo>
                  <a:lnTo>
                    <a:pt x="322" y="792"/>
                  </a:lnTo>
                  <a:lnTo>
                    <a:pt x="326" y="792"/>
                  </a:lnTo>
                  <a:lnTo>
                    <a:pt x="330" y="792"/>
                  </a:lnTo>
                  <a:lnTo>
                    <a:pt x="334" y="789"/>
                  </a:lnTo>
                  <a:lnTo>
                    <a:pt x="338" y="786"/>
                  </a:lnTo>
                  <a:lnTo>
                    <a:pt x="344" y="782"/>
                  </a:lnTo>
                  <a:lnTo>
                    <a:pt x="348" y="777"/>
                  </a:lnTo>
                  <a:lnTo>
                    <a:pt x="352" y="773"/>
                  </a:lnTo>
                  <a:lnTo>
                    <a:pt x="356" y="770"/>
                  </a:lnTo>
                  <a:lnTo>
                    <a:pt x="361" y="768"/>
                  </a:lnTo>
                  <a:lnTo>
                    <a:pt x="365" y="766"/>
                  </a:lnTo>
                  <a:lnTo>
                    <a:pt x="369" y="765"/>
                  </a:lnTo>
                  <a:lnTo>
                    <a:pt x="373" y="765"/>
                  </a:lnTo>
                  <a:lnTo>
                    <a:pt x="377" y="766"/>
                  </a:lnTo>
                  <a:lnTo>
                    <a:pt x="381" y="769"/>
                  </a:lnTo>
                  <a:lnTo>
                    <a:pt x="389" y="776"/>
                  </a:lnTo>
                  <a:lnTo>
                    <a:pt x="397" y="786"/>
                  </a:lnTo>
                  <a:lnTo>
                    <a:pt x="405" y="801"/>
                  </a:lnTo>
                  <a:lnTo>
                    <a:pt x="414" y="820"/>
                  </a:lnTo>
                  <a:lnTo>
                    <a:pt x="424" y="837"/>
                  </a:lnTo>
                  <a:lnTo>
                    <a:pt x="433" y="852"/>
                  </a:lnTo>
                  <a:lnTo>
                    <a:pt x="440" y="866"/>
                  </a:lnTo>
                  <a:lnTo>
                    <a:pt x="445" y="880"/>
                  </a:lnTo>
                  <a:lnTo>
                    <a:pt x="448" y="892"/>
                  </a:lnTo>
                  <a:lnTo>
                    <a:pt x="449" y="902"/>
                  </a:lnTo>
                  <a:lnTo>
                    <a:pt x="448" y="913"/>
                  </a:lnTo>
                  <a:lnTo>
                    <a:pt x="444" y="922"/>
                  </a:lnTo>
                  <a:lnTo>
                    <a:pt x="442" y="925"/>
                  </a:lnTo>
                  <a:lnTo>
                    <a:pt x="441" y="928"/>
                  </a:lnTo>
                  <a:lnTo>
                    <a:pt x="441" y="930"/>
                  </a:lnTo>
                  <a:lnTo>
                    <a:pt x="441" y="933"/>
                  </a:lnTo>
                  <a:lnTo>
                    <a:pt x="444" y="938"/>
                  </a:lnTo>
                  <a:lnTo>
                    <a:pt x="449" y="944"/>
                  </a:lnTo>
                  <a:lnTo>
                    <a:pt x="465" y="954"/>
                  </a:lnTo>
                  <a:lnTo>
                    <a:pt x="486" y="970"/>
                  </a:lnTo>
                  <a:lnTo>
                    <a:pt x="497" y="978"/>
                  </a:lnTo>
                  <a:lnTo>
                    <a:pt x="506" y="986"/>
                  </a:lnTo>
                  <a:lnTo>
                    <a:pt x="513" y="994"/>
                  </a:lnTo>
                  <a:lnTo>
                    <a:pt x="517" y="1001"/>
                  </a:lnTo>
                  <a:lnTo>
                    <a:pt x="518" y="1005"/>
                  </a:lnTo>
                  <a:lnTo>
                    <a:pt x="518" y="1008"/>
                  </a:lnTo>
                  <a:lnTo>
                    <a:pt x="517" y="1012"/>
                  </a:lnTo>
                  <a:lnTo>
                    <a:pt x="516" y="1014"/>
                  </a:lnTo>
                  <a:lnTo>
                    <a:pt x="513" y="1017"/>
                  </a:lnTo>
                  <a:lnTo>
                    <a:pt x="509" y="1020"/>
                  </a:lnTo>
                  <a:lnTo>
                    <a:pt x="504" y="1022"/>
                  </a:lnTo>
                  <a:lnTo>
                    <a:pt x="498" y="1024"/>
                  </a:lnTo>
                  <a:lnTo>
                    <a:pt x="486" y="1029"/>
                  </a:lnTo>
                  <a:lnTo>
                    <a:pt x="478" y="1034"/>
                  </a:lnTo>
                  <a:lnTo>
                    <a:pt x="474" y="1037"/>
                  </a:lnTo>
                  <a:lnTo>
                    <a:pt x="473" y="1041"/>
                  </a:lnTo>
                  <a:lnTo>
                    <a:pt x="472" y="1044"/>
                  </a:lnTo>
                  <a:lnTo>
                    <a:pt x="472" y="1048"/>
                  </a:lnTo>
                  <a:lnTo>
                    <a:pt x="472" y="1052"/>
                  </a:lnTo>
                  <a:lnTo>
                    <a:pt x="473" y="1056"/>
                  </a:lnTo>
                  <a:lnTo>
                    <a:pt x="474" y="1060"/>
                  </a:lnTo>
                  <a:lnTo>
                    <a:pt x="478" y="1064"/>
                  </a:lnTo>
                  <a:lnTo>
                    <a:pt x="486" y="1073"/>
                  </a:lnTo>
                  <a:lnTo>
                    <a:pt x="498" y="1084"/>
                  </a:lnTo>
                  <a:lnTo>
                    <a:pt x="516" y="1105"/>
                  </a:lnTo>
                  <a:lnTo>
                    <a:pt x="528" y="1122"/>
                  </a:lnTo>
                  <a:lnTo>
                    <a:pt x="534" y="1129"/>
                  </a:lnTo>
                  <a:lnTo>
                    <a:pt x="541" y="1137"/>
                  </a:lnTo>
                  <a:lnTo>
                    <a:pt x="549" y="1144"/>
                  </a:lnTo>
                  <a:lnTo>
                    <a:pt x="558" y="1150"/>
                  </a:lnTo>
                  <a:lnTo>
                    <a:pt x="569" y="1158"/>
                  </a:lnTo>
                  <a:lnTo>
                    <a:pt x="578" y="1168"/>
                  </a:lnTo>
                  <a:lnTo>
                    <a:pt x="586" y="1177"/>
                  </a:lnTo>
                  <a:lnTo>
                    <a:pt x="594" y="1188"/>
                  </a:lnTo>
                  <a:lnTo>
                    <a:pt x="604" y="1204"/>
                  </a:lnTo>
                  <a:lnTo>
                    <a:pt x="606" y="1210"/>
                  </a:lnTo>
                  <a:lnTo>
                    <a:pt x="636" y="1189"/>
                  </a:lnTo>
                  <a:lnTo>
                    <a:pt x="665" y="1172"/>
                  </a:lnTo>
                  <a:lnTo>
                    <a:pt x="693" y="1156"/>
                  </a:lnTo>
                  <a:lnTo>
                    <a:pt x="718" y="1142"/>
                  </a:lnTo>
                  <a:lnTo>
                    <a:pt x="744" y="1132"/>
                  </a:lnTo>
                  <a:lnTo>
                    <a:pt x="765" y="1124"/>
                  </a:lnTo>
                  <a:lnTo>
                    <a:pt x="784" y="1118"/>
                  </a:lnTo>
                  <a:lnTo>
                    <a:pt x="800" y="1114"/>
                  </a:lnTo>
                  <a:lnTo>
                    <a:pt x="842" y="1112"/>
                  </a:lnTo>
                  <a:lnTo>
                    <a:pt x="880" y="1109"/>
                  </a:lnTo>
                  <a:lnTo>
                    <a:pt x="912" y="1105"/>
                  </a:lnTo>
                  <a:lnTo>
                    <a:pt x="940" y="1100"/>
                  </a:lnTo>
                  <a:lnTo>
                    <a:pt x="965" y="1096"/>
                  </a:lnTo>
                  <a:lnTo>
                    <a:pt x="985" y="1090"/>
                  </a:lnTo>
                  <a:lnTo>
                    <a:pt x="1002" y="1085"/>
                  </a:lnTo>
                  <a:lnTo>
                    <a:pt x="1018" y="1081"/>
                  </a:lnTo>
                  <a:lnTo>
                    <a:pt x="1041" y="1072"/>
                  </a:lnTo>
                  <a:lnTo>
                    <a:pt x="1057" y="1065"/>
                  </a:lnTo>
                  <a:lnTo>
                    <a:pt x="1063" y="1062"/>
                  </a:lnTo>
                  <a:lnTo>
                    <a:pt x="1070" y="1061"/>
                  </a:lnTo>
                  <a:lnTo>
                    <a:pt x="1075" y="1060"/>
                  </a:lnTo>
                  <a:lnTo>
                    <a:pt x="1082" y="1060"/>
                  </a:lnTo>
                  <a:lnTo>
                    <a:pt x="1107" y="1065"/>
                  </a:lnTo>
                  <a:lnTo>
                    <a:pt x="1133" y="1072"/>
                  </a:lnTo>
                  <a:lnTo>
                    <a:pt x="1158" y="1080"/>
                  </a:lnTo>
                  <a:lnTo>
                    <a:pt x="1183" y="1092"/>
                  </a:lnTo>
                  <a:lnTo>
                    <a:pt x="1209" y="1105"/>
                  </a:lnTo>
                  <a:lnTo>
                    <a:pt x="1235" y="1120"/>
                  </a:lnTo>
                  <a:lnTo>
                    <a:pt x="1261" y="1137"/>
                  </a:lnTo>
                  <a:lnTo>
                    <a:pt x="1287" y="1154"/>
                  </a:lnTo>
                  <a:lnTo>
                    <a:pt x="1313" y="1174"/>
                  </a:lnTo>
                  <a:lnTo>
                    <a:pt x="1338" y="1196"/>
                  </a:lnTo>
                  <a:lnTo>
                    <a:pt x="1365" y="1218"/>
                  </a:lnTo>
                  <a:lnTo>
                    <a:pt x="1390" y="1241"/>
                  </a:lnTo>
                  <a:lnTo>
                    <a:pt x="1441" y="1289"/>
                  </a:lnTo>
                  <a:lnTo>
                    <a:pt x="1490" y="1338"/>
                  </a:lnTo>
                  <a:lnTo>
                    <a:pt x="1586" y="1438"/>
                  </a:lnTo>
                  <a:lnTo>
                    <a:pt x="1674" y="1529"/>
                  </a:lnTo>
                  <a:lnTo>
                    <a:pt x="1714" y="1569"/>
                  </a:lnTo>
                  <a:lnTo>
                    <a:pt x="1751" y="1602"/>
                  </a:lnTo>
                  <a:lnTo>
                    <a:pt x="1769" y="1615"/>
                  </a:lnTo>
                  <a:lnTo>
                    <a:pt x="1786" y="1627"/>
                  </a:lnTo>
                  <a:lnTo>
                    <a:pt x="1802" y="1637"/>
                  </a:lnTo>
                  <a:lnTo>
                    <a:pt x="1816" y="1645"/>
                  </a:lnTo>
                  <a:lnTo>
                    <a:pt x="1826" y="1647"/>
                  </a:lnTo>
                  <a:lnTo>
                    <a:pt x="1835" y="1650"/>
                  </a:lnTo>
                  <a:lnTo>
                    <a:pt x="1843" y="1651"/>
                  </a:lnTo>
                  <a:lnTo>
                    <a:pt x="1851" y="1653"/>
                  </a:lnTo>
                  <a:lnTo>
                    <a:pt x="1859" y="1653"/>
                  </a:lnTo>
                  <a:lnTo>
                    <a:pt x="1868" y="1653"/>
                  </a:lnTo>
                  <a:lnTo>
                    <a:pt x="1875" y="1651"/>
                  </a:lnTo>
                  <a:lnTo>
                    <a:pt x="1883" y="1649"/>
                  </a:lnTo>
                  <a:lnTo>
                    <a:pt x="1899" y="1643"/>
                  </a:lnTo>
                  <a:lnTo>
                    <a:pt x="1915" y="1637"/>
                  </a:lnTo>
                  <a:lnTo>
                    <a:pt x="1930" y="1627"/>
                  </a:lnTo>
                  <a:lnTo>
                    <a:pt x="1944" y="1618"/>
                  </a:lnTo>
                  <a:lnTo>
                    <a:pt x="1976" y="1598"/>
                  </a:lnTo>
                  <a:lnTo>
                    <a:pt x="2008" y="1579"/>
                  </a:lnTo>
                  <a:lnTo>
                    <a:pt x="2026" y="1571"/>
                  </a:lnTo>
                  <a:lnTo>
                    <a:pt x="2043" y="1565"/>
                  </a:lnTo>
                  <a:lnTo>
                    <a:pt x="2062" y="1561"/>
                  </a:lnTo>
                  <a:lnTo>
                    <a:pt x="2082" y="1559"/>
                  </a:lnTo>
                  <a:lnTo>
                    <a:pt x="2119" y="1561"/>
                  </a:lnTo>
                  <a:lnTo>
                    <a:pt x="2152" y="1561"/>
                  </a:lnTo>
                  <a:lnTo>
                    <a:pt x="2184" y="1562"/>
                  </a:lnTo>
                  <a:lnTo>
                    <a:pt x="2212" y="1563"/>
                  </a:lnTo>
                  <a:lnTo>
                    <a:pt x="2239" y="1565"/>
                  </a:lnTo>
                  <a:lnTo>
                    <a:pt x="2262" y="1565"/>
                  </a:lnTo>
                  <a:lnTo>
                    <a:pt x="2282" y="1566"/>
                  </a:lnTo>
                  <a:lnTo>
                    <a:pt x="2299" y="1566"/>
                  </a:lnTo>
                  <a:lnTo>
                    <a:pt x="2323" y="1511"/>
                  </a:lnTo>
                  <a:lnTo>
                    <a:pt x="2335" y="1427"/>
                  </a:lnTo>
                  <a:lnTo>
                    <a:pt x="2359" y="1397"/>
                  </a:lnTo>
                  <a:lnTo>
                    <a:pt x="2362" y="1389"/>
                  </a:lnTo>
                  <a:lnTo>
                    <a:pt x="2364" y="13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5" name="Freeform 91"/>
            <p:cNvSpPr>
              <a:spLocks/>
            </p:cNvSpPr>
            <p:nvPr/>
          </p:nvSpPr>
          <p:spPr bwMode="auto">
            <a:xfrm>
              <a:off x="2807022" y="3359709"/>
              <a:ext cx="1435100" cy="1894916"/>
            </a:xfrm>
            <a:custGeom>
              <a:avLst/>
              <a:gdLst/>
              <a:ahLst/>
              <a:cxnLst>
                <a:cxn ang="0">
                  <a:pos x="2890" y="2777"/>
                </a:cxn>
                <a:cxn ang="0">
                  <a:pos x="2932" y="2536"/>
                </a:cxn>
                <a:cxn ang="0">
                  <a:pos x="2801" y="2252"/>
                </a:cxn>
                <a:cxn ang="0">
                  <a:pos x="2701" y="1789"/>
                </a:cxn>
                <a:cxn ang="0">
                  <a:pos x="2679" y="1485"/>
                </a:cxn>
                <a:cxn ang="0">
                  <a:pos x="2710" y="1238"/>
                </a:cxn>
                <a:cxn ang="0">
                  <a:pos x="2471" y="1098"/>
                </a:cxn>
                <a:cxn ang="0">
                  <a:pos x="2586" y="848"/>
                </a:cxn>
                <a:cxn ang="0">
                  <a:pos x="2533" y="571"/>
                </a:cxn>
                <a:cxn ang="0">
                  <a:pos x="2493" y="392"/>
                </a:cxn>
                <a:cxn ang="0">
                  <a:pos x="2449" y="445"/>
                </a:cxn>
                <a:cxn ang="0">
                  <a:pos x="2270" y="495"/>
                </a:cxn>
                <a:cxn ang="0">
                  <a:pos x="2409" y="717"/>
                </a:cxn>
                <a:cxn ang="0">
                  <a:pos x="2193" y="515"/>
                </a:cxn>
                <a:cxn ang="0">
                  <a:pos x="2231" y="127"/>
                </a:cxn>
                <a:cxn ang="0">
                  <a:pos x="2057" y="388"/>
                </a:cxn>
                <a:cxn ang="0">
                  <a:pos x="2020" y="772"/>
                </a:cxn>
                <a:cxn ang="0">
                  <a:pos x="2056" y="1109"/>
                </a:cxn>
                <a:cxn ang="0">
                  <a:pos x="2251" y="1369"/>
                </a:cxn>
                <a:cxn ang="0">
                  <a:pos x="2313" y="1575"/>
                </a:cxn>
                <a:cxn ang="0">
                  <a:pos x="2197" y="1277"/>
                </a:cxn>
                <a:cxn ang="0">
                  <a:pos x="1958" y="1196"/>
                </a:cxn>
                <a:cxn ang="0">
                  <a:pos x="1780" y="1638"/>
                </a:cxn>
                <a:cxn ang="0">
                  <a:pos x="1500" y="1687"/>
                </a:cxn>
                <a:cxn ang="0">
                  <a:pos x="1349" y="1541"/>
                </a:cxn>
                <a:cxn ang="0">
                  <a:pos x="1529" y="1670"/>
                </a:cxn>
                <a:cxn ang="0">
                  <a:pos x="1814" y="1351"/>
                </a:cxn>
                <a:cxn ang="0">
                  <a:pos x="1828" y="1094"/>
                </a:cxn>
                <a:cxn ang="0">
                  <a:pos x="1953" y="548"/>
                </a:cxn>
                <a:cxn ang="0">
                  <a:pos x="2066" y="220"/>
                </a:cxn>
                <a:cxn ang="0">
                  <a:pos x="1824" y="8"/>
                </a:cxn>
                <a:cxn ang="0">
                  <a:pos x="1500" y="365"/>
                </a:cxn>
                <a:cxn ang="0">
                  <a:pos x="1481" y="563"/>
                </a:cxn>
                <a:cxn ang="0">
                  <a:pos x="1404" y="816"/>
                </a:cxn>
                <a:cxn ang="0">
                  <a:pos x="1457" y="1104"/>
                </a:cxn>
                <a:cxn ang="0">
                  <a:pos x="1187" y="798"/>
                </a:cxn>
                <a:cxn ang="0">
                  <a:pos x="1177" y="1033"/>
                </a:cxn>
                <a:cxn ang="0">
                  <a:pos x="1156" y="1240"/>
                </a:cxn>
                <a:cxn ang="0">
                  <a:pos x="660" y="1527"/>
                </a:cxn>
                <a:cxn ang="0">
                  <a:pos x="379" y="1629"/>
                </a:cxn>
                <a:cxn ang="0">
                  <a:pos x="146" y="1930"/>
                </a:cxn>
                <a:cxn ang="0">
                  <a:pos x="16" y="2300"/>
                </a:cxn>
                <a:cxn ang="0">
                  <a:pos x="254" y="2647"/>
                </a:cxn>
                <a:cxn ang="0">
                  <a:pos x="240" y="3080"/>
                </a:cxn>
                <a:cxn ang="0">
                  <a:pos x="388" y="3510"/>
                </a:cxn>
                <a:cxn ang="0">
                  <a:pos x="144" y="3763"/>
                </a:cxn>
                <a:cxn ang="0">
                  <a:pos x="207" y="3994"/>
                </a:cxn>
                <a:cxn ang="0">
                  <a:pos x="459" y="4158"/>
                </a:cxn>
                <a:cxn ang="0">
                  <a:pos x="655" y="4334"/>
                </a:cxn>
                <a:cxn ang="0">
                  <a:pos x="787" y="4202"/>
                </a:cxn>
                <a:cxn ang="0">
                  <a:pos x="980" y="4031"/>
                </a:cxn>
                <a:cxn ang="0">
                  <a:pos x="900" y="3897"/>
                </a:cxn>
                <a:cxn ang="0">
                  <a:pos x="897" y="3757"/>
                </a:cxn>
                <a:cxn ang="0">
                  <a:pos x="1029" y="3667"/>
                </a:cxn>
                <a:cxn ang="0">
                  <a:pos x="1275" y="3761"/>
                </a:cxn>
                <a:cxn ang="0">
                  <a:pos x="1584" y="3653"/>
                </a:cxn>
                <a:cxn ang="0">
                  <a:pos x="1805" y="3325"/>
                </a:cxn>
                <a:cxn ang="0">
                  <a:pos x="2195" y="3293"/>
                </a:cxn>
                <a:cxn ang="0">
                  <a:pos x="2530" y="3316"/>
                </a:cxn>
                <a:cxn ang="0">
                  <a:pos x="2725" y="3294"/>
                </a:cxn>
                <a:cxn ang="0">
                  <a:pos x="2854" y="3138"/>
                </a:cxn>
              </a:cxnLst>
              <a:rect l="0" t="0" r="r" b="b"/>
              <a:pathLst>
                <a:path w="2958" h="4375">
                  <a:moveTo>
                    <a:pt x="2753" y="2965"/>
                  </a:moveTo>
                  <a:lnTo>
                    <a:pt x="2765" y="2963"/>
                  </a:lnTo>
                  <a:lnTo>
                    <a:pt x="2774" y="2963"/>
                  </a:lnTo>
                  <a:lnTo>
                    <a:pt x="2778" y="2961"/>
                  </a:lnTo>
                  <a:lnTo>
                    <a:pt x="2783" y="2960"/>
                  </a:lnTo>
                  <a:lnTo>
                    <a:pt x="2789" y="2957"/>
                  </a:lnTo>
                  <a:lnTo>
                    <a:pt x="2795" y="2953"/>
                  </a:lnTo>
                  <a:lnTo>
                    <a:pt x="2801" y="2948"/>
                  </a:lnTo>
                  <a:lnTo>
                    <a:pt x="2805" y="2941"/>
                  </a:lnTo>
                  <a:lnTo>
                    <a:pt x="2807" y="2933"/>
                  </a:lnTo>
                  <a:lnTo>
                    <a:pt x="2809" y="2924"/>
                  </a:lnTo>
                  <a:lnTo>
                    <a:pt x="2810" y="2904"/>
                  </a:lnTo>
                  <a:lnTo>
                    <a:pt x="2813" y="2881"/>
                  </a:lnTo>
                  <a:lnTo>
                    <a:pt x="2815" y="2873"/>
                  </a:lnTo>
                  <a:lnTo>
                    <a:pt x="2819" y="2865"/>
                  </a:lnTo>
                  <a:lnTo>
                    <a:pt x="2825" y="2857"/>
                  </a:lnTo>
                  <a:lnTo>
                    <a:pt x="2830" y="2851"/>
                  </a:lnTo>
                  <a:lnTo>
                    <a:pt x="2843" y="2839"/>
                  </a:lnTo>
                  <a:lnTo>
                    <a:pt x="2857" y="2827"/>
                  </a:lnTo>
                  <a:lnTo>
                    <a:pt x="2870" y="2815"/>
                  </a:lnTo>
                  <a:lnTo>
                    <a:pt x="2881" y="2801"/>
                  </a:lnTo>
                  <a:lnTo>
                    <a:pt x="2885" y="2793"/>
                  </a:lnTo>
                  <a:lnTo>
                    <a:pt x="2889" y="2785"/>
                  </a:lnTo>
                  <a:lnTo>
                    <a:pt x="2890" y="2777"/>
                  </a:lnTo>
                  <a:lnTo>
                    <a:pt x="2891" y="2767"/>
                  </a:lnTo>
                  <a:lnTo>
                    <a:pt x="2891" y="2757"/>
                  </a:lnTo>
                  <a:lnTo>
                    <a:pt x="2890" y="2748"/>
                  </a:lnTo>
                  <a:lnTo>
                    <a:pt x="2887" y="2740"/>
                  </a:lnTo>
                  <a:lnTo>
                    <a:pt x="2885" y="2732"/>
                  </a:lnTo>
                  <a:lnTo>
                    <a:pt x="2878" y="2716"/>
                  </a:lnTo>
                  <a:lnTo>
                    <a:pt x="2870" y="2703"/>
                  </a:lnTo>
                  <a:lnTo>
                    <a:pt x="2862" y="2691"/>
                  </a:lnTo>
                  <a:lnTo>
                    <a:pt x="2855" y="2679"/>
                  </a:lnTo>
                  <a:lnTo>
                    <a:pt x="2853" y="2672"/>
                  </a:lnTo>
                  <a:lnTo>
                    <a:pt x="2851" y="2665"/>
                  </a:lnTo>
                  <a:lnTo>
                    <a:pt x="2850" y="2659"/>
                  </a:lnTo>
                  <a:lnTo>
                    <a:pt x="2849" y="2652"/>
                  </a:lnTo>
                  <a:lnTo>
                    <a:pt x="2850" y="2635"/>
                  </a:lnTo>
                  <a:lnTo>
                    <a:pt x="2854" y="2620"/>
                  </a:lnTo>
                  <a:lnTo>
                    <a:pt x="2859" y="2607"/>
                  </a:lnTo>
                  <a:lnTo>
                    <a:pt x="2866" y="2596"/>
                  </a:lnTo>
                  <a:lnTo>
                    <a:pt x="2874" y="2585"/>
                  </a:lnTo>
                  <a:lnTo>
                    <a:pt x="2883" y="2577"/>
                  </a:lnTo>
                  <a:lnTo>
                    <a:pt x="2893" y="2569"/>
                  </a:lnTo>
                  <a:lnTo>
                    <a:pt x="2903" y="2561"/>
                  </a:lnTo>
                  <a:lnTo>
                    <a:pt x="2914" y="2553"/>
                  </a:lnTo>
                  <a:lnTo>
                    <a:pt x="2923" y="2545"/>
                  </a:lnTo>
                  <a:lnTo>
                    <a:pt x="2932" y="2536"/>
                  </a:lnTo>
                  <a:lnTo>
                    <a:pt x="2940" y="2527"/>
                  </a:lnTo>
                  <a:lnTo>
                    <a:pt x="2947" y="2515"/>
                  </a:lnTo>
                  <a:lnTo>
                    <a:pt x="2952" y="2501"/>
                  </a:lnTo>
                  <a:lnTo>
                    <a:pt x="2956" y="2485"/>
                  </a:lnTo>
                  <a:lnTo>
                    <a:pt x="2958" y="2466"/>
                  </a:lnTo>
                  <a:lnTo>
                    <a:pt x="2955" y="2432"/>
                  </a:lnTo>
                  <a:lnTo>
                    <a:pt x="2951" y="2402"/>
                  </a:lnTo>
                  <a:lnTo>
                    <a:pt x="2947" y="2372"/>
                  </a:lnTo>
                  <a:lnTo>
                    <a:pt x="2946" y="2346"/>
                  </a:lnTo>
                  <a:lnTo>
                    <a:pt x="2927" y="2344"/>
                  </a:lnTo>
                  <a:lnTo>
                    <a:pt x="2904" y="2340"/>
                  </a:lnTo>
                  <a:lnTo>
                    <a:pt x="2879" y="2334"/>
                  </a:lnTo>
                  <a:lnTo>
                    <a:pt x="2854" y="2326"/>
                  </a:lnTo>
                  <a:lnTo>
                    <a:pt x="2842" y="2320"/>
                  </a:lnTo>
                  <a:lnTo>
                    <a:pt x="2831" y="2315"/>
                  </a:lnTo>
                  <a:lnTo>
                    <a:pt x="2821" y="2308"/>
                  </a:lnTo>
                  <a:lnTo>
                    <a:pt x="2813" y="2303"/>
                  </a:lnTo>
                  <a:lnTo>
                    <a:pt x="2805" y="2296"/>
                  </a:lnTo>
                  <a:lnTo>
                    <a:pt x="2799" y="2288"/>
                  </a:lnTo>
                  <a:lnTo>
                    <a:pt x="2797" y="2282"/>
                  </a:lnTo>
                  <a:lnTo>
                    <a:pt x="2795" y="2274"/>
                  </a:lnTo>
                  <a:lnTo>
                    <a:pt x="2795" y="2267"/>
                  </a:lnTo>
                  <a:lnTo>
                    <a:pt x="2798" y="2259"/>
                  </a:lnTo>
                  <a:lnTo>
                    <a:pt x="2801" y="2252"/>
                  </a:lnTo>
                  <a:lnTo>
                    <a:pt x="2805" y="2244"/>
                  </a:lnTo>
                  <a:lnTo>
                    <a:pt x="2813" y="2232"/>
                  </a:lnTo>
                  <a:lnTo>
                    <a:pt x="2819" y="2226"/>
                  </a:lnTo>
                  <a:lnTo>
                    <a:pt x="2813" y="2111"/>
                  </a:lnTo>
                  <a:lnTo>
                    <a:pt x="2794" y="2099"/>
                  </a:lnTo>
                  <a:lnTo>
                    <a:pt x="2775" y="2088"/>
                  </a:lnTo>
                  <a:lnTo>
                    <a:pt x="2758" y="2076"/>
                  </a:lnTo>
                  <a:lnTo>
                    <a:pt x="2741" y="2063"/>
                  </a:lnTo>
                  <a:lnTo>
                    <a:pt x="2733" y="2056"/>
                  </a:lnTo>
                  <a:lnTo>
                    <a:pt x="2726" y="2048"/>
                  </a:lnTo>
                  <a:lnTo>
                    <a:pt x="2719" y="2039"/>
                  </a:lnTo>
                  <a:lnTo>
                    <a:pt x="2714" y="2030"/>
                  </a:lnTo>
                  <a:lnTo>
                    <a:pt x="2710" y="2020"/>
                  </a:lnTo>
                  <a:lnTo>
                    <a:pt x="2707" y="2010"/>
                  </a:lnTo>
                  <a:lnTo>
                    <a:pt x="2705" y="1998"/>
                  </a:lnTo>
                  <a:lnTo>
                    <a:pt x="2705" y="1984"/>
                  </a:lnTo>
                  <a:lnTo>
                    <a:pt x="2705" y="1934"/>
                  </a:lnTo>
                  <a:lnTo>
                    <a:pt x="2705" y="1896"/>
                  </a:lnTo>
                  <a:lnTo>
                    <a:pt x="2705" y="1862"/>
                  </a:lnTo>
                  <a:lnTo>
                    <a:pt x="2705" y="1822"/>
                  </a:lnTo>
                  <a:lnTo>
                    <a:pt x="2705" y="1811"/>
                  </a:lnTo>
                  <a:lnTo>
                    <a:pt x="2703" y="1802"/>
                  </a:lnTo>
                  <a:lnTo>
                    <a:pt x="2702" y="1795"/>
                  </a:lnTo>
                  <a:lnTo>
                    <a:pt x="2701" y="1789"/>
                  </a:lnTo>
                  <a:lnTo>
                    <a:pt x="2698" y="1783"/>
                  </a:lnTo>
                  <a:lnTo>
                    <a:pt x="2695" y="1778"/>
                  </a:lnTo>
                  <a:lnTo>
                    <a:pt x="2693" y="1774"/>
                  </a:lnTo>
                  <a:lnTo>
                    <a:pt x="2689" y="1771"/>
                  </a:lnTo>
                  <a:lnTo>
                    <a:pt x="2671" y="1758"/>
                  </a:lnTo>
                  <a:lnTo>
                    <a:pt x="2650" y="1738"/>
                  </a:lnTo>
                  <a:lnTo>
                    <a:pt x="2645" y="1722"/>
                  </a:lnTo>
                  <a:lnTo>
                    <a:pt x="2638" y="1695"/>
                  </a:lnTo>
                  <a:lnTo>
                    <a:pt x="2631" y="1662"/>
                  </a:lnTo>
                  <a:lnTo>
                    <a:pt x="2625" y="1626"/>
                  </a:lnTo>
                  <a:lnTo>
                    <a:pt x="2618" y="1591"/>
                  </a:lnTo>
                  <a:lnTo>
                    <a:pt x="2613" y="1562"/>
                  </a:lnTo>
                  <a:lnTo>
                    <a:pt x="2610" y="1541"/>
                  </a:lnTo>
                  <a:lnTo>
                    <a:pt x="2609" y="1533"/>
                  </a:lnTo>
                  <a:lnTo>
                    <a:pt x="2609" y="1527"/>
                  </a:lnTo>
                  <a:lnTo>
                    <a:pt x="2610" y="1523"/>
                  </a:lnTo>
                  <a:lnTo>
                    <a:pt x="2611" y="1519"/>
                  </a:lnTo>
                  <a:lnTo>
                    <a:pt x="2614" y="1517"/>
                  </a:lnTo>
                  <a:lnTo>
                    <a:pt x="2621" y="1511"/>
                  </a:lnTo>
                  <a:lnTo>
                    <a:pt x="2629" y="1509"/>
                  </a:lnTo>
                  <a:lnTo>
                    <a:pt x="2646" y="1506"/>
                  </a:lnTo>
                  <a:lnTo>
                    <a:pt x="2662" y="1502"/>
                  </a:lnTo>
                  <a:lnTo>
                    <a:pt x="2671" y="1495"/>
                  </a:lnTo>
                  <a:lnTo>
                    <a:pt x="2679" y="1485"/>
                  </a:lnTo>
                  <a:lnTo>
                    <a:pt x="2686" y="1474"/>
                  </a:lnTo>
                  <a:lnTo>
                    <a:pt x="2693" y="1463"/>
                  </a:lnTo>
                  <a:lnTo>
                    <a:pt x="2698" y="1451"/>
                  </a:lnTo>
                  <a:lnTo>
                    <a:pt x="2701" y="1439"/>
                  </a:lnTo>
                  <a:lnTo>
                    <a:pt x="2703" y="1429"/>
                  </a:lnTo>
                  <a:lnTo>
                    <a:pt x="2705" y="1418"/>
                  </a:lnTo>
                  <a:lnTo>
                    <a:pt x="2710" y="1418"/>
                  </a:lnTo>
                  <a:lnTo>
                    <a:pt x="2705" y="1406"/>
                  </a:lnTo>
                  <a:lnTo>
                    <a:pt x="2702" y="1386"/>
                  </a:lnTo>
                  <a:lnTo>
                    <a:pt x="2698" y="1370"/>
                  </a:lnTo>
                  <a:lnTo>
                    <a:pt x="2709" y="1363"/>
                  </a:lnTo>
                  <a:lnTo>
                    <a:pt x="2715" y="1357"/>
                  </a:lnTo>
                  <a:lnTo>
                    <a:pt x="2721" y="1349"/>
                  </a:lnTo>
                  <a:lnTo>
                    <a:pt x="2725" y="1341"/>
                  </a:lnTo>
                  <a:lnTo>
                    <a:pt x="2727" y="1331"/>
                  </a:lnTo>
                  <a:lnTo>
                    <a:pt x="2729" y="1322"/>
                  </a:lnTo>
                  <a:lnTo>
                    <a:pt x="2729" y="1310"/>
                  </a:lnTo>
                  <a:lnTo>
                    <a:pt x="2729" y="1298"/>
                  </a:lnTo>
                  <a:lnTo>
                    <a:pt x="2727" y="1285"/>
                  </a:lnTo>
                  <a:lnTo>
                    <a:pt x="2726" y="1274"/>
                  </a:lnTo>
                  <a:lnTo>
                    <a:pt x="2723" y="1264"/>
                  </a:lnTo>
                  <a:lnTo>
                    <a:pt x="2719" y="1254"/>
                  </a:lnTo>
                  <a:lnTo>
                    <a:pt x="2715" y="1245"/>
                  </a:lnTo>
                  <a:lnTo>
                    <a:pt x="2710" y="1238"/>
                  </a:lnTo>
                  <a:lnTo>
                    <a:pt x="2705" y="1230"/>
                  </a:lnTo>
                  <a:lnTo>
                    <a:pt x="2698" y="1225"/>
                  </a:lnTo>
                  <a:lnTo>
                    <a:pt x="2686" y="1213"/>
                  </a:lnTo>
                  <a:lnTo>
                    <a:pt x="2673" y="1201"/>
                  </a:lnTo>
                  <a:lnTo>
                    <a:pt x="2661" y="1190"/>
                  </a:lnTo>
                  <a:lnTo>
                    <a:pt x="2650" y="1177"/>
                  </a:lnTo>
                  <a:lnTo>
                    <a:pt x="2645" y="1176"/>
                  </a:lnTo>
                  <a:lnTo>
                    <a:pt x="2641" y="1176"/>
                  </a:lnTo>
                  <a:lnTo>
                    <a:pt x="2637" y="1177"/>
                  </a:lnTo>
                  <a:lnTo>
                    <a:pt x="2633" y="1178"/>
                  </a:lnTo>
                  <a:lnTo>
                    <a:pt x="2629" y="1180"/>
                  </a:lnTo>
                  <a:lnTo>
                    <a:pt x="2622" y="1182"/>
                  </a:lnTo>
                  <a:lnTo>
                    <a:pt x="2614" y="1184"/>
                  </a:lnTo>
                  <a:lnTo>
                    <a:pt x="2602" y="1184"/>
                  </a:lnTo>
                  <a:lnTo>
                    <a:pt x="2590" y="1182"/>
                  </a:lnTo>
                  <a:lnTo>
                    <a:pt x="2578" y="1180"/>
                  </a:lnTo>
                  <a:lnTo>
                    <a:pt x="2565" y="1174"/>
                  </a:lnTo>
                  <a:lnTo>
                    <a:pt x="2550" y="1166"/>
                  </a:lnTo>
                  <a:lnTo>
                    <a:pt x="2537" y="1158"/>
                  </a:lnTo>
                  <a:lnTo>
                    <a:pt x="2522" y="1148"/>
                  </a:lnTo>
                  <a:lnTo>
                    <a:pt x="2509" y="1137"/>
                  </a:lnTo>
                  <a:lnTo>
                    <a:pt x="2495" y="1125"/>
                  </a:lnTo>
                  <a:lnTo>
                    <a:pt x="2482" y="1112"/>
                  </a:lnTo>
                  <a:lnTo>
                    <a:pt x="2471" y="1098"/>
                  </a:lnTo>
                  <a:lnTo>
                    <a:pt x="2461" y="1085"/>
                  </a:lnTo>
                  <a:lnTo>
                    <a:pt x="2451" y="1072"/>
                  </a:lnTo>
                  <a:lnTo>
                    <a:pt x="2443" y="1058"/>
                  </a:lnTo>
                  <a:lnTo>
                    <a:pt x="2438" y="1045"/>
                  </a:lnTo>
                  <a:lnTo>
                    <a:pt x="2434" y="1033"/>
                  </a:lnTo>
                  <a:lnTo>
                    <a:pt x="2434" y="1021"/>
                  </a:lnTo>
                  <a:lnTo>
                    <a:pt x="2434" y="1008"/>
                  </a:lnTo>
                  <a:lnTo>
                    <a:pt x="2435" y="996"/>
                  </a:lnTo>
                  <a:lnTo>
                    <a:pt x="2438" y="984"/>
                  </a:lnTo>
                  <a:lnTo>
                    <a:pt x="2441" y="974"/>
                  </a:lnTo>
                  <a:lnTo>
                    <a:pt x="2445" y="965"/>
                  </a:lnTo>
                  <a:lnTo>
                    <a:pt x="2449" y="956"/>
                  </a:lnTo>
                  <a:lnTo>
                    <a:pt x="2454" y="949"/>
                  </a:lnTo>
                  <a:lnTo>
                    <a:pt x="2459" y="942"/>
                  </a:lnTo>
                  <a:lnTo>
                    <a:pt x="2473" y="930"/>
                  </a:lnTo>
                  <a:lnTo>
                    <a:pt x="2487" y="920"/>
                  </a:lnTo>
                  <a:lnTo>
                    <a:pt x="2502" y="912"/>
                  </a:lnTo>
                  <a:lnTo>
                    <a:pt x="2518" y="902"/>
                  </a:lnTo>
                  <a:lnTo>
                    <a:pt x="2534" y="894"/>
                  </a:lnTo>
                  <a:lnTo>
                    <a:pt x="2549" y="885"/>
                  </a:lnTo>
                  <a:lnTo>
                    <a:pt x="2563" y="876"/>
                  </a:lnTo>
                  <a:lnTo>
                    <a:pt x="2575" y="862"/>
                  </a:lnTo>
                  <a:lnTo>
                    <a:pt x="2582" y="856"/>
                  </a:lnTo>
                  <a:lnTo>
                    <a:pt x="2586" y="848"/>
                  </a:lnTo>
                  <a:lnTo>
                    <a:pt x="2591" y="838"/>
                  </a:lnTo>
                  <a:lnTo>
                    <a:pt x="2595" y="829"/>
                  </a:lnTo>
                  <a:lnTo>
                    <a:pt x="2598" y="818"/>
                  </a:lnTo>
                  <a:lnTo>
                    <a:pt x="2601" y="806"/>
                  </a:lnTo>
                  <a:lnTo>
                    <a:pt x="2602" y="794"/>
                  </a:lnTo>
                  <a:lnTo>
                    <a:pt x="2602" y="780"/>
                  </a:lnTo>
                  <a:lnTo>
                    <a:pt x="2601" y="762"/>
                  </a:lnTo>
                  <a:lnTo>
                    <a:pt x="2598" y="746"/>
                  </a:lnTo>
                  <a:lnTo>
                    <a:pt x="2594" y="732"/>
                  </a:lnTo>
                  <a:lnTo>
                    <a:pt x="2589" y="719"/>
                  </a:lnTo>
                  <a:lnTo>
                    <a:pt x="2582" y="707"/>
                  </a:lnTo>
                  <a:lnTo>
                    <a:pt x="2575" y="695"/>
                  </a:lnTo>
                  <a:lnTo>
                    <a:pt x="2567" y="684"/>
                  </a:lnTo>
                  <a:lnTo>
                    <a:pt x="2559" y="675"/>
                  </a:lnTo>
                  <a:lnTo>
                    <a:pt x="2545" y="655"/>
                  </a:lnTo>
                  <a:lnTo>
                    <a:pt x="2531" y="637"/>
                  </a:lnTo>
                  <a:lnTo>
                    <a:pt x="2526" y="628"/>
                  </a:lnTo>
                  <a:lnTo>
                    <a:pt x="2522" y="619"/>
                  </a:lnTo>
                  <a:lnTo>
                    <a:pt x="2519" y="609"/>
                  </a:lnTo>
                  <a:lnTo>
                    <a:pt x="2518" y="600"/>
                  </a:lnTo>
                  <a:lnTo>
                    <a:pt x="2519" y="589"/>
                  </a:lnTo>
                  <a:lnTo>
                    <a:pt x="2522" y="581"/>
                  </a:lnTo>
                  <a:lnTo>
                    <a:pt x="2526" y="576"/>
                  </a:lnTo>
                  <a:lnTo>
                    <a:pt x="2533" y="571"/>
                  </a:lnTo>
                  <a:lnTo>
                    <a:pt x="2547" y="564"/>
                  </a:lnTo>
                  <a:lnTo>
                    <a:pt x="2565" y="557"/>
                  </a:lnTo>
                  <a:lnTo>
                    <a:pt x="2573" y="553"/>
                  </a:lnTo>
                  <a:lnTo>
                    <a:pt x="2581" y="549"/>
                  </a:lnTo>
                  <a:lnTo>
                    <a:pt x="2587" y="543"/>
                  </a:lnTo>
                  <a:lnTo>
                    <a:pt x="2594" y="535"/>
                  </a:lnTo>
                  <a:lnTo>
                    <a:pt x="2599" y="525"/>
                  </a:lnTo>
                  <a:lnTo>
                    <a:pt x="2602" y="513"/>
                  </a:lnTo>
                  <a:lnTo>
                    <a:pt x="2603" y="497"/>
                  </a:lnTo>
                  <a:lnTo>
                    <a:pt x="2602" y="479"/>
                  </a:lnTo>
                  <a:lnTo>
                    <a:pt x="2599" y="467"/>
                  </a:lnTo>
                  <a:lnTo>
                    <a:pt x="2595" y="456"/>
                  </a:lnTo>
                  <a:lnTo>
                    <a:pt x="2589" y="448"/>
                  </a:lnTo>
                  <a:lnTo>
                    <a:pt x="2582" y="441"/>
                  </a:lnTo>
                  <a:lnTo>
                    <a:pt x="2573" y="436"/>
                  </a:lnTo>
                  <a:lnTo>
                    <a:pt x="2563" y="431"/>
                  </a:lnTo>
                  <a:lnTo>
                    <a:pt x="2553" y="427"/>
                  </a:lnTo>
                  <a:lnTo>
                    <a:pt x="2542" y="423"/>
                  </a:lnTo>
                  <a:lnTo>
                    <a:pt x="2533" y="419"/>
                  </a:lnTo>
                  <a:lnTo>
                    <a:pt x="2522" y="415"/>
                  </a:lnTo>
                  <a:lnTo>
                    <a:pt x="2513" y="411"/>
                  </a:lnTo>
                  <a:lnTo>
                    <a:pt x="2505" y="405"/>
                  </a:lnTo>
                  <a:lnTo>
                    <a:pt x="2498" y="399"/>
                  </a:lnTo>
                  <a:lnTo>
                    <a:pt x="2493" y="392"/>
                  </a:lnTo>
                  <a:lnTo>
                    <a:pt x="2489" y="383"/>
                  </a:lnTo>
                  <a:lnTo>
                    <a:pt x="2487" y="371"/>
                  </a:lnTo>
                  <a:lnTo>
                    <a:pt x="2487" y="359"/>
                  </a:lnTo>
                  <a:lnTo>
                    <a:pt x="2486" y="349"/>
                  </a:lnTo>
                  <a:lnTo>
                    <a:pt x="2486" y="345"/>
                  </a:lnTo>
                  <a:lnTo>
                    <a:pt x="2487" y="340"/>
                  </a:lnTo>
                  <a:lnTo>
                    <a:pt x="2490" y="335"/>
                  </a:lnTo>
                  <a:lnTo>
                    <a:pt x="2494" y="328"/>
                  </a:lnTo>
                  <a:lnTo>
                    <a:pt x="2465" y="333"/>
                  </a:lnTo>
                  <a:lnTo>
                    <a:pt x="2437" y="340"/>
                  </a:lnTo>
                  <a:lnTo>
                    <a:pt x="2425" y="344"/>
                  </a:lnTo>
                  <a:lnTo>
                    <a:pt x="2415" y="349"/>
                  </a:lnTo>
                  <a:lnTo>
                    <a:pt x="2411" y="353"/>
                  </a:lnTo>
                  <a:lnTo>
                    <a:pt x="2407" y="356"/>
                  </a:lnTo>
                  <a:lnTo>
                    <a:pt x="2405" y="360"/>
                  </a:lnTo>
                  <a:lnTo>
                    <a:pt x="2403" y="365"/>
                  </a:lnTo>
                  <a:lnTo>
                    <a:pt x="2421" y="385"/>
                  </a:lnTo>
                  <a:lnTo>
                    <a:pt x="2435" y="403"/>
                  </a:lnTo>
                  <a:lnTo>
                    <a:pt x="2443" y="417"/>
                  </a:lnTo>
                  <a:lnTo>
                    <a:pt x="2449" y="429"/>
                  </a:lnTo>
                  <a:lnTo>
                    <a:pt x="2450" y="435"/>
                  </a:lnTo>
                  <a:lnTo>
                    <a:pt x="2450" y="439"/>
                  </a:lnTo>
                  <a:lnTo>
                    <a:pt x="2450" y="443"/>
                  </a:lnTo>
                  <a:lnTo>
                    <a:pt x="2449" y="445"/>
                  </a:lnTo>
                  <a:lnTo>
                    <a:pt x="2446" y="448"/>
                  </a:lnTo>
                  <a:lnTo>
                    <a:pt x="2443" y="451"/>
                  </a:lnTo>
                  <a:lnTo>
                    <a:pt x="2439" y="452"/>
                  </a:lnTo>
                  <a:lnTo>
                    <a:pt x="2435" y="452"/>
                  </a:lnTo>
                  <a:lnTo>
                    <a:pt x="2425" y="452"/>
                  </a:lnTo>
                  <a:lnTo>
                    <a:pt x="2413" y="448"/>
                  </a:lnTo>
                  <a:lnTo>
                    <a:pt x="2397" y="443"/>
                  </a:lnTo>
                  <a:lnTo>
                    <a:pt x="2381" y="435"/>
                  </a:lnTo>
                  <a:lnTo>
                    <a:pt x="2362" y="424"/>
                  </a:lnTo>
                  <a:lnTo>
                    <a:pt x="2342" y="411"/>
                  </a:lnTo>
                  <a:lnTo>
                    <a:pt x="2322" y="395"/>
                  </a:lnTo>
                  <a:lnTo>
                    <a:pt x="2301" y="377"/>
                  </a:lnTo>
                  <a:lnTo>
                    <a:pt x="2289" y="392"/>
                  </a:lnTo>
                  <a:lnTo>
                    <a:pt x="2275" y="409"/>
                  </a:lnTo>
                  <a:lnTo>
                    <a:pt x="2269" y="420"/>
                  </a:lnTo>
                  <a:lnTo>
                    <a:pt x="2263" y="431"/>
                  </a:lnTo>
                  <a:lnTo>
                    <a:pt x="2259" y="441"/>
                  </a:lnTo>
                  <a:lnTo>
                    <a:pt x="2257" y="453"/>
                  </a:lnTo>
                  <a:lnTo>
                    <a:pt x="2257" y="460"/>
                  </a:lnTo>
                  <a:lnTo>
                    <a:pt x="2258" y="467"/>
                  </a:lnTo>
                  <a:lnTo>
                    <a:pt x="2259" y="473"/>
                  </a:lnTo>
                  <a:lnTo>
                    <a:pt x="2262" y="480"/>
                  </a:lnTo>
                  <a:lnTo>
                    <a:pt x="2266" y="487"/>
                  </a:lnTo>
                  <a:lnTo>
                    <a:pt x="2270" y="495"/>
                  </a:lnTo>
                  <a:lnTo>
                    <a:pt x="2275" y="501"/>
                  </a:lnTo>
                  <a:lnTo>
                    <a:pt x="2282" y="509"/>
                  </a:lnTo>
                  <a:lnTo>
                    <a:pt x="2290" y="516"/>
                  </a:lnTo>
                  <a:lnTo>
                    <a:pt x="2299" y="524"/>
                  </a:lnTo>
                  <a:lnTo>
                    <a:pt x="2310" y="532"/>
                  </a:lnTo>
                  <a:lnTo>
                    <a:pt x="2322" y="541"/>
                  </a:lnTo>
                  <a:lnTo>
                    <a:pt x="2350" y="557"/>
                  </a:lnTo>
                  <a:lnTo>
                    <a:pt x="2385" y="576"/>
                  </a:lnTo>
                  <a:lnTo>
                    <a:pt x="2389" y="581"/>
                  </a:lnTo>
                  <a:lnTo>
                    <a:pt x="2398" y="595"/>
                  </a:lnTo>
                  <a:lnTo>
                    <a:pt x="2411" y="615"/>
                  </a:lnTo>
                  <a:lnTo>
                    <a:pt x="2423" y="640"/>
                  </a:lnTo>
                  <a:lnTo>
                    <a:pt x="2429" y="652"/>
                  </a:lnTo>
                  <a:lnTo>
                    <a:pt x="2434" y="665"/>
                  </a:lnTo>
                  <a:lnTo>
                    <a:pt x="2437" y="677"/>
                  </a:lnTo>
                  <a:lnTo>
                    <a:pt x="2438" y="689"/>
                  </a:lnTo>
                  <a:lnTo>
                    <a:pt x="2438" y="701"/>
                  </a:lnTo>
                  <a:lnTo>
                    <a:pt x="2435" y="711"/>
                  </a:lnTo>
                  <a:lnTo>
                    <a:pt x="2433" y="716"/>
                  </a:lnTo>
                  <a:lnTo>
                    <a:pt x="2430" y="720"/>
                  </a:lnTo>
                  <a:lnTo>
                    <a:pt x="2426" y="723"/>
                  </a:lnTo>
                  <a:lnTo>
                    <a:pt x="2422" y="727"/>
                  </a:lnTo>
                  <a:lnTo>
                    <a:pt x="2415" y="723"/>
                  </a:lnTo>
                  <a:lnTo>
                    <a:pt x="2409" y="717"/>
                  </a:lnTo>
                  <a:lnTo>
                    <a:pt x="2403" y="712"/>
                  </a:lnTo>
                  <a:lnTo>
                    <a:pt x="2399" y="707"/>
                  </a:lnTo>
                  <a:lnTo>
                    <a:pt x="2390" y="693"/>
                  </a:lnTo>
                  <a:lnTo>
                    <a:pt x="2382" y="680"/>
                  </a:lnTo>
                  <a:lnTo>
                    <a:pt x="2374" y="664"/>
                  </a:lnTo>
                  <a:lnTo>
                    <a:pt x="2366" y="649"/>
                  </a:lnTo>
                  <a:lnTo>
                    <a:pt x="2355" y="636"/>
                  </a:lnTo>
                  <a:lnTo>
                    <a:pt x="2343" y="624"/>
                  </a:lnTo>
                  <a:lnTo>
                    <a:pt x="2327" y="623"/>
                  </a:lnTo>
                  <a:lnTo>
                    <a:pt x="2313" y="620"/>
                  </a:lnTo>
                  <a:lnTo>
                    <a:pt x="2298" y="616"/>
                  </a:lnTo>
                  <a:lnTo>
                    <a:pt x="2285" y="611"/>
                  </a:lnTo>
                  <a:lnTo>
                    <a:pt x="2271" y="605"/>
                  </a:lnTo>
                  <a:lnTo>
                    <a:pt x="2259" y="597"/>
                  </a:lnTo>
                  <a:lnTo>
                    <a:pt x="2249" y="589"/>
                  </a:lnTo>
                  <a:lnTo>
                    <a:pt x="2238" y="581"/>
                  </a:lnTo>
                  <a:lnTo>
                    <a:pt x="2229" y="572"/>
                  </a:lnTo>
                  <a:lnTo>
                    <a:pt x="2221" y="563"/>
                  </a:lnTo>
                  <a:lnTo>
                    <a:pt x="2213" y="553"/>
                  </a:lnTo>
                  <a:lnTo>
                    <a:pt x="2206" y="545"/>
                  </a:lnTo>
                  <a:lnTo>
                    <a:pt x="2202" y="536"/>
                  </a:lnTo>
                  <a:lnTo>
                    <a:pt x="2197" y="528"/>
                  </a:lnTo>
                  <a:lnTo>
                    <a:pt x="2194" y="521"/>
                  </a:lnTo>
                  <a:lnTo>
                    <a:pt x="2193" y="515"/>
                  </a:lnTo>
                  <a:lnTo>
                    <a:pt x="2191" y="499"/>
                  </a:lnTo>
                  <a:lnTo>
                    <a:pt x="2193" y="483"/>
                  </a:lnTo>
                  <a:lnTo>
                    <a:pt x="2194" y="468"/>
                  </a:lnTo>
                  <a:lnTo>
                    <a:pt x="2197" y="453"/>
                  </a:lnTo>
                  <a:lnTo>
                    <a:pt x="2201" y="440"/>
                  </a:lnTo>
                  <a:lnTo>
                    <a:pt x="2205" y="427"/>
                  </a:lnTo>
                  <a:lnTo>
                    <a:pt x="2210" y="413"/>
                  </a:lnTo>
                  <a:lnTo>
                    <a:pt x="2215" y="400"/>
                  </a:lnTo>
                  <a:lnTo>
                    <a:pt x="2227" y="375"/>
                  </a:lnTo>
                  <a:lnTo>
                    <a:pt x="2239" y="351"/>
                  </a:lnTo>
                  <a:lnTo>
                    <a:pt x="2253" y="325"/>
                  </a:lnTo>
                  <a:lnTo>
                    <a:pt x="2265" y="299"/>
                  </a:lnTo>
                  <a:lnTo>
                    <a:pt x="2267" y="285"/>
                  </a:lnTo>
                  <a:lnTo>
                    <a:pt x="2271" y="248"/>
                  </a:lnTo>
                  <a:lnTo>
                    <a:pt x="2273" y="223"/>
                  </a:lnTo>
                  <a:lnTo>
                    <a:pt x="2273" y="195"/>
                  </a:lnTo>
                  <a:lnTo>
                    <a:pt x="2270" y="163"/>
                  </a:lnTo>
                  <a:lnTo>
                    <a:pt x="2265" y="130"/>
                  </a:lnTo>
                  <a:lnTo>
                    <a:pt x="2258" y="124"/>
                  </a:lnTo>
                  <a:lnTo>
                    <a:pt x="2251" y="122"/>
                  </a:lnTo>
                  <a:lnTo>
                    <a:pt x="2246" y="120"/>
                  </a:lnTo>
                  <a:lnTo>
                    <a:pt x="2241" y="120"/>
                  </a:lnTo>
                  <a:lnTo>
                    <a:pt x="2235" y="123"/>
                  </a:lnTo>
                  <a:lnTo>
                    <a:pt x="2231" y="127"/>
                  </a:lnTo>
                  <a:lnTo>
                    <a:pt x="2229" y="131"/>
                  </a:lnTo>
                  <a:lnTo>
                    <a:pt x="2225" y="138"/>
                  </a:lnTo>
                  <a:lnTo>
                    <a:pt x="2219" y="153"/>
                  </a:lnTo>
                  <a:lnTo>
                    <a:pt x="2215" y="172"/>
                  </a:lnTo>
                  <a:lnTo>
                    <a:pt x="2211" y="195"/>
                  </a:lnTo>
                  <a:lnTo>
                    <a:pt x="2209" y="217"/>
                  </a:lnTo>
                  <a:lnTo>
                    <a:pt x="2206" y="243"/>
                  </a:lnTo>
                  <a:lnTo>
                    <a:pt x="2203" y="265"/>
                  </a:lnTo>
                  <a:lnTo>
                    <a:pt x="2199" y="288"/>
                  </a:lnTo>
                  <a:lnTo>
                    <a:pt x="2195" y="308"/>
                  </a:lnTo>
                  <a:lnTo>
                    <a:pt x="2193" y="317"/>
                  </a:lnTo>
                  <a:lnTo>
                    <a:pt x="2190" y="325"/>
                  </a:lnTo>
                  <a:lnTo>
                    <a:pt x="2186" y="332"/>
                  </a:lnTo>
                  <a:lnTo>
                    <a:pt x="2182" y="339"/>
                  </a:lnTo>
                  <a:lnTo>
                    <a:pt x="2178" y="343"/>
                  </a:lnTo>
                  <a:lnTo>
                    <a:pt x="2174" y="345"/>
                  </a:lnTo>
                  <a:lnTo>
                    <a:pt x="2169" y="347"/>
                  </a:lnTo>
                  <a:lnTo>
                    <a:pt x="2162" y="347"/>
                  </a:lnTo>
                  <a:lnTo>
                    <a:pt x="2138" y="352"/>
                  </a:lnTo>
                  <a:lnTo>
                    <a:pt x="2117" y="359"/>
                  </a:lnTo>
                  <a:lnTo>
                    <a:pt x="2098" y="365"/>
                  </a:lnTo>
                  <a:lnTo>
                    <a:pt x="2082" y="372"/>
                  </a:lnTo>
                  <a:lnTo>
                    <a:pt x="2069" y="380"/>
                  </a:lnTo>
                  <a:lnTo>
                    <a:pt x="2057" y="388"/>
                  </a:lnTo>
                  <a:lnTo>
                    <a:pt x="2048" y="396"/>
                  </a:lnTo>
                  <a:lnTo>
                    <a:pt x="2040" y="404"/>
                  </a:lnTo>
                  <a:lnTo>
                    <a:pt x="2033" y="413"/>
                  </a:lnTo>
                  <a:lnTo>
                    <a:pt x="2029" y="423"/>
                  </a:lnTo>
                  <a:lnTo>
                    <a:pt x="2025" y="432"/>
                  </a:lnTo>
                  <a:lnTo>
                    <a:pt x="2021" y="443"/>
                  </a:lnTo>
                  <a:lnTo>
                    <a:pt x="2016" y="463"/>
                  </a:lnTo>
                  <a:lnTo>
                    <a:pt x="2012" y="485"/>
                  </a:lnTo>
                  <a:lnTo>
                    <a:pt x="2009" y="505"/>
                  </a:lnTo>
                  <a:lnTo>
                    <a:pt x="2009" y="525"/>
                  </a:lnTo>
                  <a:lnTo>
                    <a:pt x="2010" y="548"/>
                  </a:lnTo>
                  <a:lnTo>
                    <a:pt x="2013" y="569"/>
                  </a:lnTo>
                  <a:lnTo>
                    <a:pt x="2022" y="615"/>
                  </a:lnTo>
                  <a:lnTo>
                    <a:pt x="2032" y="657"/>
                  </a:lnTo>
                  <a:lnTo>
                    <a:pt x="2036" y="679"/>
                  </a:lnTo>
                  <a:lnTo>
                    <a:pt x="2038" y="699"/>
                  </a:lnTo>
                  <a:lnTo>
                    <a:pt x="2040" y="716"/>
                  </a:lnTo>
                  <a:lnTo>
                    <a:pt x="2040" y="733"/>
                  </a:lnTo>
                  <a:lnTo>
                    <a:pt x="2038" y="741"/>
                  </a:lnTo>
                  <a:lnTo>
                    <a:pt x="2036" y="748"/>
                  </a:lnTo>
                  <a:lnTo>
                    <a:pt x="2033" y="754"/>
                  </a:lnTo>
                  <a:lnTo>
                    <a:pt x="2029" y="761"/>
                  </a:lnTo>
                  <a:lnTo>
                    <a:pt x="2025" y="766"/>
                  </a:lnTo>
                  <a:lnTo>
                    <a:pt x="2020" y="772"/>
                  </a:lnTo>
                  <a:lnTo>
                    <a:pt x="2013" y="777"/>
                  </a:lnTo>
                  <a:lnTo>
                    <a:pt x="2006" y="780"/>
                  </a:lnTo>
                  <a:lnTo>
                    <a:pt x="1994" y="810"/>
                  </a:lnTo>
                  <a:lnTo>
                    <a:pt x="1984" y="840"/>
                  </a:lnTo>
                  <a:lnTo>
                    <a:pt x="1974" y="868"/>
                  </a:lnTo>
                  <a:lnTo>
                    <a:pt x="1965" y="894"/>
                  </a:lnTo>
                  <a:lnTo>
                    <a:pt x="1957" y="920"/>
                  </a:lnTo>
                  <a:lnTo>
                    <a:pt x="1950" y="945"/>
                  </a:lnTo>
                  <a:lnTo>
                    <a:pt x="1948" y="968"/>
                  </a:lnTo>
                  <a:lnTo>
                    <a:pt x="1946" y="990"/>
                  </a:lnTo>
                  <a:lnTo>
                    <a:pt x="1945" y="1029"/>
                  </a:lnTo>
                  <a:lnTo>
                    <a:pt x="1945" y="1060"/>
                  </a:lnTo>
                  <a:lnTo>
                    <a:pt x="1946" y="1073"/>
                  </a:lnTo>
                  <a:lnTo>
                    <a:pt x="1949" y="1085"/>
                  </a:lnTo>
                  <a:lnTo>
                    <a:pt x="1953" y="1096"/>
                  </a:lnTo>
                  <a:lnTo>
                    <a:pt x="1958" y="1104"/>
                  </a:lnTo>
                  <a:lnTo>
                    <a:pt x="1962" y="1106"/>
                  </a:lnTo>
                  <a:lnTo>
                    <a:pt x="1966" y="1109"/>
                  </a:lnTo>
                  <a:lnTo>
                    <a:pt x="1972" y="1112"/>
                  </a:lnTo>
                  <a:lnTo>
                    <a:pt x="1978" y="1113"/>
                  </a:lnTo>
                  <a:lnTo>
                    <a:pt x="1992" y="1116"/>
                  </a:lnTo>
                  <a:lnTo>
                    <a:pt x="2009" y="1116"/>
                  </a:lnTo>
                  <a:lnTo>
                    <a:pt x="2030" y="1113"/>
                  </a:lnTo>
                  <a:lnTo>
                    <a:pt x="2056" y="1109"/>
                  </a:lnTo>
                  <a:lnTo>
                    <a:pt x="2086" y="1102"/>
                  </a:lnTo>
                  <a:lnTo>
                    <a:pt x="2121" y="1093"/>
                  </a:lnTo>
                  <a:lnTo>
                    <a:pt x="2136" y="1097"/>
                  </a:lnTo>
                  <a:lnTo>
                    <a:pt x="2150" y="1104"/>
                  </a:lnTo>
                  <a:lnTo>
                    <a:pt x="2163" y="1110"/>
                  </a:lnTo>
                  <a:lnTo>
                    <a:pt x="2175" y="1118"/>
                  </a:lnTo>
                  <a:lnTo>
                    <a:pt x="2187" y="1128"/>
                  </a:lnTo>
                  <a:lnTo>
                    <a:pt x="2198" y="1140"/>
                  </a:lnTo>
                  <a:lnTo>
                    <a:pt x="2209" y="1152"/>
                  </a:lnTo>
                  <a:lnTo>
                    <a:pt x="2217" y="1164"/>
                  </a:lnTo>
                  <a:lnTo>
                    <a:pt x="2226" y="1178"/>
                  </a:lnTo>
                  <a:lnTo>
                    <a:pt x="2233" y="1193"/>
                  </a:lnTo>
                  <a:lnTo>
                    <a:pt x="2241" y="1209"/>
                  </a:lnTo>
                  <a:lnTo>
                    <a:pt x="2246" y="1225"/>
                  </a:lnTo>
                  <a:lnTo>
                    <a:pt x="2251" y="1242"/>
                  </a:lnTo>
                  <a:lnTo>
                    <a:pt x="2257" y="1261"/>
                  </a:lnTo>
                  <a:lnTo>
                    <a:pt x="2261" y="1280"/>
                  </a:lnTo>
                  <a:lnTo>
                    <a:pt x="2265" y="1298"/>
                  </a:lnTo>
                  <a:lnTo>
                    <a:pt x="2267" y="1315"/>
                  </a:lnTo>
                  <a:lnTo>
                    <a:pt x="2267" y="1330"/>
                  </a:lnTo>
                  <a:lnTo>
                    <a:pt x="2265" y="1343"/>
                  </a:lnTo>
                  <a:lnTo>
                    <a:pt x="2262" y="1354"/>
                  </a:lnTo>
                  <a:lnTo>
                    <a:pt x="2257" y="1362"/>
                  </a:lnTo>
                  <a:lnTo>
                    <a:pt x="2251" y="1369"/>
                  </a:lnTo>
                  <a:lnTo>
                    <a:pt x="2245" y="1375"/>
                  </a:lnTo>
                  <a:lnTo>
                    <a:pt x="2237" y="1381"/>
                  </a:lnTo>
                  <a:lnTo>
                    <a:pt x="2221" y="1390"/>
                  </a:lnTo>
                  <a:lnTo>
                    <a:pt x="2206" y="1401"/>
                  </a:lnTo>
                  <a:lnTo>
                    <a:pt x="2199" y="1407"/>
                  </a:lnTo>
                  <a:lnTo>
                    <a:pt x="2194" y="1415"/>
                  </a:lnTo>
                  <a:lnTo>
                    <a:pt x="2190" y="1425"/>
                  </a:lnTo>
                  <a:lnTo>
                    <a:pt x="2186" y="1437"/>
                  </a:lnTo>
                  <a:lnTo>
                    <a:pt x="2186" y="1443"/>
                  </a:lnTo>
                  <a:lnTo>
                    <a:pt x="2187" y="1450"/>
                  </a:lnTo>
                  <a:lnTo>
                    <a:pt x="2189" y="1458"/>
                  </a:lnTo>
                  <a:lnTo>
                    <a:pt x="2190" y="1465"/>
                  </a:lnTo>
                  <a:lnTo>
                    <a:pt x="2197" y="1477"/>
                  </a:lnTo>
                  <a:lnTo>
                    <a:pt x="2205" y="1489"/>
                  </a:lnTo>
                  <a:lnTo>
                    <a:pt x="2214" y="1499"/>
                  </a:lnTo>
                  <a:lnTo>
                    <a:pt x="2226" y="1510"/>
                  </a:lnTo>
                  <a:lnTo>
                    <a:pt x="2237" y="1519"/>
                  </a:lnTo>
                  <a:lnTo>
                    <a:pt x="2250" y="1529"/>
                  </a:lnTo>
                  <a:lnTo>
                    <a:pt x="2274" y="1543"/>
                  </a:lnTo>
                  <a:lnTo>
                    <a:pt x="2295" y="1557"/>
                  </a:lnTo>
                  <a:lnTo>
                    <a:pt x="2303" y="1562"/>
                  </a:lnTo>
                  <a:lnTo>
                    <a:pt x="2309" y="1567"/>
                  </a:lnTo>
                  <a:lnTo>
                    <a:pt x="2313" y="1571"/>
                  </a:lnTo>
                  <a:lnTo>
                    <a:pt x="2313" y="1575"/>
                  </a:lnTo>
                  <a:lnTo>
                    <a:pt x="2299" y="1575"/>
                  </a:lnTo>
                  <a:lnTo>
                    <a:pt x="2286" y="1575"/>
                  </a:lnTo>
                  <a:lnTo>
                    <a:pt x="2273" y="1573"/>
                  </a:lnTo>
                  <a:lnTo>
                    <a:pt x="2259" y="1570"/>
                  </a:lnTo>
                  <a:lnTo>
                    <a:pt x="2246" y="1566"/>
                  </a:lnTo>
                  <a:lnTo>
                    <a:pt x="2234" y="1562"/>
                  </a:lnTo>
                  <a:lnTo>
                    <a:pt x="2222" y="1555"/>
                  </a:lnTo>
                  <a:lnTo>
                    <a:pt x="2210" y="1549"/>
                  </a:lnTo>
                  <a:lnTo>
                    <a:pt x="2201" y="1542"/>
                  </a:lnTo>
                  <a:lnTo>
                    <a:pt x="2191" y="1534"/>
                  </a:lnTo>
                  <a:lnTo>
                    <a:pt x="2183" y="1526"/>
                  </a:lnTo>
                  <a:lnTo>
                    <a:pt x="2175" y="1517"/>
                  </a:lnTo>
                  <a:lnTo>
                    <a:pt x="2170" y="1509"/>
                  </a:lnTo>
                  <a:lnTo>
                    <a:pt x="2166" y="1498"/>
                  </a:lnTo>
                  <a:lnTo>
                    <a:pt x="2163" y="1489"/>
                  </a:lnTo>
                  <a:lnTo>
                    <a:pt x="2162" y="1478"/>
                  </a:lnTo>
                  <a:lnTo>
                    <a:pt x="2163" y="1459"/>
                  </a:lnTo>
                  <a:lnTo>
                    <a:pt x="2166" y="1439"/>
                  </a:lnTo>
                  <a:lnTo>
                    <a:pt x="2170" y="1419"/>
                  </a:lnTo>
                  <a:lnTo>
                    <a:pt x="2175" y="1399"/>
                  </a:lnTo>
                  <a:lnTo>
                    <a:pt x="2193" y="1354"/>
                  </a:lnTo>
                  <a:lnTo>
                    <a:pt x="2217" y="1298"/>
                  </a:lnTo>
                  <a:lnTo>
                    <a:pt x="2206" y="1289"/>
                  </a:lnTo>
                  <a:lnTo>
                    <a:pt x="2197" y="1277"/>
                  </a:lnTo>
                  <a:lnTo>
                    <a:pt x="2190" y="1265"/>
                  </a:lnTo>
                  <a:lnTo>
                    <a:pt x="2182" y="1253"/>
                  </a:lnTo>
                  <a:lnTo>
                    <a:pt x="2170" y="1226"/>
                  </a:lnTo>
                  <a:lnTo>
                    <a:pt x="2157" y="1201"/>
                  </a:lnTo>
                  <a:lnTo>
                    <a:pt x="2149" y="1189"/>
                  </a:lnTo>
                  <a:lnTo>
                    <a:pt x="2140" y="1178"/>
                  </a:lnTo>
                  <a:lnTo>
                    <a:pt x="2129" y="1169"/>
                  </a:lnTo>
                  <a:lnTo>
                    <a:pt x="2117" y="1162"/>
                  </a:lnTo>
                  <a:lnTo>
                    <a:pt x="2110" y="1158"/>
                  </a:lnTo>
                  <a:lnTo>
                    <a:pt x="2102" y="1156"/>
                  </a:lnTo>
                  <a:lnTo>
                    <a:pt x="2094" y="1154"/>
                  </a:lnTo>
                  <a:lnTo>
                    <a:pt x="2085" y="1153"/>
                  </a:lnTo>
                  <a:lnTo>
                    <a:pt x="2076" y="1152"/>
                  </a:lnTo>
                  <a:lnTo>
                    <a:pt x="2065" y="1152"/>
                  </a:lnTo>
                  <a:lnTo>
                    <a:pt x="2054" y="1152"/>
                  </a:lnTo>
                  <a:lnTo>
                    <a:pt x="2042" y="1153"/>
                  </a:lnTo>
                  <a:lnTo>
                    <a:pt x="2022" y="1157"/>
                  </a:lnTo>
                  <a:lnTo>
                    <a:pt x="2006" y="1161"/>
                  </a:lnTo>
                  <a:lnTo>
                    <a:pt x="1990" y="1166"/>
                  </a:lnTo>
                  <a:lnTo>
                    <a:pt x="1978" y="1174"/>
                  </a:lnTo>
                  <a:lnTo>
                    <a:pt x="1973" y="1178"/>
                  </a:lnTo>
                  <a:lnTo>
                    <a:pt x="1968" y="1184"/>
                  </a:lnTo>
                  <a:lnTo>
                    <a:pt x="1962" y="1189"/>
                  </a:lnTo>
                  <a:lnTo>
                    <a:pt x="1958" y="1196"/>
                  </a:lnTo>
                  <a:lnTo>
                    <a:pt x="1950" y="1209"/>
                  </a:lnTo>
                  <a:lnTo>
                    <a:pt x="1945" y="1225"/>
                  </a:lnTo>
                  <a:lnTo>
                    <a:pt x="1941" y="1244"/>
                  </a:lnTo>
                  <a:lnTo>
                    <a:pt x="1938" y="1265"/>
                  </a:lnTo>
                  <a:lnTo>
                    <a:pt x="1937" y="1289"/>
                  </a:lnTo>
                  <a:lnTo>
                    <a:pt x="1938" y="1315"/>
                  </a:lnTo>
                  <a:lnTo>
                    <a:pt x="1940" y="1345"/>
                  </a:lnTo>
                  <a:lnTo>
                    <a:pt x="1942" y="1378"/>
                  </a:lnTo>
                  <a:lnTo>
                    <a:pt x="1946" y="1414"/>
                  </a:lnTo>
                  <a:lnTo>
                    <a:pt x="1952" y="1454"/>
                  </a:lnTo>
                  <a:lnTo>
                    <a:pt x="1913" y="1474"/>
                  </a:lnTo>
                  <a:lnTo>
                    <a:pt x="1886" y="1490"/>
                  </a:lnTo>
                  <a:lnTo>
                    <a:pt x="1877" y="1497"/>
                  </a:lnTo>
                  <a:lnTo>
                    <a:pt x="1869" y="1503"/>
                  </a:lnTo>
                  <a:lnTo>
                    <a:pt x="1862" y="1509"/>
                  </a:lnTo>
                  <a:lnTo>
                    <a:pt x="1858" y="1515"/>
                  </a:lnTo>
                  <a:lnTo>
                    <a:pt x="1846" y="1539"/>
                  </a:lnTo>
                  <a:lnTo>
                    <a:pt x="1832" y="1575"/>
                  </a:lnTo>
                  <a:lnTo>
                    <a:pt x="1822" y="1589"/>
                  </a:lnTo>
                  <a:lnTo>
                    <a:pt x="1814" y="1601"/>
                  </a:lnTo>
                  <a:lnTo>
                    <a:pt x="1806" y="1613"/>
                  </a:lnTo>
                  <a:lnTo>
                    <a:pt x="1797" y="1622"/>
                  </a:lnTo>
                  <a:lnTo>
                    <a:pt x="1789" y="1630"/>
                  </a:lnTo>
                  <a:lnTo>
                    <a:pt x="1780" y="1638"/>
                  </a:lnTo>
                  <a:lnTo>
                    <a:pt x="1772" y="1643"/>
                  </a:lnTo>
                  <a:lnTo>
                    <a:pt x="1764" y="1649"/>
                  </a:lnTo>
                  <a:lnTo>
                    <a:pt x="1746" y="1657"/>
                  </a:lnTo>
                  <a:lnTo>
                    <a:pt x="1730" y="1662"/>
                  </a:lnTo>
                  <a:lnTo>
                    <a:pt x="1714" y="1666"/>
                  </a:lnTo>
                  <a:lnTo>
                    <a:pt x="1700" y="1669"/>
                  </a:lnTo>
                  <a:lnTo>
                    <a:pt x="1685" y="1671"/>
                  </a:lnTo>
                  <a:lnTo>
                    <a:pt x="1672" y="1675"/>
                  </a:lnTo>
                  <a:lnTo>
                    <a:pt x="1658" y="1679"/>
                  </a:lnTo>
                  <a:lnTo>
                    <a:pt x="1646" y="1686"/>
                  </a:lnTo>
                  <a:lnTo>
                    <a:pt x="1640" y="1690"/>
                  </a:lnTo>
                  <a:lnTo>
                    <a:pt x="1634" y="1695"/>
                  </a:lnTo>
                  <a:lnTo>
                    <a:pt x="1629" y="1702"/>
                  </a:lnTo>
                  <a:lnTo>
                    <a:pt x="1625" y="1709"/>
                  </a:lnTo>
                  <a:lnTo>
                    <a:pt x="1620" y="1717"/>
                  </a:lnTo>
                  <a:lnTo>
                    <a:pt x="1616" y="1726"/>
                  </a:lnTo>
                  <a:lnTo>
                    <a:pt x="1612" y="1738"/>
                  </a:lnTo>
                  <a:lnTo>
                    <a:pt x="1609" y="1750"/>
                  </a:lnTo>
                  <a:lnTo>
                    <a:pt x="1592" y="1733"/>
                  </a:lnTo>
                  <a:lnTo>
                    <a:pt x="1573" y="1719"/>
                  </a:lnTo>
                  <a:lnTo>
                    <a:pt x="1554" y="1709"/>
                  </a:lnTo>
                  <a:lnTo>
                    <a:pt x="1537" y="1701"/>
                  </a:lnTo>
                  <a:lnTo>
                    <a:pt x="1518" y="1693"/>
                  </a:lnTo>
                  <a:lnTo>
                    <a:pt x="1500" y="1687"/>
                  </a:lnTo>
                  <a:lnTo>
                    <a:pt x="1482" y="1683"/>
                  </a:lnTo>
                  <a:lnTo>
                    <a:pt x="1466" y="1679"/>
                  </a:lnTo>
                  <a:lnTo>
                    <a:pt x="1450" y="1675"/>
                  </a:lnTo>
                  <a:lnTo>
                    <a:pt x="1437" y="1671"/>
                  </a:lnTo>
                  <a:lnTo>
                    <a:pt x="1424" y="1666"/>
                  </a:lnTo>
                  <a:lnTo>
                    <a:pt x="1413" y="1659"/>
                  </a:lnTo>
                  <a:lnTo>
                    <a:pt x="1408" y="1657"/>
                  </a:lnTo>
                  <a:lnTo>
                    <a:pt x="1404" y="1653"/>
                  </a:lnTo>
                  <a:lnTo>
                    <a:pt x="1400" y="1647"/>
                  </a:lnTo>
                  <a:lnTo>
                    <a:pt x="1397" y="1643"/>
                  </a:lnTo>
                  <a:lnTo>
                    <a:pt x="1394" y="1638"/>
                  </a:lnTo>
                  <a:lnTo>
                    <a:pt x="1393" y="1631"/>
                  </a:lnTo>
                  <a:lnTo>
                    <a:pt x="1392" y="1625"/>
                  </a:lnTo>
                  <a:lnTo>
                    <a:pt x="1392" y="1617"/>
                  </a:lnTo>
                  <a:lnTo>
                    <a:pt x="1390" y="1609"/>
                  </a:lnTo>
                  <a:lnTo>
                    <a:pt x="1388" y="1601"/>
                  </a:lnTo>
                  <a:lnTo>
                    <a:pt x="1382" y="1593"/>
                  </a:lnTo>
                  <a:lnTo>
                    <a:pt x="1377" y="1585"/>
                  </a:lnTo>
                  <a:lnTo>
                    <a:pt x="1364" y="1570"/>
                  </a:lnTo>
                  <a:lnTo>
                    <a:pt x="1353" y="1557"/>
                  </a:lnTo>
                  <a:lnTo>
                    <a:pt x="1351" y="1551"/>
                  </a:lnTo>
                  <a:lnTo>
                    <a:pt x="1349" y="1546"/>
                  </a:lnTo>
                  <a:lnTo>
                    <a:pt x="1349" y="1543"/>
                  </a:lnTo>
                  <a:lnTo>
                    <a:pt x="1349" y="1541"/>
                  </a:lnTo>
                  <a:lnTo>
                    <a:pt x="1352" y="1539"/>
                  </a:lnTo>
                  <a:lnTo>
                    <a:pt x="1353" y="1538"/>
                  </a:lnTo>
                  <a:lnTo>
                    <a:pt x="1361" y="1535"/>
                  </a:lnTo>
                  <a:lnTo>
                    <a:pt x="1373" y="1533"/>
                  </a:lnTo>
                  <a:lnTo>
                    <a:pt x="1389" y="1533"/>
                  </a:lnTo>
                  <a:lnTo>
                    <a:pt x="1409" y="1533"/>
                  </a:lnTo>
                  <a:lnTo>
                    <a:pt x="1416" y="1534"/>
                  </a:lnTo>
                  <a:lnTo>
                    <a:pt x="1422" y="1535"/>
                  </a:lnTo>
                  <a:lnTo>
                    <a:pt x="1428" y="1538"/>
                  </a:lnTo>
                  <a:lnTo>
                    <a:pt x="1432" y="1541"/>
                  </a:lnTo>
                  <a:lnTo>
                    <a:pt x="1440" y="1547"/>
                  </a:lnTo>
                  <a:lnTo>
                    <a:pt x="1446" y="1557"/>
                  </a:lnTo>
                  <a:lnTo>
                    <a:pt x="1457" y="1579"/>
                  </a:lnTo>
                  <a:lnTo>
                    <a:pt x="1465" y="1605"/>
                  </a:lnTo>
                  <a:lnTo>
                    <a:pt x="1470" y="1617"/>
                  </a:lnTo>
                  <a:lnTo>
                    <a:pt x="1476" y="1629"/>
                  </a:lnTo>
                  <a:lnTo>
                    <a:pt x="1482" y="1641"/>
                  </a:lnTo>
                  <a:lnTo>
                    <a:pt x="1490" y="1650"/>
                  </a:lnTo>
                  <a:lnTo>
                    <a:pt x="1496" y="1655"/>
                  </a:lnTo>
                  <a:lnTo>
                    <a:pt x="1501" y="1659"/>
                  </a:lnTo>
                  <a:lnTo>
                    <a:pt x="1508" y="1662"/>
                  </a:lnTo>
                  <a:lnTo>
                    <a:pt x="1514" y="1666"/>
                  </a:lnTo>
                  <a:lnTo>
                    <a:pt x="1521" y="1669"/>
                  </a:lnTo>
                  <a:lnTo>
                    <a:pt x="1529" y="1670"/>
                  </a:lnTo>
                  <a:lnTo>
                    <a:pt x="1538" y="1671"/>
                  </a:lnTo>
                  <a:lnTo>
                    <a:pt x="1548" y="1671"/>
                  </a:lnTo>
                  <a:lnTo>
                    <a:pt x="1556" y="1670"/>
                  </a:lnTo>
                  <a:lnTo>
                    <a:pt x="1564" y="1669"/>
                  </a:lnTo>
                  <a:lnTo>
                    <a:pt x="1570" y="1665"/>
                  </a:lnTo>
                  <a:lnTo>
                    <a:pt x="1578" y="1661"/>
                  </a:lnTo>
                  <a:lnTo>
                    <a:pt x="1592" y="1650"/>
                  </a:lnTo>
                  <a:lnTo>
                    <a:pt x="1605" y="1637"/>
                  </a:lnTo>
                  <a:lnTo>
                    <a:pt x="1618" y="1619"/>
                  </a:lnTo>
                  <a:lnTo>
                    <a:pt x="1632" y="1601"/>
                  </a:lnTo>
                  <a:lnTo>
                    <a:pt x="1646" y="1581"/>
                  </a:lnTo>
                  <a:lnTo>
                    <a:pt x="1660" y="1558"/>
                  </a:lnTo>
                  <a:lnTo>
                    <a:pt x="1674" y="1535"/>
                  </a:lnTo>
                  <a:lnTo>
                    <a:pt x="1689" y="1511"/>
                  </a:lnTo>
                  <a:lnTo>
                    <a:pt x="1705" y="1489"/>
                  </a:lnTo>
                  <a:lnTo>
                    <a:pt x="1722" y="1465"/>
                  </a:lnTo>
                  <a:lnTo>
                    <a:pt x="1741" y="1442"/>
                  </a:lnTo>
                  <a:lnTo>
                    <a:pt x="1761" y="1421"/>
                  </a:lnTo>
                  <a:lnTo>
                    <a:pt x="1772" y="1410"/>
                  </a:lnTo>
                  <a:lnTo>
                    <a:pt x="1784" y="1401"/>
                  </a:lnTo>
                  <a:lnTo>
                    <a:pt x="1796" y="1391"/>
                  </a:lnTo>
                  <a:lnTo>
                    <a:pt x="1808" y="1382"/>
                  </a:lnTo>
                  <a:lnTo>
                    <a:pt x="1810" y="1366"/>
                  </a:lnTo>
                  <a:lnTo>
                    <a:pt x="1814" y="1351"/>
                  </a:lnTo>
                  <a:lnTo>
                    <a:pt x="1818" y="1339"/>
                  </a:lnTo>
                  <a:lnTo>
                    <a:pt x="1822" y="1329"/>
                  </a:lnTo>
                  <a:lnTo>
                    <a:pt x="1828" y="1319"/>
                  </a:lnTo>
                  <a:lnTo>
                    <a:pt x="1833" y="1311"/>
                  </a:lnTo>
                  <a:lnTo>
                    <a:pt x="1838" y="1305"/>
                  </a:lnTo>
                  <a:lnTo>
                    <a:pt x="1844" y="1301"/>
                  </a:lnTo>
                  <a:lnTo>
                    <a:pt x="1854" y="1293"/>
                  </a:lnTo>
                  <a:lnTo>
                    <a:pt x="1865" y="1288"/>
                  </a:lnTo>
                  <a:lnTo>
                    <a:pt x="1874" y="1285"/>
                  </a:lnTo>
                  <a:lnTo>
                    <a:pt x="1884" y="1281"/>
                  </a:lnTo>
                  <a:lnTo>
                    <a:pt x="1886" y="1280"/>
                  </a:lnTo>
                  <a:lnTo>
                    <a:pt x="1890" y="1277"/>
                  </a:lnTo>
                  <a:lnTo>
                    <a:pt x="1892" y="1274"/>
                  </a:lnTo>
                  <a:lnTo>
                    <a:pt x="1894" y="1272"/>
                  </a:lnTo>
                  <a:lnTo>
                    <a:pt x="1894" y="1266"/>
                  </a:lnTo>
                  <a:lnTo>
                    <a:pt x="1896" y="1261"/>
                  </a:lnTo>
                  <a:lnTo>
                    <a:pt x="1894" y="1254"/>
                  </a:lnTo>
                  <a:lnTo>
                    <a:pt x="1893" y="1246"/>
                  </a:lnTo>
                  <a:lnTo>
                    <a:pt x="1886" y="1226"/>
                  </a:lnTo>
                  <a:lnTo>
                    <a:pt x="1876" y="1198"/>
                  </a:lnTo>
                  <a:lnTo>
                    <a:pt x="1860" y="1164"/>
                  </a:lnTo>
                  <a:lnTo>
                    <a:pt x="1837" y="1117"/>
                  </a:lnTo>
                  <a:lnTo>
                    <a:pt x="1832" y="1106"/>
                  </a:lnTo>
                  <a:lnTo>
                    <a:pt x="1828" y="1094"/>
                  </a:lnTo>
                  <a:lnTo>
                    <a:pt x="1825" y="1082"/>
                  </a:lnTo>
                  <a:lnTo>
                    <a:pt x="1824" y="1069"/>
                  </a:lnTo>
                  <a:lnTo>
                    <a:pt x="1822" y="1056"/>
                  </a:lnTo>
                  <a:lnTo>
                    <a:pt x="1821" y="1041"/>
                  </a:lnTo>
                  <a:lnTo>
                    <a:pt x="1822" y="1026"/>
                  </a:lnTo>
                  <a:lnTo>
                    <a:pt x="1824" y="1012"/>
                  </a:lnTo>
                  <a:lnTo>
                    <a:pt x="1828" y="981"/>
                  </a:lnTo>
                  <a:lnTo>
                    <a:pt x="1834" y="949"/>
                  </a:lnTo>
                  <a:lnTo>
                    <a:pt x="1844" y="916"/>
                  </a:lnTo>
                  <a:lnTo>
                    <a:pt x="1854" y="884"/>
                  </a:lnTo>
                  <a:lnTo>
                    <a:pt x="1866" y="850"/>
                  </a:lnTo>
                  <a:lnTo>
                    <a:pt x="1880" y="818"/>
                  </a:lnTo>
                  <a:lnTo>
                    <a:pt x="1894" y="786"/>
                  </a:lnTo>
                  <a:lnTo>
                    <a:pt x="1908" y="756"/>
                  </a:lnTo>
                  <a:lnTo>
                    <a:pt x="1934" y="700"/>
                  </a:lnTo>
                  <a:lnTo>
                    <a:pt x="1958" y="653"/>
                  </a:lnTo>
                  <a:lnTo>
                    <a:pt x="1966" y="633"/>
                  </a:lnTo>
                  <a:lnTo>
                    <a:pt x="1970" y="617"/>
                  </a:lnTo>
                  <a:lnTo>
                    <a:pt x="1973" y="603"/>
                  </a:lnTo>
                  <a:lnTo>
                    <a:pt x="1972" y="589"/>
                  </a:lnTo>
                  <a:lnTo>
                    <a:pt x="1969" y="577"/>
                  </a:lnTo>
                  <a:lnTo>
                    <a:pt x="1965" y="568"/>
                  </a:lnTo>
                  <a:lnTo>
                    <a:pt x="1958" y="559"/>
                  </a:lnTo>
                  <a:lnTo>
                    <a:pt x="1953" y="548"/>
                  </a:lnTo>
                  <a:lnTo>
                    <a:pt x="1946" y="539"/>
                  </a:lnTo>
                  <a:lnTo>
                    <a:pt x="1940" y="528"/>
                  </a:lnTo>
                  <a:lnTo>
                    <a:pt x="1934" y="516"/>
                  </a:lnTo>
                  <a:lnTo>
                    <a:pt x="1930" y="503"/>
                  </a:lnTo>
                  <a:lnTo>
                    <a:pt x="1928" y="488"/>
                  </a:lnTo>
                  <a:lnTo>
                    <a:pt x="1926" y="469"/>
                  </a:lnTo>
                  <a:lnTo>
                    <a:pt x="1929" y="449"/>
                  </a:lnTo>
                  <a:lnTo>
                    <a:pt x="1934" y="425"/>
                  </a:lnTo>
                  <a:lnTo>
                    <a:pt x="1941" y="405"/>
                  </a:lnTo>
                  <a:lnTo>
                    <a:pt x="1948" y="389"/>
                  </a:lnTo>
                  <a:lnTo>
                    <a:pt x="1956" y="376"/>
                  </a:lnTo>
                  <a:lnTo>
                    <a:pt x="1964" y="367"/>
                  </a:lnTo>
                  <a:lnTo>
                    <a:pt x="1972" y="359"/>
                  </a:lnTo>
                  <a:lnTo>
                    <a:pt x="1981" y="353"/>
                  </a:lnTo>
                  <a:lnTo>
                    <a:pt x="1989" y="348"/>
                  </a:lnTo>
                  <a:lnTo>
                    <a:pt x="1998" y="343"/>
                  </a:lnTo>
                  <a:lnTo>
                    <a:pt x="2006" y="337"/>
                  </a:lnTo>
                  <a:lnTo>
                    <a:pt x="2016" y="329"/>
                  </a:lnTo>
                  <a:lnTo>
                    <a:pt x="2024" y="321"/>
                  </a:lnTo>
                  <a:lnTo>
                    <a:pt x="2033" y="309"/>
                  </a:lnTo>
                  <a:lnTo>
                    <a:pt x="2041" y="293"/>
                  </a:lnTo>
                  <a:lnTo>
                    <a:pt x="2050" y="275"/>
                  </a:lnTo>
                  <a:lnTo>
                    <a:pt x="2058" y="249"/>
                  </a:lnTo>
                  <a:lnTo>
                    <a:pt x="2066" y="220"/>
                  </a:lnTo>
                  <a:lnTo>
                    <a:pt x="2069" y="204"/>
                  </a:lnTo>
                  <a:lnTo>
                    <a:pt x="2070" y="189"/>
                  </a:lnTo>
                  <a:lnTo>
                    <a:pt x="2072" y="176"/>
                  </a:lnTo>
                  <a:lnTo>
                    <a:pt x="2072" y="164"/>
                  </a:lnTo>
                  <a:lnTo>
                    <a:pt x="2069" y="152"/>
                  </a:lnTo>
                  <a:lnTo>
                    <a:pt x="2066" y="143"/>
                  </a:lnTo>
                  <a:lnTo>
                    <a:pt x="2062" y="132"/>
                  </a:lnTo>
                  <a:lnTo>
                    <a:pt x="2057" y="124"/>
                  </a:lnTo>
                  <a:lnTo>
                    <a:pt x="2049" y="116"/>
                  </a:lnTo>
                  <a:lnTo>
                    <a:pt x="2041" y="108"/>
                  </a:lnTo>
                  <a:lnTo>
                    <a:pt x="2030" y="100"/>
                  </a:lnTo>
                  <a:lnTo>
                    <a:pt x="2018" y="94"/>
                  </a:lnTo>
                  <a:lnTo>
                    <a:pt x="1989" y="79"/>
                  </a:lnTo>
                  <a:lnTo>
                    <a:pt x="1952" y="64"/>
                  </a:lnTo>
                  <a:lnTo>
                    <a:pt x="1934" y="55"/>
                  </a:lnTo>
                  <a:lnTo>
                    <a:pt x="1918" y="46"/>
                  </a:lnTo>
                  <a:lnTo>
                    <a:pt x="1904" y="36"/>
                  </a:lnTo>
                  <a:lnTo>
                    <a:pt x="1892" y="27"/>
                  </a:lnTo>
                  <a:lnTo>
                    <a:pt x="1870" y="12"/>
                  </a:lnTo>
                  <a:lnTo>
                    <a:pt x="1854" y="3"/>
                  </a:lnTo>
                  <a:lnTo>
                    <a:pt x="1846" y="0"/>
                  </a:lnTo>
                  <a:lnTo>
                    <a:pt x="1838" y="0"/>
                  </a:lnTo>
                  <a:lnTo>
                    <a:pt x="1830" y="3"/>
                  </a:lnTo>
                  <a:lnTo>
                    <a:pt x="1824" y="8"/>
                  </a:lnTo>
                  <a:lnTo>
                    <a:pt x="1814" y="18"/>
                  </a:lnTo>
                  <a:lnTo>
                    <a:pt x="1805" y="30"/>
                  </a:lnTo>
                  <a:lnTo>
                    <a:pt x="1794" y="44"/>
                  </a:lnTo>
                  <a:lnTo>
                    <a:pt x="1784" y="64"/>
                  </a:lnTo>
                  <a:lnTo>
                    <a:pt x="1773" y="87"/>
                  </a:lnTo>
                  <a:lnTo>
                    <a:pt x="1757" y="126"/>
                  </a:lnTo>
                  <a:lnTo>
                    <a:pt x="1748" y="148"/>
                  </a:lnTo>
                  <a:lnTo>
                    <a:pt x="1737" y="173"/>
                  </a:lnTo>
                  <a:lnTo>
                    <a:pt x="1724" y="199"/>
                  </a:lnTo>
                  <a:lnTo>
                    <a:pt x="1709" y="225"/>
                  </a:lnTo>
                  <a:lnTo>
                    <a:pt x="1693" y="252"/>
                  </a:lnTo>
                  <a:lnTo>
                    <a:pt x="1673" y="276"/>
                  </a:lnTo>
                  <a:lnTo>
                    <a:pt x="1662" y="288"/>
                  </a:lnTo>
                  <a:lnTo>
                    <a:pt x="1652" y="300"/>
                  </a:lnTo>
                  <a:lnTo>
                    <a:pt x="1640" y="311"/>
                  </a:lnTo>
                  <a:lnTo>
                    <a:pt x="1628" y="320"/>
                  </a:lnTo>
                  <a:lnTo>
                    <a:pt x="1614" y="329"/>
                  </a:lnTo>
                  <a:lnTo>
                    <a:pt x="1600" y="337"/>
                  </a:lnTo>
                  <a:lnTo>
                    <a:pt x="1585" y="345"/>
                  </a:lnTo>
                  <a:lnTo>
                    <a:pt x="1570" y="352"/>
                  </a:lnTo>
                  <a:lnTo>
                    <a:pt x="1554" y="357"/>
                  </a:lnTo>
                  <a:lnTo>
                    <a:pt x="1537" y="361"/>
                  </a:lnTo>
                  <a:lnTo>
                    <a:pt x="1518" y="364"/>
                  </a:lnTo>
                  <a:lnTo>
                    <a:pt x="1500" y="365"/>
                  </a:lnTo>
                  <a:lnTo>
                    <a:pt x="1489" y="375"/>
                  </a:lnTo>
                  <a:lnTo>
                    <a:pt x="1481" y="385"/>
                  </a:lnTo>
                  <a:lnTo>
                    <a:pt x="1474" y="395"/>
                  </a:lnTo>
                  <a:lnTo>
                    <a:pt x="1468" y="404"/>
                  </a:lnTo>
                  <a:lnTo>
                    <a:pt x="1464" y="412"/>
                  </a:lnTo>
                  <a:lnTo>
                    <a:pt x="1461" y="420"/>
                  </a:lnTo>
                  <a:lnTo>
                    <a:pt x="1460" y="428"/>
                  </a:lnTo>
                  <a:lnTo>
                    <a:pt x="1458" y="436"/>
                  </a:lnTo>
                  <a:lnTo>
                    <a:pt x="1460" y="443"/>
                  </a:lnTo>
                  <a:lnTo>
                    <a:pt x="1460" y="449"/>
                  </a:lnTo>
                  <a:lnTo>
                    <a:pt x="1462" y="456"/>
                  </a:lnTo>
                  <a:lnTo>
                    <a:pt x="1464" y="463"/>
                  </a:lnTo>
                  <a:lnTo>
                    <a:pt x="1470" y="475"/>
                  </a:lnTo>
                  <a:lnTo>
                    <a:pt x="1477" y="485"/>
                  </a:lnTo>
                  <a:lnTo>
                    <a:pt x="1485" y="497"/>
                  </a:lnTo>
                  <a:lnTo>
                    <a:pt x="1492" y="507"/>
                  </a:lnTo>
                  <a:lnTo>
                    <a:pt x="1496" y="517"/>
                  </a:lnTo>
                  <a:lnTo>
                    <a:pt x="1498" y="528"/>
                  </a:lnTo>
                  <a:lnTo>
                    <a:pt x="1498" y="533"/>
                  </a:lnTo>
                  <a:lnTo>
                    <a:pt x="1497" y="539"/>
                  </a:lnTo>
                  <a:lnTo>
                    <a:pt x="1494" y="545"/>
                  </a:lnTo>
                  <a:lnTo>
                    <a:pt x="1492" y="551"/>
                  </a:lnTo>
                  <a:lnTo>
                    <a:pt x="1486" y="556"/>
                  </a:lnTo>
                  <a:lnTo>
                    <a:pt x="1481" y="563"/>
                  </a:lnTo>
                  <a:lnTo>
                    <a:pt x="1473" y="569"/>
                  </a:lnTo>
                  <a:lnTo>
                    <a:pt x="1464" y="576"/>
                  </a:lnTo>
                  <a:lnTo>
                    <a:pt x="1462" y="588"/>
                  </a:lnTo>
                  <a:lnTo>
                    <a:pt x="1458" y="599"/>
                  </a:lnTo>
                  <a:lnTo>
                    <a:pt x="1456" y="611"/>
                  </a:lnTo>
                  <a:lnTo>
                    <a:pt x="1450" y="621"/>
                  </a:lnTo>
                  <a:lnTo>
                    <a:pt x="1441" y="641"/>
                  </a:lnTo>
                  <a:lnTo>
                    <a:pt x="1429" y="659"/>
                  </a:lnTo>
                  <a:lnTo>
                    <a:pt x="1404" y="691"/>
                  </a:lnTo>
                  <a:lnTo>
                    <a:pt x="1380" y="719"/>
                  </a:lnTo>
                  <a:lnTo>
                    <a:pt x="1371" y="730"/>
                  </a:lnTo>
                  <a:lnTo>
                    <a:pt x="1363" y="744"/>
                  </a:lnTo>
                  <a:lnTo>
                    <a:pt x="1360" y="749"/>
                  </a:lnTo>
                  <a:lnTo>
                    <a:pt x="1359" y="754"/>
                  </a:lnTo>
                  <a:lnTo>
                    <a:pt x="1357" y="761"/>
                  </a:lnTo>
                  <a:lnTo>
                    <a:pt x="1357" y="766"/>
                  </a:lnTo>
                  <a:lnTo>
                    <a:pt x="1359" y="773"/>
                  </a:lnTo>
                  <a:lnTo>
                    <a:pt x="1361" y="778"/>
                  </a:lnTo>
                  <a:lnTo>
                    <a:pt x="1364" y="785"/>
                  </a:lnTo>
                  <a:lnTo>
                    <a:pt x="1369" y="790"/>
                  </a:lnTo>
                  <a:lnTo>
                    <a:pt x="1376" y="797"/>
                  </a:lnTo>
                  <a:lnTo>
                    <a:pt x="1384" y="804"/>
                  </a:lnTo>
                  <a:lnTo>
                    <a:pt x="1393" y="809"/>
                  </a:lnTo>
                  <a:lnTo>
                    <a:pt x="1404" y="816"/>
                  </a:lnTo>
                  <a:lnTo>
                    <a:pt x="1417" y="825"/>
                  </a:lnTo>
                  <a:lnTo>
                    <a:pt x="1428" y="833"/>
                  </a:lnTo>
                  <a:lnTo>
                    <a:pt x="1436" y="844"/>
                  </a:lnTo>
                  <a:lnTo>
                    <a:pt x="1442" y="853"/>
                  </a:lnTo>
                  <a:lnTo>
                    <a:pt x="1448" y="864"/>
                  </a:lnTo>
                  <a:lnTo>
                    <a:pt x="1452" y="876"/>
                  </a:lnTo>
                  <a:lnTo>
                    <a:pt x="1454" y="886"/>
                  </a:lnTo>
                  <a:lnTo>
                    <a:pt x="1456" y="898"/>
                  </a:lnTo>
                  <a:lnTo>
                    <a:pt x="1460" y="921"/>
                  </a:lnTo>
                  <a:lnTo>
                    <a:pt x="1462" y="944"/>
                  </a:lnTo>
                  <a:lnTo>
                    <a:pt x="1466" y="956"/>
                  </a:lnTo>
                  <a:lnTo>
                    <a:pt x="1470" y="965"/>
                  </a:lnTo>
                  <a:lnTo>
                    <a:pt x="1474" y="976"/>
                  </a:lnTo>
                  <a:lnTo>
                    <a:pt x="1482" y="985"/>
                  </a:lnTo>
                  <a:lnTo>
                    <a:pt x="1482" y="990"/>
                  </a:lnTo>
                  <a:lnTo>
                    <a:pt x="1485" y="1004"/>
                  </a:lnTo>
                  <a:lnTo>
                    <a:pt x="1486" y="1024"/>
                  </a:lnTo>
                  <a:lnTo>
                    <a:pt x="1485" y="1046"/>
                  </a:lnTo>
                  <a:lnTo>
                    <a:pt x="1484" y="1057"/>
                  </a:lnTo>
                  <a:lnTo>
                    <a:pt x="1481" y="1069"/>
                  </a:lnTo>
                  <a:lnTo>
                    <a:pt x="1477" y="1080"/>
                  </a:lnTo>
                  <a:lnTo>
                    <a:pt x="1472" y="1089"/>
                  </a:lnTo>
                  <a:lnTo>
                    <a:pt x="1465" y="1097"/>
                  </a:lnTo>
                  <a:lnTo>
                    <a:pt x="1457" y="1104"/>
                  </a:lnTo>
                  <a:lnTo>
                    <a:pt x="1452" y="1106"/>
                  </a:lnTo>
                  <a:lnTo>
                    <a:pt x="1446" y="1109"/>
                  </a:lnTo>
                  <a:lnTo>
                    <a:pt x="1440" y="1110"/>
                  </a:lnTo>
                  <a:lnTo>
                    <a:pt x="1434" y="1112"/>
                  </a:lnTo>
                  <a:lnTo>
                    <a:pt x="1426" y="1112"/>
                  </a:lnTo>
                  <a:lnTo>
                    <a:pt x="1418" y="1112"/>
                  </a:lnTo>
                  <a:lnTo>
                    <a:pt x="1410" y="1109"/>
                  </a:lnTo>
                  <a:lnTo>
                    <a:pt x="1404" y="1106"/>
                  </a:lnTo>
                  <a:lnTo>
                    <a:pt x="1396" y="1102"/>
                  </a:lnTo>
                  <a:lnTo>
                    <a:pt x="1389" y="1097"/>
                  </a:lnTo>
                  <a:lnTo>
                    <a:pt x="1381" y="1090"/>
                  </a:lnTo>
                  <a:lnTo>
                    <a:pt x="1375" y="1084"/>
                  </a:lnTo>
                  <a:lnTo>
                    <a:pt x="1360" y="1066"/>
                  </a:lnTo>
                  <a:lnTo>
                    <a:pt x="1347" y="1046"/>
                  </a:lnTo>
                  <a:lnTo>
                    <a:pt x="1333" y="1024"/>
                  </a:lnTo>
                  <a:lnTo>
                    <a:pt x="1320" y="1000"/>
                  </a:lnTo>
                  <a:lnTo>
                    <a:pt x="1292" y="945"/>
                  </a:lnTo>
                  <a:lnTo>
                    <a:pt x="1264" y="886"/>
                  </a:lnTo>
                  <a:lnTo>
                    <a:pt x="1251" y="858"/>
                  </a:lnTo>
                  <a:lnTo>
                    <a:pt x="1236" y="829"/>
                  </a:lnTo>
                  <a:lnTo>
                    <a:pt x="1221" y="801"/>
                  </a:lnTo>
                  <a:lnTo>
                    <a:pt x="1205" y="774"/>
                  </a:lnTo>
                  <a:lnTo>
                    <a:pt x="1197" y="786"/>
                  </a:lnTo>
                  <a:lnTo>
                    <a:pt x="1187" y="798"/>
                  </a:lnTo>
                  <a:lnTo>
                    <a:pt x="1176" y="809"/>
                  </a:lnTo>
                  <a:lnTo>
                    <a:pt x="1165" y="820"/>
                  </a:lnTo>
                  <a:lnTo>
                    <a:pt x="1155" y="830"/>
                  </a:lnTo>
                  <a:lnTo>
                    <a:pt x="1147" y="842"/>
                  </a:lnTo>
                  <a:lnTo>
                    <a:pt x="1144" y="849"/>
                  </a:lnTo>
                  <a:lnTo>
                    <a:pt x="1141" y="856"/>
                  </a:lnTo>
                  <a:lnTo>
                    <a:pt x="1140" y="862"/>
                  </a:lnTo>
                  <a:lnTo>
                    <a:pt x="1139" y="870"/>
                  </a:lnTo>
                  <a:lnTo>
                    <a:pt x="1140" y="878"/>
                  </a:lnTo>
                  <a:lnTo>
                    <a:pt x="1141" y="885"/>
                  </a:lnTo>
                  <a:lnTo>
                    <a:pt x="1144" y="893"/>
                  </a:lnTo>
                  <a:lnTo>
                    <a:pt x="1147" y="900"/>
                  </a:lnTo>
                  <a:lnTo>
                    <a:pt x="1155" y="913"/>
                  </a:lnTo>
                  <a:lnTo>
                    <a:pt x="1163" y="926"/>
                  </a:lnTo>
                  <a:lnTo>
                    <a:pt x="1172" y="940"/>
                  </a:lnTo>
                  <a:lnTo>
                    <a:pt x="1180" y="956"/>
                  </a:lnTo>
                  <a:lnTo>
                    <a:pt x="1183" y="964"/>
                  </a:lnTo>
                  <a:lnTo>
                    <a:pt x="1185" y="972"/>
                  </a:lnTo>
                  <a:lnTo>
                    <a:pt x="1187" y="981"/>
                  </a:lnTo>
                  <a:lnTo>
                    <a:pt x="1187" y="990"/>
                  </a:lnTo>
                  <a:lnTo>
                    <a:pt x="1187" y="1004"/>
                  </a:lnTo>
                  <a:lnTo>
                    <a:pt x="1184" y="1014"/>
                  </a:lnTo>
                  <a:lnTo>
                    <a:pt x="1181" y="1025"/>
                  </a:lnTo>
                  <a:lnTo>
                    <a:pt x="1177" y="1033"/>
                  </a:lnTo>
                  <a:lnTo>
                    <a:pt x="1167" y="1049"/>
                  </a:lnTo>
                  <a:lnTo>
                    <a:pt x="1153" y="1062"/>
                  </a:lnTo>
                  <a:lnTo>
                    <a:pt x="1141" y="1074"/>
                  </a:lnTo>
                  <a:lnTo>
                    <a:pt x="1131" y="1088"/>
                  </a:lnTo>
                  <a:lnTo>
                    <a:pt x="1127" y="1096"/>
                  </a:lnTo>
                  <a:lnTo>
                    <a:pt x="1124" y="1104"/>
                  </a:lnTo>
                  <a:lnTo>
                    <a:pt x="1121" y="1113"/>
                  </a:lnTo>
                  <a:lnTo>
                    <a:pt x="1121" y="1124"/>
                  </a:lnTo>
                  <a:lnTo>
                    <a:pt x="1121" y="1128"/>
                  </a:lnTo>
                  <a:lnTo>
                    <a:pt x="1123" y="1132"/>
                  </a:lnTo>
                  <a:lnTo>
                    <a:pt x="1125" y="1137"/>
                  </a:lnTo>
                  <a:lnTo>
                    <a:pt x="1128" y="1141"/>
                  </a:lnTo>
                  <a:lnTo>
                    <a:pt x="1135" y="1149"/>
                  </a:lnTo>
                  <a:lnTo>
                    <a:pt x="1141" y="1158"/>
                  </a:lnTo>
                  <a:lnTo>
                    <a:pt x="1149" y="1168"/>
                  </a:lnTo>
                  <a:lnTo>
                    <a:pt x="1156" y="1177"/>
                  </a:lnTo>
                  <a:lnTo>
                    <a:pt x="1159" y="1184"/>
                  </a:lnTo>
                  <a:lnTo>
                    <a:pt x="1161" y="1189"/>
                  </a:lnTo>
                  <a:lnTo>
                    <a:pt x="1163" y="1196"/>
                  </a:lnTo>
                  <a:lnTo>
                    <a:pt x="1163" y="1202"/>
                  </a:lnTo>
                  <a:lnTo>
                    <a:pt x="1163" y="1212"/>
                  </a:lnTo>
                  <a:lnTo>
                    <a:pt x="1161" y="1221"/>
                  </a:lnTo>
                  <a:lnTo>
                    <a:pt x="1159" y="1232"/>
                  </a:lnTo>
                  <a:lnTo>
                    <a:pt x="1156" y="1240"/>
                  </a:lnTo>
                  <a:lnTo>
                    <a:pt x="1151" y="1249"/>
                  </a:lnTo>
                  <a:lnTo>
                    <a:pt x="1147" y="1258"/>
                  </a:lnTo>
                  <a:lnTo>
                    <a:pt x="1141" y="1266"/>
                  </a:lnTo>
                  <a:lnTo>
                    <a:pt x="1135" y="1274"/>
                  </a:lnTo>
                  <a:lnTo>
                    <a:pt x="1120" y="1290"/>
                  </a:lnTo>
                  <a:lnTo>
                    <a:pt x="1104" y="1304"/>
                  </a:lnTo>
                  <a:lnTo>
                    <a:pt x="1085" y="1317"/>
                  </a:lnTo>
                  <a:lnTo>
                    <a:pt x="1067" y="1330"/>
                  </a:lnTo>
                  <a:lnTo>
                    <a:pt x="1047" y="1341"/>
                  </a:lnTo>
                  <a:lnTo>
                    <a:pt x="1025" y="1351"/>
                  </a:lnTo>
                  <a:lnTo>
                    <a:pt x="1005" y="1361"/>
                  </a:lnTo>
                  <a:lnTo>
                    <a:pt x="985" y="1369"/>
                  </a:lnTo>
                  <a:lnTo>
                    <a:pt x="948" y="1383"/>
                  </a:lnTo>
                  <a:lnTo>
                    <a:pt x="916" y="1394"/>
                  </a:lnTo>
                  <a:lnTo>
                    <a:pt x="893" y="1402"/>
                  </a:lnTo>
                  <a:lnTo>
                    <a:pt x="872" y="1411"/>
                  </a:lnTo>
                  <a:lnTo>
                    <a:pt x="851" y="1421"/>
                  </a:lnTo>
                  <a:lnTo>
                    <a:pt x="832" y="1430"/>
                  </a:lnTo>
                  <a:lnTo>
                    <a:pt x="796" y="1449"/>
                  </a:lnTo>
                  <a:lnTo>
                    <a:pt x="761" y="1470"/>
                  </a:lnTo>
                  <a:lnTo>
                    <a:pt x="728" y="1490"/>
                  </a:lnTo>
                  <a:lnTo>
                    <a:pt x="695" y="1510"/>
                  </a:lnTo>
                  <a:lnTo>
                    <a:pt x="677" y="1519"/>
                  </a:lnTo>
                  <a:lnTo>
                    <a:pt x="660" y="1527"/>
                  </a:lnTo>
                  <a:lnTo>
                    <a:pt x="640" y="1537"/>
                  </a:lnTo>
                  <a:lnTo>
                    <a:pt x="621" y="1545"/>
                  </a:lnTo>
                  <a:lnTo>
                    <a:pt x="604" y="1550"/>
                  </a:lnTo>
                  <a:lnTo>
                    <a:pt x="590" y="1557"/>
                  </a:lnTo>
                  <a:lnTo>
                    <a:pt x="576" y="1565"/>
                  </a:lnTo>
                  <a:lnTo>
                    <a:pt x="563" y="1573"/>
                  </a:lnTo>
                  <a:lnTo>
                    <a:pt x="539" y="1591"/>
                  </a:lnTo>
                  <a:lnTo>
                    <a:pt x="516" y="1611"/>
                  </a:lnTo>
                  <a:lnTo>
                    <a:pt x="504" y="1621"/>
                  </a:lnTo>
                  <a:lnTo>
                    <a:pt x="492" y="1630"/>
                  </a:lnTo>
                  <a:lnTo>
                    <a:pt x="482" y="1638"/>
                  </a:lnTo>
                  <a:lnTo>
                    <a:pt x="468" y="1645"/>
                  </a:lnTo>
                  <a:lnTo>
                    <a:pt x="455" y="1651"/>
                  </a:lnTo>
                  <a:lnTo>
                    <a:pt x="442" y="1655"/>
                  </a:lnTo>
                  <a:lnTo>
                    <a:pt x="427" y="1658"/>
                  </a:lnTo>
                  <a:lnTo>
                    <a:pt x="410" y="1659"/>
                  </a:lnTo>
                  <a:lnTo>
                    <a:pt x="408" y="1658"/>
                  </a:lnTo>
                  <a:lnTo>
                    <a:pt x="406" y="1655"/>
                  </a:lnTo>
                  <a:lnTo>
                    <a:pt x="404" y="1651"/>
                  </a:lnTo>
                  <a:lnTo>
                    <a:pt x="402" y="1646"/>
                  </a:lnTo>
                  <a:lnTo>
                    <a:pt x="399" y="1637"/>
                  </a:lnTo>
                  <a:lnTo>
                    <a:pt x="398" y="1629"/>
                  </a:lnTo>
                  <a:lnTo>
                    <a:pt x="386" y="1629"/>
                  </a:lnTo>
                  <a:lnTo>
                    <a:pt x="379" y="1629"/>
                  </a:lnTo>
                  <a:lnTo>
                    <a:pt x="375" y="1629"/>
                  </a:lnTo>
                  <a:lnTo>
                    <a:pt x="368" y="1629"/>
                  </a:lnTo>
                  <a:lnTo>
                    <a:pt x="352" y="1630"/>
                  </a:lnTo>
                  <a:lnTo>
                    <a:pt x="338" y="1634"/>
                  </a:lnTo>
                  <a:lnTo>
                    <a:pt x="324" y="1639"/>
                  </a:lnTo>
                  <a:lnTo>
                    <a:pt x="312" y="1647"/>
                  </a:lnTo>
                  <a:lnTo>
                    <a:pt x="302" y="1657"/>
                  </a:lnTo>
                  <a:lnTo>
                    <a:pt x="291" y="1667"/>
                  </a:lnTo>
                  <a:lnTo>
                    <a:pt x="283" y="1681"/>
                  </a:lnTo>
                  <a:lnTo>
                    <a:pt x="275" y="1694"/>
                  </a:lnTo>
                  <a:lnTo>
                    <a:pt x="268" y="1709"/>
                  </a:lnTo>
                  <a:lnTo>
                    <a:pt x="262" y="1723"/>
                  </a:lnTo>
                  <a:lnTo>
                    <a:pt x="256" y="1739"/>
                  </a:lnTo>
                  <a:lnTo>
                    <a:pt x="251" y="1757"/>
                  </a:lnTo>
                  <a:lnTo>
                    <a:pt x="243" y="1790"/>
                  </a:lnTo>
                  <a:lnTo>
                    <a:pt x="235" y="1822"/>
                  </a:lnTo>
                  <a:lnTo>
                    <a:pt x="235" y="1827"/>
                  </a:lnTo>
                  <a:lnTo>
                    <a:pt x="232" y="1833"/>
                  </a:lnTo>
                  <a:lnTo>
                    <a:pt x="228" y="1839"/>
                  </a:lnTo>
                  <a:lnTo>
                    <a:pt x="224" y="1846"/>
                  </a:lnTo>
                  <a:lnTo>
                    <a:pt x="212" y="1861"/>
                  </a:lnTo>
                  <a:lnTo>
                    <a:pt x="198" y="1877"/>
                  </a:lnTo>
                  <a:lnTo>
                    <a:pt x="167" y="1906"/>
                  </a:lnTo>
                  <a:lnTo>
                    <a:pt x="146" y="1930"/>
                  </a:lnTo>
                  <a:lnTo>
                    <a:pt x="135" y="1944"/>
                  </a:lnTo>
                  <a:lnTo>
                    <a:pt x="126" y="1958"/>
                  </a:lnTo>
                  <a:lnTo>
                    <a:pt x="118" y="1972"/>
                  </a:lnTo>
                  <a:lnTo>
                    <a:pt x="111" y="1987"/>
                  </a:lnTo>
                  <a:lnTo>
                    <a:pt x="100" y="2016"/>
                  </a:lnTo>
                  <a:lnTo>
                    <a:pt x="91" y="2047"/>
                  </a:lnTo>
                  <a:lnTo>
                    <a:pt x="83" y="2080"/>
                  </a:lnTo>
                  <a:lnTo>
                    <a:pt x="76" y="2114"/>
                  </a:lnTo>
                  <a:lnTo>
                    <a:pt x="67" y="2147"/>
                  </a:lnTo>
                  <a:lnTo>
                    <a:pt x="55" y="2183"/>
                  </a:lnTo>
                  <a:lnTo>
                    <a:pt x="50" y="2195"/>
                  </a:lnTo>
                  <a:lnTo>
                    <a:pt x="42" y="2206"/>
                  </a:lnTo>
                  <a:lnTo>
                    <a:pt x="32" y="2218"/>
                  </a:lnTo>
                  <a:lnTo>
                    <a:pt x="23" y="2228"/>
                  </a:lnTo>
                  <a:lnTo>
                    <a:pt x="15" y="2240"/>
                  </a:lnTo>
                  <a:lnTo>
                    <a:pt x="7" y="2254"/>
                  </a:lnTo>
                  <a:lnTo>
                    <a:pt x="4" y="2260"/>
                  </a:lnTo>
                  <a:lnTo>
                    <a:pt x="3" y="2266"/>
                  </a:lnTo>
                  <a:lnTo>
                    <a:pt x="2" y="2272"/>
                  </a:lnTo>
                  <a:lnTo>
                    <a:pt x="0" y="2279"/>
                  </a:lnTo>
                  <a:lnTo>
                    <a:pt x="2" y="2284"/>
                  </a:lnTo>
                  <a:lnTo>
                    <a:pt x="6" y="2290"/>
                  </a:lnTo>
                  <a:lnTo>
                    <a:pt x="10" y="2295"/>
                  </a:lnTo>
                  <a:lnTo>
                    <a:pt x="16" y="2300"/>
                  </a:lnTo>
                  <a:lnTo>
                    <a:pt x="26" y="2310"/>
                  </a:lnTo>
                  <a:lnTo>
                    <a:pt x="31" y="2315"/>
                  </a:lnTo>
                  <a:lnTo>
                    <a:pt x="38" y="2336"/>
                  </a:lnTo>
                  <a:lnTo>
                    <a:pt x="47" y="2356"/>
                  </a:lnTo>
                  <a:lnTo>
                    <a:pt x="56" y="2372"/>
                  </a:lnTo>
                  <a:lnTo>
                    <a:pt x="67" y="2388"/>
                  </a:lnTo>
                  <a:lnTo>
                    <a:pt x="79" y="2402"/>
                  </a:lnTo>
                  <a:lnTo>
                    <a:pt x="91" y="2414"/>
                  </a:lnTo>
                  <a:lnTo>
                    <a:pt x="103" y="2426"/>
                  </a:lnTo>
                  <a:lnTo>
                    <a:pt x="115" y="2438"/>
                  </a:lnTo>
                  <a:lnTo>
                    <a:pt x="140" y="2460"/>
                  </a:lnTo>
                  <a:lnTo>
                    <a:pt x="163" y="2484"/>
                  </a:lnTo>
                  <a:lnTo>
                    <a:pt x="174" y="2499"/>
                  </a:lnTo>
                  <a:lnTo>
                    <a:pt x="183" y="2513"/>
                  </a:lnTo>
                  <a:lnTo>
                    <a:pt x="192" y="2531"/>
                  </a:lnTo>
                  <a:lnTo>
                    <a:pt x="199" y="2551"/>
                  </a:lnTo>
                  <a:lnTo>
                    <a:pt x="215" y="2572"/>
                  </a:lnTo>
                  <a:lnTo>
                    <a:pt x="234" y="2593"/>
                  </a:lnTo>
                  <a:lnTo>
                    <a:pt x="242" y="2605"/>
                  </a:lnTo>
                  <a:lnTo>
                    <a:pt x="248" y="2617"/>
                  </a:lnTo>
                  <a:lnTo>
                    <a:pt x="250" y="2624"/>
                  </a:lnTo>
                  <a:lnTo>
                    <a:pt x="252" y="2632"/>
                  </a:lnTo>
                  <a:lnTo>
                    <a:pt x="254" y="2639"/>
                  </a:lnTo>
                  <a:lnTo>
                    <a:pt x="254" y="2647"/>
                  </a:lnTo>
                  <a:lnTo>
                    <a:pt x="252" y="2660"/>
                  </a:lnTo>
                  <a:lnTo>
                    <a:pt x="251" y="2672"/>
                  </a:lnTo>
                  <a:lnTo>
                    <a:pt x="248" y="2684"/>
                  </a:lnTo>
                  <a:lnTo>
                    <a:pt x="244" y="2695"/>
                  </a:lnTo>
                  <a:lnTo>
                    <a:pt x="242" y="2707"/>
                  </a:lnTo>
                  <a:lnTo>
                    <a:pt x="239" y="2717"/>
                  </a:lnTo>
                  <a:lnTo>
                    <a:pt x="236" y="2729"/>
                  </a:lnTo>
                  <a:lnTo>
                    <a:pt x="235" y="2743"/>
                  </a:lnTo>
                  <a:lnTo>
                    <a:pt x="236" y="2767"/>
                  </a:lnTo>
                  <a:lnTo>
                    <a:pt x="239" y="2791"/>
                  </a:lnTo>
                  <a:lnTo>
                    <a:pt x="242" y="2813"/>
                  </a:lnTo>
                  <a:lnTo>
                    <a:pt x="244" y="2836"/>
                  </a:lnTo>
                  <a:lnTo>
                    <a:pt x="248" y="2859"/>
                  </a:lnTo>
                  <a:lnTo>
                    <a:pt x="251" y="2881"/>
                  </a:lnTo>
                  <a:lnTo>
                    <a:pt x="252" y="2905"/>
                  </a:lnTo>
                  <a:lnTo>
                    <a:pt x="254" y="2929"/>
                  </a:lnTo>
                  <a:lnTo>
                    <a:pt x="254" y="2960"/>
                  </a:lnTo>
                  <a:lnTo>
                    <a:pt x="254" y="2991"/>
                  </a:lnTo>
                  <a:lnTo>
                    <a:pt x="254" y="3019"/>
                  </a:lnTo>
                  <a:lnTo>
                    <a:pt x="254" y="3039"/>
                  </a:lnTo>
                  <a:lnTo>
                    <a:pt x="251" y="3049"/>
                  </a:lnTo>
                  <a:lnTo>
                    <a:pt x="246" y="3064"/>
                  </a:lnTo>
                  <a:lnTo>
                    <a:pt x="243" y="3072"/>
                  </a:lnTo>
                  <a:lnTo>
                    <a:pt x="240" y="3080"/>
                  </a:lnTo>
                  <a:lnTo>
                    <a:pt x="240" y="3089"/>
                  </a:lnTo>
                  <a:lnTo>
                    <a:pt x="242" y="3098"/>
                  </a:lnTo>
                  <a:lnTo>
                    <a:pt x="246" y="3109"/>
                  </a:lnTo>
                  <a:lnTo>
                    <a:pt x="251" y="3117"/>
                  </a:lnTo>
                  <a:lnTo>
                    <a:pt x="259" y="3125"/>
                  </a:lnTo>
                  <a:lnTo>
                    <a:pt x="267" y="3130"/>
                  </a:lnTo>
                  <a:lnTo>
                    <a:pt x="284" y="3141"/>
                  </a:lnTo>
                  <a:lnTo>
                    <a:pt x="304" y="3149"/>
                  </a:lnTo>
                  <a:lnTo>
                    <a:pt x="324" y="3157"/>
                  </a:lnTo>
                  <a:lnTo>
                    <a:pt x="343" y="3168"/>
                  </a:lnTo>
                  <a:lnTo>
                    <a:pt x="351" y="3174"/>
                  </a:lnTo>
                  <a:lnTo>
                    <a:pt x="358" y="3181"/>
                  </a:lnTo>
                  <a:lnTo>
                    <a:pt x="364" y="3190"/>
                  </a:lnTo>
                  <a:lnTo>
                    <a:pt x="368" y="3201"/>
                  </a:lnTo>
                  <a:lnTo>
                    <a:pt x="375" y="3224"/>
                  </a:lnTo>
                  <a:lnTo>
                    <a:pt x="382" y="3250"/>
                  </a:lnTo>
                  <a:lnTo>
                    <a:pt x="387" y="3280"/>
                  </a:lnTo>
                  <a:lnTo>
                    <a:pt x="394" y="3308"/>
                  </a:lnTo>
                  <a:lnTo>
                    <a:pt x="402" y="3356"/>
                  </a:lnTo>
                  <a:lnTo>
                    <a:pt x="404" y="3376"/>
                  </a:lnTo>
                  <a:lnTo>
                    <a:pt x="402" y="3425"/>
                  </a:lnTo>
                  <a:lnTo>
                    <a:pt x="398" y="3469"/>
                  </a:lnTo>
                  <a:lnTo>
                    <a:pt x="394" y="3490"/>
                  </a:lnTo>
                  <a:lnTo>
                    <a:pt x="388" y="3510"/>
                  </a:lnTo>
                  <a:lnTo>
                    <a:pt x="384" y="3520"/>
                  </a:lnTo>
                  <a:lnTo>
                    <a:pt x="380" y="3530"/>
                  </a:lnTo>
                  <a:lnTo>
                    <a:pt x="375" y="3540"/>
                  </a:lnTo>
                  <a:lnTo>
                    <a:pt x="368" y="3550"/>
                  </a:lnTo>
                  <a:lnTo>
                    <a:pt x="230" y="3550"/>
                  </a:lnTo>
                  <a:lnTo>
                    <a:pt x="218" y="3560"/>
                  </a:lnTo>
                  <a:lnTo>
                    <a:pt x="207" y="3569"/>
                  </a:lnTo>
                  <a:lnTo>
                    <a:pt x="199" y="3580"/>
                  </a:lnTo>
                  <a:lnTo>
                    <a:pt x="191" y="3592"/>
                  </a:lnTo>
                  <a:lnTo>
                    <a:pt x="176" y="3620"/>
                  </a:lnTo>
                  <a:lnTo>
                    <a:pt x="158" y="3651"/>
                  </a:lnTo>
                  <a:lnTo>
                    <a:pt x="163" y="3666"/>
                  </a:lnTo>
                  <a:lnTo>
                    <a:pt x="171" y="3698"/>
                  </a:lnTo>
                  <a:lnTo>
                    <a:pt x="172" y="3707"/>
                  </a:lnTo>
                  <a:lnTo>
                    <a:pt x="174" y="3717"/>
                  </a:lnTo>
                  <a:lnTo>
                    <a:pt x="174" y="3726"/>
                  </a:lnTo>
                  <a:lnTo>
                    <a:pt x="172" y="3735"/>
                  </a:lnTo>
                  <a:lnTo>
                    <a:pt x="171" y="3745"/>
                  </a:lnTo>
                  <a:lnTo>
                    <a:pt x="168" y="3753"/>
                  </a:lnTo>
                  <a:lnTo>
                    <a:pt x="163" y="3761"/>
                  </a:lnTo>
                  <a:lnTo>
                    <a:pt x="158" y="3766"/>
                  </a:lnTo>
                  <a:lnTo>
                    <a:pt x="152" y="3766"/>
                  </a:lnTo>
                  <a:lnTo>
                    <a:pt x="148" y="3766"/>
                  </a:lnTo>
                  <a:lnTo>
                    <a:pt x="144" y="3763"/>
                  </a:lnTo>
                  <a:lnTo>
                    <a:pt x="139" y="3761"/>
                  </a:lnTo>
                  <a:lnTo>
                    <a:pt x="139" y="3785"/>
                  </a:lnTo>
                  <a:lnTo>
                    <a:pt x="139" y="3805"/>
                  </a:lnTo>
                  <a:lnTo>
                    <a:pt x="139" y="3822"/>
                  </a:lnTo>
                  <a:lnTo>
                    <a:pt x="139" y="3839"/>
                  </a:lnTo>
                  <a:lnTo>
                    <a:pt x="140" y="3854"/>
                  </a:lnTo>
                  <a:lnTo>
                    <a:pt x="143" y="3866"/>
                  </a:lnTo>
                  <a:lnTo>
                    <a:pt x="148" y="3874"/>
                  </a:lnTo>
                  <a:lnTo>
                    <a:pt x="154" y="3881"/>
                  </a:lnTo>
                  <a:lnTo>
                    <a:pt x="162" y="3887"/>
                  </a:lnTo>
                  <a:lnTo>
                    <a:pt x="170" y="3897"/>
                  </a:lnTo>
                  <a:lnTo>
                    <a:pt x="179" y="3907"/>
                  </a:lnTo>
                  <a:lnTo>
                    <a:pt x="187" y="3923"/>
                  </a:lnTo>
                  <a:lnTo>
                    <a:pt x="191" y="3933"/>
                  </a:lnTo>
                  <a:lnTo>
                    <a:pt x="191" y="3942"/>
                  </a:lnTo>
                  <a:lnTo>
                    <a:pt x="190" y="3951"/>
                  </a:lnTo>
                  <a:lnTo>
                    <a:pt x="188" y="3961"/>
                  </a:lnTo>
                  <a:lnTo>
                    <a:pt x="188" y="3970"/>
                  </a:lnTo>
                  <a:lnTo>
                    <a:pt x="190" y="3977"/>
                  </a:lnTo>
                  <a:lnTo>
                    <a:pt x="191" y="3981"/>
                  </a:lnTo>
                  <a:lnTo>
                    <a:pt x="192" y="3983"/>
                  </a:lnTo>
                  <a:lnTo>
                    <a:pt x="195" y="3987"/>
                  </a:lnTo>
                  <a:lnTo>
                    <a:pt x="199" y="3989"/>
                  </a:lnTo>
                  <a:lnTo>
                    <a:pt x="207" y="3994"/>
                  </a:lnTo>
                  <a:lnTo>
                    <a:pt x="215" y="3998"/>
                  </a:lnTo>
                  <a:lnTo>
                    <a:pt x="222" y="4001"/>
                  </a:lnTo>
                  <a:lnTo>
                    <a:pt x="230" y="4003"/>
                  </a:lnTo>
                  <a:lnTo>
                    <a:pt x="243" y="4006"/>
                  </a:lnTo>
                  <a:lnTo>
                    <a:pt x="258" y="4006"/>
                  </a:lnTo>
                  <a:lnTo>
                    <a:pt x="272" y="4006"/>
                  </a:lnTo>
                  <a:lnTo>
                    <a:pt x="287" y="4006"/>
                  </a:lnTo>
                  <a:lnTo>
                    <a:pt x="303" y="4009"/>
                  </a:lnTo>
                  <a:lnTo>
                    <a:pt x="320" y="4014"/>
                  </a:lnTo>
                  <a:lnTo>
                    <a:pt x="327" y="4017"/>
                  </a:lnTo>
                  <a:lnTo>
                    <a:pt x="335" y="4022"/>
                  </a:lnTo>
                  <a:lnTo>
                    <a:pt x="340" y="4027"/>
                  </a:lnTo>
                  <a:lnTo>
                    <a:pt x="347" y="4033"/>
                  </a:lnTo>
                  <a:lnTo>
                    <a:pt x="356" y="4046"/>
                  </a:lnTo>
                  <a:lnTo>
                    <a:pt x="366" y="4061"/>
                  </a:lnTo>
                  <a:lnTo>
                    <a:pt x="382" y="4093"/>
                  </a:lnTo>
                  <a:lnTo>
                    <a:pt x="398" y="4122"/>
                  </a:lnTo>
                  <a:lnTo>
                    <a:pt x="406" y="4130"/>
                  </a:lnTo>
                  <a:lnTo>
                    <a:pt x="415" y="4137"/>
                  </a:lnTo>
                  <a:lnTo>
                    <a:pt x="424" y="4141"/>
                  </a:lnTo>
                  <a:lnTo>
                    <a:pt x="434" y="4145"/>
                  </a:lnTo>
                  <a:lnTo>
                    <a:pt x="443" y="4149"/>
                  </a:lnTo>
                  <a:lnTo>
                    <a:pt x="451" y="4153"/>
                  </a:lnTo>
                  <a:lnTo>
                    <a:pt x="459" y="4158"/>
                  </a:lnTo>
                  <a:lnTo>
                    <a:pt x="464" y="4163"/>
                  </a:lnTo>
                  <a:lnTo>
                    <a:pt x="468" y="4177"/>
                  </a:lnTo>
                  <a:lnTo>
                    <a:pt x="470" y="4194"/>
                  </a:lnTo>
                  <a:lnTo>
                    <a:pt x="472" y="4211"/>
                  </a:lnTo>
                  <a:lnTo>
                    <a:pt x="474" y="4230"/>
                  </a:lnTo>
                  <a:lnTo>
                    <a:pt x="476" y="4246"/>
                  </a:lnTo>
                  <a:lnTo>
                    <a:pt x="482" y="4259"/>
                  </a:lnTo>
                  <a:lnTo>
                    <a:pt x="484" y="4264"/>
                  </a:lnTo>
                  <a:lnTo>
                    <a:pt x="490" y="4268"/>
                  </a:lnTo>
                  <a:lnTo>
                    <a:pt x="495" y="4271"/>
                  </a:lnTo>
                  <a:lnTo>
                    <a:pt x="500" y="4272"/>
                  </a:lnTo>
                  <a:lnTo>
                    <a:pt x="518" y="4272"/>
                  </a:lnTo>
                  <a:lnTo>
                    <a:pt x="534" y="4272"/>
                  </a:lnTo>
                  <a:lnTo>
                    <a:pt x="547" y="4274"/>
                  </a:lnTo>
                  <a:lnTo>
                    <a:pt x="560" y="4276"/>
                  </a:lnTo>
                  <a:lnTo>
                    <a:pt x="575" y="4279"/>
                  </a:lnTo>
                  <a:lnTo>
                    <a:pt x="588" y="4284"/>
                  </a:lnTo>
                  <a:lnTo>
                    <a:pt x="604" y="4292"/>
                  </a:lnTo>
                  <a:lnTo>
                    <a:pt x="621" y="4302"/>
                  </a:lnTo>
                  <a:lnTo>
                    <a:pt x="628" y="4306"/>
                  </a:lnTo>
                  <a:lnTo>
                    <a:pt x="633" y="4311"/>
                  </a:lnTo>
                  <a:lnTo>
                    <a:pt x="639" y="4315"/>
                  </a:lnTo>
                  <a:lnTo>
                    <a:pt x="644" y="4322"/>
                  </a:lnTo>
                  <a:lnTo>
                    <a:pt x="655" y="4334"/>
                  </a:lnTo>
                  <a:lnTo>
                    <a:pt x="664" y="4346"/>
                  </a:lnTo>
                  <a:lnTo>
                    <a:pt x="675" y="4356"/>
                  </a:lnTo>
                  <a:lnTo>
                    <a:pt x="687" y="4366"/>
                  </a:lnTo>
                  <a:lnTo>
                    <a:pt x="693" y="4370"/>
                  </a:lnTo>
                  <a:lnTo>
                    <a:pt x="701" y="4372"/>
                  </a:lnTo>
                  <a:lnTo>
                    <a:pt x="708" y="4374"/>
                  </a:lnTo>
                  <a:lnTo>
                    <a:pt x="717" y="4375"/>
                  </a:lnTo>
                  <a:lnTo>
                    <a:pt x="727" y="4374"/>
                  </a:lnTo>
                  <a:lnTo>
                    <a:pt x="736" y="4371"/>
                  </a:lnTo>
                  <a:lnTo>
                    <a:pt x="743" y="4366"/>
                  </a:lnTo>
                  <a:lnTo>
                    <a:pt x="749" y="4360"/>
                  </a:lnTo>
                  <a:lnTo>
                    <a:pt x="755" y="4354"/>
                  </a:lnTo>
                  <a:lnTo>
                    <a:pt x="760" y="4344"/>
                  </a:lnTo>
                  <a:lnTo>
                    <a:pt x="764" y="4335"/>
                  </a:lnTo>
                  <a:lnTo>
                    <a:pt x="768" y="4324"/>
                  </a:lnTo>
                  <a:lnTo>
                    <a:pt x="773" y="4302"/>
                  </a:lnTo>
                  <a:lnTo>
                    <a:pt x="776" y="4278"/>
                  </a:lnTo>
                  <a:lnTo>
                    <a:pt x="777" y="4254"/>
                  </a:lnTo>
                  <a:lnTo>
                    <a:pt x="777" y="4230"/>
                  </a:lnTo>
                  <a:lnTo>
                    <a:pt x="777" y="4222"/>
                  </a:lnTo>
                  <a:lnTo>
                    <a:pt x="779" y="4215"/>
                  </a:lnTo>
                  <a:lnTo>
                    <a:pt x="781" y="4210"/>
                  </a:lnTo>
                  <a:lnTo>
                    <a:pt x="784" y="4205"/>
                  </a:lnTo>
                  <a:lnTo>
                    <a:pt x="787" y="4202"/>
                  </a:lnTo>
                  <a:lnTo>
                    <a:pt x="789" y="4199"/>
                  </a:lnTo>
                  <a:lnTo>
                    <a:pt x="793" y="4197"/>
                  </a:lnTo>
                  <a:lnTo>
                    <a:pt x="797" y="4195"/>
                  </a:lnTo>
                  <a:lnTo>
                    <a:pt x="816" y="4193"/>
                  </a:lnTo>
                  <a:lnTo>
                    <a:pt x="832" y="4189"/>
                  </a:lnTo>
                  <a:lnTo>
                    <a:pt x="835" y="4185"/>
                  </a:lnTo>
                  <a:lnTo>
                    <a:pt x="837" y="4179"/>
                  </a:lnTo>
                  <a:lnTo>
                    <a:pt x="839" y="4174"/>
                  </a:lnTo>
                  <a:lnTo>
                    <a:pt x="840" y="4167"/>
                  </a:lnTo>
                  <a:lnTo>
                    <a:pt x="843" y="4154"/>
                  </a:lnTo>
                  <a:lnTo>
                    <a:pt x="843" y="4139"/>
                  </a:lnTo>
                  <a:lnTo>
                    <a:pt x="844" y="4126"/>
                  </a:lnTo>
                  <a:lnTo>
                    <a:pt x="844" y="4111"/>
                  </a:lnTo>
                  <a:lnTo>
                    <a:pt x="847" y="4101"/>
                  </a:lnTo>
                  <a:lnTo>
                    <a:pt x="849" y="4091"/>
                  </a:lnTo>
                  <a:lnTo>
                    <a:pt x="857" y="4082"/>
                  </a:lnTo>
                  <a:lnTo>
                    <a:pt x="868" y="4074"/>
                  </a:lnTo>
                  <a:lnTo>
                    <a:pt x="879" y="4067"/>
                  </a:lnTo>
                  <a:lnTo>
                    <a:pt x="892" y="4062"/>
                  </a:lnTo>
                  <a:lnTo>
                    <a:pt x="919" y="4053"/>
                  </a:lnTo>
                  <a:lnTo>
                    <a:pt x="947" y="4045"/>
                  </a:lnTo>
                  <a:lnTo>
                    <a:pt x="959" y="4041"/>
                  </a:lnTo>
                  <a:lnTo>
                    <a:pt x="969" y="4037"/>
                  </a:lnTo>
                  <a:lnTo>
                    <a:pt x="980" y="4031"/>
                  </a:lnTo>
                  <a:lnTo>
                    <a:pt x="987" y="4026"/>
                  </a:lnTo>
                  <a:lnTo>
                    <a:pt x="989" y="4022"/>
                  </a:lnTo>
                  <a:lnTo>
                    <a:pt x="992" y="4019"/>
                  </a:lnTo>
                  <a:lnTo>
                    <a:pt x="993" y="4015"/>
                  </a:lnTo>
                  <a:lnTo>
                    <a:pt x="995" y="4010"/>
                  </a:lnTo>
                  <a:lnTo>
                    <a:pt x="995" y="4006"/>
                  </a:lnTo>
                  <a:lnTo>
                    <a:pt x="993" y="4001"/>
                  </a:lnTo>
                  <a:lnTo>
                    <a:pt x="991" y="3995"/>
                  </a:lnTo>
                  <a:lnTo>
                    <a:pt x="988" y="3989"/>
                  </a:lnTo>
                  <a:lnTo>
                    <a:pt x="973" y="3953"/>
                  </a:lnTo>
                  <a:lnTo>
                    <a:pt x="961" y="3917"/>
                  </a:lnTo>
                  <a:lnTo>
                    <a:pt x="959" y="3910"/>
                  </a:lnTo>
                  <a:lnTo>
                    <a:pt x="955" y="3902"/>
                  </a:lnTo>
                  <a:lnTo>
                    <a:pt x="951" y="3897"/>
                  </a:lnTo>
                  <a:lnTo>
                    <a:pt x="947" y="3891"/>
                  </a:lnTo>
                  <a:lnTo>
                    <a:pt x="941" y="3887"/>
                  </a:lnTo>
                  <a:lnTo>
                    <a:pt x="936" y="3883"/>
                  </a:lnTo>
                  <a:lnTo>
                    <a:pt x="929" y="3882"/>
                  </a:lnTo>
                  <a:lnTo>
                    <a:pt x="923" y="3881"/>
                  </a:lnTo>
                  <a:lnTo>
                    <a:pt x="915" y="3882"/>
                  </a:lnTo>
                  <a:lnTo>
                    <a:pt x="909" y="3885"/>
                  </a:lnTo>
                  <a:lnTo>
                    <a:pt x="905" y="3889"/>
                  </a:lnTo>
                  <a:lnTo>
                    <a:pt x="903" y="3893"/>
                  </a:lnTo>
                  <a:lnTo>
                    <a:pt x="900" y="3897"/>
                  </a:lnTo>
                  <a:lnTo>
                    <a:pt x="899" y="3901"/>
                  </a:lnTo>
                  <a:lnTo>
                    <a:pt x="896" y="3903"/>
                  </a:lnTo>
                  <a:lnTo>
                    <a:pt x="892" y="3905"/>
                  </a:lnTo>
                  <a:lnTo>
                    <a:pt x="884" y="3903"/>
                  </a:lnTo>
                  <a:lnTo>
                    <a:pt x="877" y="3901"/>
                  </a:lnTo>
                  <a:lnTo>
                    <a:pt x="872" y="3895"/>
                  </a:lnTo>
                  <a:lnTo>
                    <a:pt x="868" y="3889"/>
                  </a:lnTo>
                  <a:lnTo>
                    <a:pt x="865" y="3882"/>
                  </a:lnTo>
                  <a:lnTo>
                    <a:pt x="863" y="3874"/>
                  </a:lnTo>
                  <a:lnTo>
                    <a:pt x="863" y="3869"/>
                  </a:lnTo>
                  <a:lnTo>
                    <a:pt x="861" y="3863"/>
                  </a:lnTo>
                  <a:lnTo>
                    <a:pt x="863" y="3855"/>
                  </a:lnTo>
                  <a:lnTo>
                    <a:pt x="864" y="3849"/>
                  </a:lnTo>
                  <a:lnTo>
                    <a:pt x="868" y="3843"/>
                  </a:lnTo>
                  <a:lnTo>
                    <a:pt x="872" y="3837"/>
                  </a:lnTo>
                  <a:lnTo>
                    <a:pt x="881" y="3827"/>
                  </a:lnTo>
                  <a:lnTo>
                    <a:pt x="891" y="3817"/>
                  </a:lnTo>
                  <a:lnTo>
                    <a:pt x="895" y="3810"/>
                  </a:lnTo>
                  <a:lnTo>
                    <a:pt x="899" y="3803"/>
                  </a:lnTo>
                  <a:lnTo>
                    <a:pt x="901" y="3797"/>
                  </a:lnTo>
                  <a:lnTo>
                    <a:pt x="903" y="3789"/>
                  </a:lnTo>
                  <a:lnTo>
                    <a:pt x="903" y="3779"/>
                  </a:lnTo>
                  <a:lnTo>
                    <a:pt x="901" y="3769"/>
                  </a:lnTo>
                  <a:lnTo>
                    <a:pt x="897" y="3757"/>
                  </a:lnTo>
                  <a:lnTo>
                    <a:pt x="892" y="3742"/>
                  </a:lnTo>
                  <a:lnTo>
                    <a:pt x="900" y="3725"/>
                  </a:lnTo>
                  <a:lnTo>
                    <a:pt x="912" y="3703"/>
                  </a:lnTo>
                  <a:lnTo>
                    <a:pt x="925" y="3679"/>
                  </a:lnTo>
                  <a:lnTo>
                    <a:pt x="941" y="3657"/>
                  </a:lnTo>
                  <a:lnTo>
                    <a:pt x="949" y="3646"/>
                  </a:lnTo>
                  <a:lnTo>
                    <a:pt x="957" y="3637"/>
                  </a:lnTo>
                  <a:lnTo>
                    <a:pt x="967" y="3628"/>
                  </a:lnTo>
                  <a:lnTo>
                    <a:pt x="976" y="3620"/>
                  </a:lnTo>
                  <a:lnTo>
                    <a:pt x="985" y="3613"/>
                  </a:lnTo>
                  <a:lnTo>
                    <a:pt x="995" y="3608"/>
                  </a:lnTo>
                  <a:lnTo>
                    <a:pt x="1003" y="3605"/>
                  </a:lnTo>
                  <a:lnTo>
                    <a:pt x="1012" y="3604"/>
                  </a:lnTo>
                  <a:lnTo>
                    <a:pt x="1019" y="3605"/>
                  </a:lnTo>
                  <a:lnTo>
                    <a:pt x="1024" y="3608"/>
                  </a:lnTo>
                  <a:lnTo>
                    <a:pt x="1028" y="3613"/>
                  </a:lnTo>
                  <a:lnTo>
                    <a:pt x="1031" y="3618"/>
                  </a:lnTo>
                  <a:lnTo>
                    <a:pt x="1033" y="3625"/>
                  </a:lnTo>
                  <a:lnTo>
                    <a:pt x="1035" y="3632"/>
                  </a:lnTo>
                  <a:lnTo>
                    <a:pt x="1036" y="3640"/>
                  </a:lnTo>
                  <a:lnTo>
                    <a:pt x="1036" y="3646"/>
                  </a:lnTo>
                  <a:lnTo>
                    <a:pt x="1036" y="3654"/>
                  </a:lnTo>
                  <a:lnTo>
                    <a:pt x="1033" y="3661"/>
                  </a:lnTo>
                  <a:lnTo>
                    <a:pt x="1029" y="3667"/>
                  </a:lnTo>
                  <a:lnTo>
                    <a:pt x="1024" y="3671"/>
                  </a:lnTo>
                  <a:lnTo>
                    <a:pt x="1020" y="3675"/>
                  </a:lnTo>
                  <a:lnTo>
                    <a:pt x="1016" y="3679"/>
                  </a:lnTo>
                  <a:lnTo>
                    <a:pt x="1013" y="3683"/>
                  </a:lnTo>
                  <a:lnTo>
                    <a:pt x="1012" y="3689"/>
                  </a:lnTo>
                  <a:lnTo>
                    <a:pt x="1015" y="3693"/>
                  </a:lnTo>
                  <a:lnTo>
                    <a:pt x="1020" y="3699"/>
                  </a:lnTo>
                  <a:lnTo>
                    <a:pt x="1028" y="3706"/>
                  </a:lnTo>
                  <a:lnTo>
                    <a:pt x="1039" y="3713"/>
                  </a:lnTo>
                  <a:lnTo>
                    <a:pt x="1068" y="3727"/>
                  </a:lnTo>
                  <a:lnTo>
                    <a:pt x="1101" y="3742"/>
                  </a:lnTo>
                  <a:lnTo>
                    <a:pt x="1136" y="3757"/>
                  </a:lnTo>
                  <a:lnTo>
                    <a:pt x="1169" y="3767"/>
                  </a:lnTo>
                  <a:lnTo>
                    <a:pt x="1185" y="3773"/>
                  </a:lnTo>
                  <a:lnTo>
                    <a:pt x="1199" y="3775"/>
                  </a:lnTo>
                  <a:lnTo>
                    <a:pt x="1209" y="3778"/>
                  </a:lnTo>
                  <a:lnTo>
                    <a:pt x="1217" y="3778"/>
                  </a:lnTo>
                  <a:lnTo>
                    <a:pt x="1225" y="3778"/>
                  </a:lnTo>
                  <a:lnTo>
                    <a:pt x="1235" y="3775"/>
                  </a:lnTo>
                  <a:lnTo>
                    <a:pt x="1243" y="3773"/>
                  </a:lnTo>
                  <a:lnTo>
                    <a:pt x="1251" y="3770"/>
                  </a:lnTo>
                  <a:lnTo>
                    <a:pt x="1259" y="3766"/>
                  </a:lnTo>
                  <a:lnTo>
                    <a:pt x="1267" y="3763"/>
                  </a:lnTo>
                  <a:lnTo>
                    <a:pt x="1275" y="3761"/>
                  </a:lnTo>
                  <a:lnTo>
                    <a:pt x="1284" y="3761"/>
                  </a:lnTo>
                  <a:lnTo>
                    <a:pt x="1293" y="3761"/>
                  </a:lnTo>
                  <a:lnTo>
                    <a:pt x="1303" y="3762"/>
                  </a:lnTo>
                  <a:lnTo>
                    <a:pt x="1312" y="3765"/>
                  </a:lnTo>
                  <a:lnTo>
                    <a:pt x="1320" y="3767"/>
                  </a:lnTo>
                  <a:lnTo>
                    <a:pt x="1336" y="3773"/>
                  </a:lnTo>
                  <a:lnTo>
                    <a:pt x="1352" y="3779"/>
                  </a:lnTo>
                  <a:lnTo>
                    <a:pt x="1367" y="3786"/>
                  </a:lnTo>
                  <a:lnTo>
                    <a:pt x="1382" y="3791"/>
                  </a:lnTo>
                  <a:lnTo>
                    <a:pt x="1390" y="3793"/>
                  </a:lnTo>
                  <a:lnTo>
                    <a:pt x="1398" y="3793"/>
                  </a:lnTo>
                  <a:lnTo>
                    <a:pt x="1406" y="3793"/>
                  </a:lnTo>
                  <a:lnTo>
                    <a:pt x="1416" y="3790"/>
                  </a:lnTo>
                  <a:lnTo>
                    <a:pt x="1438" y="3782"/>
                  </a:lnTo>
                  <a:lnTo>
                    <a:pt x="1458" y="3771"/>
                  </a:lnTo>
                  <a:lnTo>
                    <a:pt x="1474" y="3762"/>
                  </a:lnTo>
                  <a:lnTo>
                    <a:pt x="1489" y="3750"/>
                  </a:lnTo>
                  <a:lnTo>
                    <a:pt x="1501" y="3738"/>
                  </a:lnTo>
                  <a:lnTo>
                    <a:pt x="1512" y="3723"/>
                  </a:lnTo>
                  <a:lnTo>
                    <a:pt x="1521" y="3707"/>
                  </a:lnTo>
                  <a:lnTo>
                    <a:pt x="1530" y="3689"/>
                  </a:lnTo>
                  <a:lnTo>
                    <a:pt x="1566" y="3689"/>
                  </a:lnTo>
                  <a:lnTo>
                    <a:pt x="1576" y="3670"/>
                  </a:lnTo>
                  <a:lnTo>
                    <a:pt x="1584" y="3653"/>
                  </a:lnTo>
                  <a:lnTo>
                    <a:pt x="1590" y="3637"/>
                  </a:lnTo>
                  <a:lnTo>
                    <a:pt x="1596" y="3621"/>
                  </a:lnTo>
                  <a:lnTo>
                    <a:pt x="1601" y="3605"/>
                  </a:lnTo>
                  <a:lnTo>
                    <a:pt x="1606" y="3590"/>
                  </a:lnTo>
                  <a:lnTo>
                    <a:pt x="1613" y="3576"/>
                  </a:lnTo>
                  <a:lnTo>
                    <a:pt x="1621" y="3562"/>
                  </a:lnTo>
                  <a:lnTo>
                    <a:pt x="1626" y="3552"/>
                  </a:lnTo>
                  <a:lnTo>
                    <a:pt x="1633" y="3542"/>
                  </a:lnTo>
                  <a:lnTo>
                    <a:pt x="1641" y="3536"/>
                  </a:lnTo>
                  <a:lnTo>
                    <a:pt x="1649" y="3530"/>
                  </a:lnTo>
                  <a:lnTo>
                    <a:pt x="1666" y="3521"/>
                  </a:lnTo>
                  <a:lnTo>
                    <a:pt x="1684" y="3514"/>
                  </a:lnTo>
                  <a:lnTo>
                    <a:pt x="1702" y="3508"/>
                  </a:lnTo>
                  <a:lnTo>
                    <a:pt x="1718" y="3500"/>
                  </a:lnTo>
                  <a:lnTo>
                    <a:pt x="1726" y="3494"/>
                  </a:lnTo>
                  <a:lnTo>
                    <a:pt x="1734" y="3489"/>
                  </a:lnTo>
                  <a:lnTo>
                    <a:pt x="1741" y="3481"/>
                  </a:lnTo>
                  <a:lnTo>
                    <a:pt x="1746" y="3472"/>
                  </a:lnTo>
                  <a:lnTo>
                    <a:pt x="1754" y="3458"/>
                  </a:lnTo>
                  <a:lnTo>
                    <a:pt x="1762" y="3444"/>
                  </a:lnTo>
                  <a:lnTo>
                    <a:pt x="1769" y="3426"/>
                  </a:lnTo>
                  <a:lnTo>
                    <a:pt x="1776" y="3408"/>
                  </a:lnTo>
                  <a:lnTo>
                    <a:pt x="1789" y="3366"/>
                  </a:lnTo>
                  <a:lnTo>
                    <a:pt x="1805" y="3325"/>
                  </a:lnTo>
                  <a:lnTo>
                    <a:pt x="1813" y="3305"/>
                  </a:lnTo>
                  <a:lnTo>
                    <a:pt x="1822" y="3286"/>
                  </a:lnTo>
                  <a:lnTo>
                    <a:pt x="1833" y="3270"/>
                  </a:lnTo>
                  <a:lnTo>
                    <a:pt x="1845" y="3254"/>
                  </a:lnTo>
                  <a:lnTo>
                    <a:pt x="1850" y="3248"/>
                  </a:lnTo>
                  <a:lnTo>
                    <a:pt x="1857" y="3242"/>
                  </a:lnTo>
                  <a:lnTo>
                    <a:pt x="1864" y="3237"/>
                  </a:lnTo>
                  <a:lnTo>
                    <a:pt x="1870" y="3233"/>
                  </a:lnTo>
                  <a:lnTo>
                    <a:pt x="1878" y="3229"/>
                  </a:lnTo>
                  <a:lnTo>
                    <a:pt x="1886" y="3226"/>
                  </a:lnTo>
                  <a:lnTo>
                    <a:pt x="1894" y="3225"/>
                  </a:lnTo>
                  <a:lnTo>
                    <a:pt x="1904" y="3225"/>
                  </a:lnTo>
                  <a:lnTo>
                    <a:pt x="1920" y="3225"/>
                  </a:lnTo>
                  <a:lnTo>
                    <a:pt x="1934" y="3229"/>
                  </a:lnTo>
                  <a:lnTo>
                    <a:pt x="1948" y="3233"/>
                  </a:lnTo>
                  <a:lnTo>
                    <a:pt x="1961" y="3237"/>
                  </a:lnTo>
                  <a:lnTo>
                    <a:pt x="1986" y="3248"/>
                  </a:lnTo>
                  <a:lnTo>
                    <a:pt x="2006" y="3254"/>
                  </a:lnTo>
                  <a:lnTo>
                    <a:pt x="2109" y="3254"/>
                  </a:lnTo>
                  <a:lnTo>
                    <a:pt x="2125" y="3266"/>
                  </a:lnTo>
                  <a:lnTo>
                    <a:pt x="2141" y="3277"/>
                  </a:lnTo>
                  <a:lnTo>
                    <a:pt x="2158" y="3284"/>
                  </a:lnTo>
                  <a:lnTo>
                    <a:pt x="2177" y="3289"/>
                  </a:lnTo>
                  <a:lnTo>
                    <a:pt x="2195" y="3293"/>
                  </a:lnTo>
                  <a:lnTo>
                    <a:pt x="2215" y="3296"/>
                  </a:lnTo>
                  <a:lnTo>
                    <a:pt x="2237" y="3297"/>
                  </a:lnTo>
                  <a:lnTo>
                    <a:pt x="2259" y="3297"/>
                  </a:lnTo>
                  <a:lnTo>
                    <a:pt x="2275" y="3297"/>
                  </a:lnTo>
                  <a:lnTo>
                    <a:pt x="2291" y="3300"/>
                  </a:lnTo>
                  <a:lnTo>
                    <a:pt x="2305" y="3304"/>
                  </a:lnTo>
                  <a:lnTo>
                    <a:pt x="2318" y="3308"/>
                  </a:lnTo>
                  <a:lnTo>
                    <a:pt x="2329" y="3313"/>
                  </a:lnTo>
                  <a:lnTo>
                    <a:pt x="2339" y="3320"/>
                  </a:lnTo>
                  <a:lnTo>
                    <a:pt x="2350" y="3326"/>
                  </a:lnTo>
                  <a:lnTo>
                    <a:pt x="2359" y="3333"/>
                  </a:lnTo>
                  <a:lnTo>
                    <a:pt x="2379" y="3346"/>
                  </a:lnTo>
                  <a:lnTo>
                    <a:pt x="2399" y="3358"/>
                  </a:lnTo>
                  <a:lnTo>
                    <a:pt x="2410" y="3362"/>
                  </a:lnTo>
                  <a:lnTo>
                    <a:pt x="2423" y="3366"/>
                  </a:lnTo>
                  <a:lnTo>
                    <a:pt x="2437" y="3368"/>
                  </a:lnTo>
                  <a:lnTo>
                    <a:pt x="2451" y="3369"/>
                  </a:lnTo>
                  <a:lnTo>
                    <a:pt x="2461" y="3368"/>
                  </a:lnTo>
                  <a:lnTo>
                    <a:pt x="2470" y="3365"/>
                  </a:lnTo>
                  <a:lnTo>
                    <a:pt x="2479" y="3361"/>
                  </a:lnTo>
                  <a:lnTo>
                    <a:pt x="2487" y="3356"/>
                  </a:lnTo>
                  <a:lnTo>
                    <a:pt x="2505" y="3341"/>
                  </a:lnTo>
                  <a:lnTo>
                    <a:pt x="2521" y="3324"/>
                  </a:lnTo>
                  <a:lnTo>
                    <a:pt x="2530" y="3316"/>
                  </a:lnTo>
                  <a:lnTo>
                    <a:pt x="2538" y="3308"/>
                  </a:lnTo>
                  <a:lnTo>
                    <a:pt x="2547" y="3300"/>
                  </a:lnTo>
                  <a:lnTo>
                    <a:pt x="2558" y="3293"/>
                  </a:lnTo>
                  <a:lnTo>
                    <a:pt x="2569" y="3288"/>
                  </a:lnTo>
                  <a:lnTo>
                    <a:pt x="2581" y="3282"/>
                  </a:lnTo>
                  <a:lnTo>
                    <a:pt x="2594" y="3280"/>
                  </a:lnTo>
                  <a:lnTo>
                    <a:pt x="2609" y="3278"/>
                  </a:lnTo>
                  <a:lnTo>
                    <a:pt x="2615" y="3280"/>
                  </a:lnTo>
                  <a:lnTo>
                    <a:pt x="2623" y="3281"/>
                  </a:lnTo>
                  <a:lnTo>
                    <a:pt x="2630" y="3284"/>
                  </a:lnTo>
                  <a:lnTo>
                    <a:pt x="2635" y="3288"/>
                  </a:lnTo>
                  <a:lnTo>
                    <a:pt x="2647" y="3296"/>
                  </a:lnTo>
                  <a:lnTo>
                    <a:pt x="2659" y="3306"/>
                  </a:lnTo>
                  <a:lnTo>
                    <a:pt x="2671" y="3316"/>
                  </a:lnTo>
                  <a:lnTo>
                    <a:pt x="2682" y="3325"/>
                  </a:lnTo>
                  <a:lnTo>
                    <a:pt x="2689" y="3328"/>
                  </a:lnTo>
                  <a:lnTo>
                    <a:pt x="2695" y="3330"/>
                  </a:lnTo>
                  <a:lnTo>
                    <a:pt x="2703" y="3333"/>
                  </a:lnTo>
                  <a:lnTo>
                    <a:pt x="2710" y="3333"/>
                  </a:lnTo>
                  <a:lnTo>
                    <a:pt x="2711" y="3324"/>
                  </a:lnTo>
                  <a:lnTo>
                    <a:pt x="2713" y="3316"/>
                  </a:lnTo>
                  <a:lnTo>
                    <a:pt x="2715" y="3308"/>
                  </a:lnTo>
                  <a:lnTo>
                    <a:pt x="2719" y="3301"/>
                  </a:lnTo>
                  <a:lnTo>
                    <a:pt x="2725" y="3294"/>
                  </a:lnTo>
                  <a:lnTo>
                    <a:pt x="2730" y="3289"/>
                  </a:lnTo>
                  <a:lnTo>
                    <a:pt x="2737" y="3284"/>
                  </a:lnTo>
                  <a:lnTo>
                    <a:pt x="2743" y="3280"/>
                  </a:lnTo>
                  <a:lnTo>
                    <a:pt x="2759" y="3270"/>
                  </a:lnTo>
                  <a:lnTo>
                    <a:pt x="2777" y="3264"/>
                  </a:lnTo>
                  <a:lnTo>
                    <a:pt x="2795" y="3257"/>
                  </a:lnTo>
                  <a:lnTo>
                    <a:pt x="2814" y="3250"/>
                  </a:lnTo>
                  <a:lnTo>
                    <a:pt x="2833" y="3244"/>
                  </a:lnTo>
                  <a:lnTo>
                    <a:pt x="2850" y="3237"/>
                  </a:lnTo>
                  <a:lnTo>
                    <a:pt x="2858" y="3232"/>
                  </a:lnTo>
                  <a:lnTo>
                    <a:pt x="2866" y="3228"/>
                  </a:lnTo>
                  <a:lnTo>
                    <a:pt x="2874" y="3222"/>
                  </a:lnTo>
                  <a:lnTo>
                    <a:pt x="2881" y="3217"/>
                  </a:lnTo>
                  <a:lnTo>
                    <a:pt x="2887" y="3210"/>
                  </a:lnTo>
                  <a:lnTo>
                    <a:pt x="2893" y="3204"/>
                  </a:lnTo>
                  <a:lnTo>
                    <a:pt x="2897" y="3197"/>
                  </a:lnTo>
                  <a:lnTo>
                    <a:pt x="2901" y="3188"/>
                  </a:lnTo>
                  <a:lnTo>
                    <a:pt x="2903" y="3180"/>
                  </a:lnTo>
                  <a:lnTo>
                    <a:pt x="2904" y="3169"/>
                  </a:lnTo>
                  <a:lnTo>
                    <a:pt x="2904" y="3158"/>
                  </a:lnTo>
                  <a:lnTo>
                    <a:pt x="2903" y="3146"/>
                  </a:lnTo>
                  <a:lnTo>
                    <a:pt x="2886" y="3145"/>
                  </a:lnTo>
                  <a:lnTo>
                    <a:pt x="2869" y="3142"/>
                  </a:lnTo>
                  <a:lnTo>
                    <a:pt x="2854" y="3138"/>
                  </a:lnTo>
                  <a:lnTo>
                    <a:pt x="2839" y="3132"/>
                  </a:lnTo>
                  <a:lnTo>
                    <a:pt x="2826" y="3124"/>
                  </a:lnTo>
                  <a:lnTo>
                    <a:pt x="2813" y="3114"/>
                  </a:lnTo>
                  <a:lnTo>
                    <a:pt x="2802" y="3104"/>
                  </a:lnTo>
                  <a:lnTo>
                    <a:pt x="2791" y="3092"/>
                  </a:lnTo>
                  <a:lnTo>
                    <a:pt x="2783" y="3078"/>
                  </a:lnTo>
                  <a:lnTo>
                    <a:pt x="2775" y="3064"/>
                  </a:lnTo>
                  <a:lnTo>
                    <a:pt x="2769" y="3048"/>
                  </a:lnTo>
                  <a:lnTo>
                    <a:pt x="2762" y="3032"/>
                  </a:lnTo>
                  <a:lnTo>
                    <a:pt x="2758" y="3015"/>
                  </a:lnTo>
                  <a:lnTo>
                    <a:pt x="2755" y="2997"/>
                  </a:lnTo>
                  <a:lnTo>
                    <a:pt x="2753" y="2979"/>
                  </a:lnTo>
                  <a:lnTo>
                    <a:pt x="2753" y="2960"/>
                  </a:lnTo>
                  <a:lnTo>
                    <a:pt x="2753" y="296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6" name="Freeform 92"/>
            <p:cNvSpPr>
              <a:spLocks/>
            </p:cNvSpPr>
            <p:nvPr/>
          </p:nvSpPr>
          <p:spPr bwMode="auto">
            <a:xfrm>
              <a:off x="2008574" y="4162424"/>
              <a:ext cx="785748" cy="1267549"/>
            </a:xfrm>
            <a:custGeom>
              <a:avLst/>
              <a:gdLst/>
              <a:ahLst/>
              <a:cxnLst>
                <a:cxn ang="0">
                  <a:pos x="542" y="141"/>
                </a:cxn>
                <a:cxn ang="0">
                  <a:pos x="494" y="97"/>
                </a:cxn>
                <a:cxn ang="0">
                  <a:pos x="460" y="95"/>
                </a:cxn>
                <a:cxn ang="0">
                  <a:pos x="450" y="41"/>
                </a:cxn>
                <a:cxn ang="0">
                  <a:pos x="417" y="4"/>
                </a:cxn>
                <a:cxn ang="0">
                  <a:pos x="310" y="5"/>
                </a:cxn>
                <a:cxn ang="0">
                  <a:pos x="261" y="1"/>
                </a:cxn>
                <a:cxn ang="0">
                  <a:pos x="263" y="39"/>
                </a:cxn>
                <a:cxn ang="0">
                  <a:pos x="269" y="104"/>
                </a:cxn>
                <a:cxn ang="0">
                  <a:pos x="240" y="125"/>
                </a:cxn>
                <a:cxn ang="0">
                  <a:pos x="253" y="153"/>
                </a:cxn>
                <a:cxn ang="0">
                  <a:pos x="309" y="201"/>
                </a:cxn>
                <a:cxn ang="0">
                  <a:pos x="362" y="245"/>
                </a:cxn>
                <a:cxn ang="0">
                  <a:pos x="365" y="285"/>
                </a:cxn>
                <a:cxn ang="0">
                  <a:pos x="326" y="337"/>
                </a:cxn>
                <a:cxn ang="0">
                  <a:pos x="260" y="384"/>
                </a:cxn>
                <a:cxn ang="0">
                  <a:pos x="240" y="433"/>
                </a:cxn>
                <a:cxn ang="0">
                  <a:pos x="216" y="569"/>
                </a:cxn>
                <a:cxn ang="0">
                  <a:pos x="168" y="633"/>
                </a:cxn>
                <a:cxn ang="0">
                  <a:pos x="127" y="833"/>
                </a:cxn>
                <a:cxn ang="0">
                  <a:pos x="95" y="966"/>
                </a:cxn>
                <a:cxn ang="0">
                  <a:pos x="15" y="1011"/>
                </a:cxn>
                <a:cxn ang="0">
                  <a:pos x="0" y="1050"/>
                </a:cxn>
                <a:cxn ang="0">
                  <a:pos x="17" y="1083"/>
                </a:cxn>
                <a:cxn ang="0">
                  <a:pos x="69" y="1113"/>
                </a:cxn>
                <a:cxn ang="0">
                  <a:pos x="99" y="1177"/>
                </a:cxn>
                <a:cxn ang="0">
                  <a:pos x="153" y="1195"/>
                </a:cxn>
                <a:cxn ang="0">
                  <a:pos x="203" y="1207"/>
                </a:cxn>
                <a:cxn ang="0">
                  <a:pos x="229" y="1238"/>
                </a:cxn>
                <a:cxn ang="0">
                  <a:pos x="275" y="1266"/>
                </a:cxn>
                <a:cxn ang="0">
                  <a:pos x="273" y="1315"/>
                </a:cxn>
                <a:cxn ang="0">
                  <a:pos x="322" y="1333"/>
                </a:cxn>
                <a:cxn ang="0">
                  <a:pos x="356" y="1322"/>
                </a:cxn>
                <a:cxn ang="0">
                  <a:pos x="388" y="1239"/>
                </a:cxn>
                <a:cxn ang="0">
                  <a:pos x="432" y="1195"/>
                </a:cxn>
                <a:cxn ang="0">
                  <a:pos x="482" y="1194"/>
                </a:cxn>
                <a:cxn ang="0">
                  <a:pos x="544" y="1119"/>
                </a:cxn>
                <a:cxn ang="0">
                  <a:pos x="586" y="1090"/>
                </a:cxn>
                <a:cxn ang="0">
                  <a:pos x="658" y="1101"/>
                </a:cxn>
                <a:cxn ang="0">
                  <a:pos x="684" y="1045"/>
                </a:cxn>
                <a:cxn ang="0">
                  <a:pos x="716" y="1006"/>
                </a:cxn>
                <a:cxn ang="0">
                  <a:pos x="794" y="989"/>
                </a:cxn>
                <a:cxn ang="0">
                  <a:pos x="836" y="949"/>
                </a:cxn>
                <a:cxn ang="0">
                  <a:pos x="834" y="898"/>
                </a:cxn>
                <a:cxn ang="0">
                  <a:pos x="818" y="861"/>
                </a:cxn>
                <a:cxn ang="0">
                  <a:pos x="844" y="822"/>
                </a:cxn>
                <a:cxn ang="0">
                  <a:pos x="854" y="788"/>
                </a:cxn>
                <a:cxn ang="0">
                  <a:pos x="830" y="736"/>
                </a:cxn>
                <a:cxn ang="0">
                  <a:pos x="820" y="676"/>
                </a:cxn>
                <a:cxn ang="0">
                  <a:pos x="858" y="637"/>
                </a:cxn>
                <a:cxn ang="0">
                  <a:pos x="937" y="612"/>
                </a:cxn>
                <a:cxn ang="0">
                  <a:pos x="1021" y="506"/>
                </a:cxn>
                <a:cxn ang="0">
                  <a:pos x="1114" y="328"/>
                </a:cxn>
                <a:cxn ang="0">
                  <a:pos x="1131" y="235"/>
                </a:cxn>
                <a:cxn ang="0">
                  <a:pos x="1055" y="232"/>
                </a:cxn>
                <a:cxn ang="0">
                  <a:pos x="909" y="159"/>
                </a:cxn>
                <a:cxn ang="0">
                  <a:pos x="830" y="139"/>
                </a:cxn>
                <a:cxn ang="0">
                  <a:pos x="781" y="159"/>
                </a:cxn>
                <a:cxn ang="0">
                  <a:pos x="589" y="156"/>
                </a:cxn>
              </a:cxnLst>
              <a:rect l="0" t="0" r="r" b="b"/>
              <a:pathLst>
                <a:path w="1162" h="1338">
                  <a:moveTo>
                    <a:pt x="589" y="163"/>
                  </a:moveTo>
                  <a:lnTo>
                    <a:pt x="578" y="161"/>
                  </a:lnTo>
                  <a:lnTo>
                    <a:pt x="569" y="160"/>
                  </a:lnTo>
                  <a:lnTo>
                    <a:pt x="561" y="156"/>
                  </a:lnTo>
                  <a:lnTo>
                    <a:pt x="554" y="152"/>
                  </a:lnTo>
                  <a:lnTo>
                    <a:pt x="542" y="141"/>
                  </a:lnTo>
                  <a:lnTo>
                    <a:pt x="532" y="129"/>
                  </a:lnTo>
                  <a:lnTo>
                    <a:pt x="522" y="117"/>
                  </a:lnTo>
                  <a:lnTo>
                    <a:pt x="513" y="107"/>
                  </a:lnTo>
                  <a:lnTo>
                    <a:pt x="508" y="103"/>
                  </a:lnTo>
                  <a:lnTo>
                    <a:pt x="501" y="99"/>
                  </a:lnTo>
                  <a:lnTo>
                    <a:pt x="494" y="97"/>
                  </a:lnTo>
                  <a:lnTo>
                    <a:pt x="488" y="96"/>
                  </a:lnTo>
                  <a:lnTo>
                    <a:pt x="480" y="96"/>
                  </a:lnTo>
                  <a:lnTo>
                    <a:pt x="477" y="96"/>
                  </a:lnTo>
                  <a:lnTo>
                    <a:pt x="474" y="96"/>
                  </a:lnTo>
                  <a:lnTo>
                    <a:pt x="464" y="96"/>
                  </a:lnTo>
                  <a:lnTo>
                    <a:pt x="460" y="95"/>
                  </a:lnTo>
                  <a:lnTo>
                    <a:pt x="456" y="91"/>
                  </a:lnTo>
                  <a:lnTo>
                    <a:pt x="454" y="87"/>
                  </a:lnTo>
                  <a:lnTo>
                    <a:pt x="453" y="80"/>
                  </a:lnTo>
                  <a:lnTo>
                    <a:pt x="452" y="65"/>
                  </a:lnTo>
                  <a:lnTo>
                    <a:pt x="452" y="55"/>
                  </a:lnTo>
                  <a:lnTo>
                    <a:pt x="450" y="41"/>
                  </a:lnTo>
                  <a:lnTo>
                    <a:pt x="448" y="31"/>
                  </a:lnTo>
                  <a:lnTo>
                    <a:pt x="444" y="23"/>
                  </a:lnTo>
                  <a:lnTo>
                    <a:pt x="440" y="16"/>
                  </a:lnTo>
                  <a:lnTo>
                    <a:pt x="433" y="11"/>
                  </a:lnTo>
                  <a:lnTo>
                    <a:pt x="425" y="7"/>
                  </a:lnTo>
                  <a:lnTo>
                    <a:pt x="417" y="4"/>
                  </a:lnTo>
                  <a:lnTo>
                    <a:pt x="409" y="3"/>
                  </a:lnTo>
                  <a:lnTo>
                    <a:pt x="370" y="3"/>
                  </a:lnTo>
                  <a:lnTo>
                    <a:pt x="330" y="5"/>
                  </a:lnTo>
                  <a:lnTo>
                    <a:pt x="321" y="5"/>
                  </a:lnTo>
                  <a:lnTo>
                    <a:pt x="316" y="5"/>
                  </a:lnTo>
                  <a:lnTo>
                    <a:pt x="310" y="5"/>
                  </a:lnTo>
                  <a:lnTo>
                    <a:pt x="301" y="5"/>
                  </a:lnTo>
                  <a:lnTo>
                    <a:pt x="289" y="4"/>
                  </a:lnTo>
                  <a:lnTo>
                    <a:pt x="275" y="1"/>
                  </a:lnTo>
                  <a:lnTo>
                    <a:pt x="269" y="0"/>
                  </a:lnTo>
                  <a:lnTo>
                    <a:pt x="264" y="1"/>
                  </a:lnTo>
                  <a:lnTo>
                    <a:pt x="261" y="1"/>
                  </a:lnTo>
                  <a:lnTo>
                    <a:pt x="260" y="3"/>
                  </a:lnTo>
                  <a:lnTo>
                    <a:pt x="259" y="4"/>
                  </a:lnTo>
                  <a:lnTo>
                    <a:pt x="259" y="5"/>
                  </a:lnTo>
                  <a:lnTo>
                    <a:pt x="259" y="19"/>
                  </a:lnTo>
                  <a:lnTo>
                    <a:pt x="260" y="29"/>
                  </a:lnTo>
                  <a:lnTo>
                    <a:pt x="263" y="39"/>
                  </a:lnTo>
                  <a:lnTo>
                    <a:pt x="264" y="49"/>
                  </a:lnTo>
                  <a:lnTo>
                    <a:pt x="267" y="59"/>
                  </a:lnTo>
                  <a:lnTo>
                    <a:pt x="269" y="69"/>
                  </a:lnTo>
                  <a:lnTo>
                    <a:pt x="271" y="81"/>
                  </a:lnTo>
                  <a:lnTo>
                    <a:pt x="271" y="96"/>
                  </a:lnTo>
                  <a:lnTo>
                    <a:pt x="269" y="104"/>
                  </a:lnTo>
                  <a:lnTo>
                    <a:pt x="267" y="111"/>
                  </a:lnTo>
                  <a:lnTo>
                    <a:pt x="263" y="116"/>
                  </a:lnTo>
                  <a:lnTo>
                    <a:pt x="257" y="120"/>
                  </a:lnTo>
                  <a:lnTo>
                    <a:pt x="251" y="123"/>
                  </a:lnTo>
                  <a:lnTo>
                    <a:pt x="245" y="125"/>
                  </a:lnTo>
                  <a:lnTo>
                    <a:pt x="240" y="125"/>
                  </a:lnTo>
                  <a:lnTo>
                    <a:pt x="235" y="127"/>
                  </a:lnTo>
                  <a:lnTo>
                    <a:pt x="247" y="127"/>
                  </a:lnTo>
                  <a:lnTo>
                    <a:pt x="248" y="133"/>
                  </a:lnTo>
                  <a:lnTo>
                    <a:pt x="249" y="141"/>
                  </a:lnTo>
                  <a:lnTo>
                    <a:pt x="251" y="148"/>
                  </a:lnTo>
                  <a:lnTo>
                    <a:pt x="253" y="153"/>
                  </a:lnTo>
                  <a:lnTo>
                    <a:pt x="260" y="164"/>
                  </a:lnTo>
                  <a:lnTo>
                    <a:pt x="268" y="173"/>
                  </a:lnTo>
                  <a:lnTo>
                    <a:pt x="277" y="181"/>
                  </a:lnTo>
                  <a:lnTo>
                    <a:pt x="288" y="188"/>
                  </a:lnTo>
                  <a:lnTo>
                    <a:pt x="298" y="195"/>
                  </a:lnTo>
                  <a:lnTo>
                    <a:pt x="309" y="201"/>
                  </a:lnTo>
                  <a:lnTo>
                    <a:pt x="320" y="207"/>
                  </a:lnTo>
                  <a:lnTo>
                    <a:pt x="330" y="213"/>
                  </a:lnTo>
                  <a:lnTo>
                    <a:pt x="340" y="220"/>
                  </a:lnTo>
                  <a:lnTo>
                    <a:pt x="349" y="227"/>
                  </a:lnTo>
                  <a:lnTo>
                    <a:pt x="356" y="236"/>
                  </a:lnTo>
                  <a:lnTo>
                    <a:pt x="362" y="245"/>
                  </a:lnTo>
                  <a:lnTo>
                    <a:pt x="364" y="251"/>
                  </a:lnTo>
                  <a:lnTo>
                    <a:pt x="365" y="257"/>
                  </a:lnTo>
                  <a:lnTo>
                    <a:pt x="366" y="264"/>
                  </a:lnTo>
                  <a:lnTo>
                    <a:pt x="366" y="271"/>
                  </a:lnTo>
                  <a:lnTo>
                    <a:pt x="366" y="279"/>
                  </a:lnTo>
                  <a:lnTo>
                    <a:pt x="365" y="285"/>
                  </a:lnTo>
                  <a:lnTo>
                    <a:pt x="364" y="292"/>
                  </a:lnTo>
                  <a:lnTo>
                    <a:pt x="361" y="299"/>
                  </a:lnTo>
                  <a:lnTo>
                    <a:pt x="356" y="309"/>
                  </a:lnTo>
                  <a:lnTo>
                    <a:pt x="346" y="320"/>
                  </a:lnTo>
                  <a:lnTo>
                    <a:pt x="337" y="329"/>
                  </a:lnTo>
                  <a:lnTo>
                    <a:pt x="326" y="337"/>
                  </a:lnTo>
                  <a:lnTo>
                    <a:pt x="316" y="345"/>
                  </a:lnTo>
                  <a:lnTo>
                    <a:pt x="304" y="352"/>
                  </a:lnTo>
                  <a:lnTo>
                    <a:pt x="292" y="360"/>
                  </a:lnTo>
                  <a:lnTo>
                    <a:pt x="280" y="366"/>
                  </a:lnTo>
                  <a:lnTo>
                    <a:pt x="269" y="376"/>
                  </a:lnTo>
                  <a:lnTo>
                    <a:pt x="260" y="384"/>
                  </a:lnTo>
                  <a:lnTo>
                    <a:pt x="252" y="394"/>
                  </a:lnTo>
                  <a:lnTo>
                    <a:pt x="245" y="405"/>
                  </a:lnTo>
                  <a:lnTo>
                    <a:pt x="244" y="412"/>
                  </a:lnTo>
                  <a:lnTo>
                    <a:pt x="241" y="418"/>
                  </a:lnTo>
                  <a:lnTo>
                    <a:pt x="241" y="425"/>
                  </a:lnTo>
                  <a:lnTo>
                    <a:pt x="240" y="433"/>
                  </a:lnTo>
                  <a:lnTo>
                    <a:pt x="240" y="464"/>
                  </a:lnTo>
                  <a:lnTo>
                    <a:pt x="240" y="492"/>
                  </a:lnTo>
                  <a:lnTo>
                    <a:pt x="240" y="521"/>
                  </a:lnTo>
                  <a:lnTo>
                    <a:pt x="240" y="554"/>
                  </a:lnTo>
                  <a:lnTo>
                    <a:pt x="223" y="566"/>
                  </a:lnTo>
                  <a:lnTo>
                    <a:pt x="216" y="569"/>
                  </a:lnTo>
                  <a:lnTo>
                    <a:pt x="208" y="573"/>
                  </a:lnTo>
                  <a:lnTo>
                    <a:pt x="203" y="578"/>
                  </a:lnTo>
                  <a:lnTo>
                    <a:pt x="196" y="584"/>
                  </a:lnTo>
                  <a:lnTo>
                    <a:pt x="185" y="598"/>
                  </a:lnTo>
                  <a:lnTo>
                    <a:pt x="176" y="614"/>
                  </a:lnTo>
                  <a:lnTo>
                    <a:pt x="168" y="633"/>
                  </a:lnTo>
                  <a:lnTo>
                    <a:pt x="160" y="653"/>
                  </a:lnTo>
                  <a:lnTo>
                    <a:pt x="155" y="676"/>
                  </a:lnTo>
                  <a:lnTo>
                    <a:pt x="149" y="698"/>
                  </a:lnTo>
                  <a:lnTo>
                    <a:pt x="140" y="745"/>
                  </a:lnTo>
                  <a:lnTo>
                    <a:pt x="133" y="792"/>
                  </a:lnTo>
                  <a:lnTo>
                    <a:pt x="127" y="833"/>
                  </a:lnTo>
                  <a:lnTo>
                    <a:pt x="120" y="866"/>
                  </a:lnTo>
                  <a:lnTo>
                    <a:pt x="115" y="894"/>
                  </a:lnTo>
                  <a:lnTo>
                    <a:pt x="107" y="926"/>
                  </a:lnTo>
                  <a:lnTo>
                    <a:pt x="103" y="941"/>
                  </a:lnTo>
                  <a:lnTo>
                    <a:pt x="99" y="955"/>
                  </a:lnTo>
                  <a:lnTo>
                    <a:pt x="95" y="966"/>
                  </a:lnTo>
                  <a:lnTo>
                    <a:pt x="89" y="975"/>
                  </a:lnTo>
                  <a:lnTo>
                    <a:pt x="63" y="987"/>
                  </a:lnTo>
                  <a:lnTo>
                    <a:pt x="33" y="999"/>
                  </a:lnTo>
                  <a:lnTo>
                    <a:pt x="27" y="1003"/>
                  </a:lnTo>
                  <a:lnTo>
                    <a:pt x="20" y="1006"/>
                  </a:lnTo>
                  <a:lnTo>
                    <a:pt x="15" y="1011"/>
                  </a:lnTo>
                  <a:lnTo>
                    <a:pt x="9" y="1015"/>
                  </a:lnTo>
                  <a:lnTo>
                    <a:pt x="5" y="1021"/>
                  </a:lnTo>
                  <a:lnTo>
                    <a:pt x="3" y="1027"/>
                  </a:lnTo>
                  <a:lnTo>
                    <a:pt x="0" y="1034"/>
                  </a:lnTo>
                  <a:lnTo>
                    <a:pt x="0" y="1041"/>
                  </a:lnTo>
                  <a:lnTo>
                    <a:pt x="0" y="1050"/>
                  </a:lnTo>
                  <a:lnTo>
                    <a:pt x="1" y="1058"/>
                  </a:lnTo>
                  <a:lnTo>
                    <a:pt x="3" y="1065"/>
                  </a:lnTo>
                  <a:lnTo>
                    <a:pt x="5" y="1070"/>
                  </a:lnTo>
                  <a:lnTo>
                    <a:pt x="9" y="1075"/>
                  </a:lnTo>
                  <a:lnTo>
                    <a:pt x="12" y="1079"/>
                  </a:lnTo>
                  <a:lnTo>
                    <a:pt x="17" y="1083"/>
                  </a:lnTo>
                  <a:lnTo>
                    <a:pt x="21" y="1086"/>
                  </a:lnTo>
                  <a:lnTo>
                    <a:pt x="32" y="1091"/>
                  </a:lnTo>
                  <a:lnTo>
                    <a:pt x="43" y="1094"/>
                  </a:lnTo>
                  <a:lnTo>
                    <a:pt x="55" y="1095"/>
                  </a:lnTo>
                  <a:lnTo>
                    <a:pt x="65" y="1095"/>
                  </a:lnTo>
                  <a:lnTo>
                    <a:pt x="69" y="1113"/>
                  </a:lnTo>
                  <a:lnTo>
                    <a:pt x="73" y="1130"/>
                  </a:lnTo>
                  <a:lnTo>
                    <a:pt x="79" y="1146"/>
                  </a:lnTo>
                  <a:lnTo>
                    <a:pt x="85" y="1159"/>
                  </a:lnTo>
                  <a:lnTo>
                    <a:pt x="89" y="1166"/>
                  </a:lnTo>
                  <a:lnTo>
                    <a:pt x="95" y="1171"/>
                  </a:lnTo>
                  <a:lnTo>
                    <a:pt x="99" y="1177"/>
                  </a:lnTo>
                  <a:lnTo>
                    <a:pt x="105" y="1181"/>
                  </a:lnTo>
                  <a:lnTo>
                    <a:pt x="111" y="1185"/>
                  </a:lnTo>
                  <a:lnTo>
                    <a:pt x="117" y="1189"/>
                  </a:lnTo>
                  <a:lnTo>
                    <a:pt x="124" y="1190"/>
                  </a:lnTo>
                  <a:lnTo>
                    <a:pt x="132" y="1191"/>
                  </a:lnTo>
                  <a:lnTo>
                    <a:pt x="153" y="1195"/>
                  </a:lnTo>
                  <a:lnTo>
                    <a:pt x="175" y="1197"/>
                  </a:lnTo>
                  <a:lnTo>
                    <a:pt x="185" y="1198"/>
                  </a:lnTo>
                  <a:lnTo>
                    <a:pt x="193" y="1201"/>
                  </a:lnTo>
                  <a:lnTo>
                    <a:pt x="197" y="1202"/>
                  </a:lnTo>
                  <a:lnTo>
                    <a:pt x="200" y="1205"/>
                  </a:lnTo>
                  <a:lnTo>
                    <a:pt x="203" y="1207"/>
                  </a:lnTo>
                  <a:lnTo>
                    <a:pt x="204" y="1210"/>
                  </a:lnTo>
                  <a:lnTo>
                    <a:pt x="211" y="1225"/>
                  </a:lnTo>
                  <a:lnTo>
                    <a:pt x="215" y="1233"/>
                  </a:lnTo>
                  <a:lnTo>
                    <a:pt x="219" y="1237"/>
                  </a:lnTo>
                  <a:lnTo>
                    <a:pt x="223" y="1238"/>
                  </a:lnTo>
                  <a:lnTo>
                    <a:pt x="229" y="1238"/>
                  </a:lnTo>
                  <a:lnTo>
                    <a:pt x="237" y="1239"/>
                  </a:lnTo>
                  <a:lnTo>
                    <a:pt x="249" y="1243"/>
                  </a:lnTo>
                  <a:lnTo>
                    <a:pt x="264" y="1253"/>
                  </a:lnTo>
                  <a:lnTo>
                    <a:pt x="269" y="1257"/>
                  </a:lnTo>
                  <a:lnTo>
                    <a:pt x="272" y="1261"/>
                  </a:lnTo>
                  <a:lnTo>
                    <a:pt x="275" y="1266"/>
                  </a:lnTo>
                  <a:lnTo>
                    <a:pt x="275" y="1273"/>
                  </a:lnTo>
                  <a:lnTo>
                    <a:pt x="273" y="1285"/>
                  </a:lnTo>
                  <a:lnTo>
                    <a:pt x="272" y="1298"/>
                  </a:lnTo>
                  <a:lnTo>
                    <a:pt x="272" y="1305"/>
                  </a:lnTo>
                  <a:lnTo>
                    <a:pt x="272" y="1310"/>
                  </a:lnTo>
                  <a:lnTo>
                    <a:pt x="273" y="1315"/>
                  </a:lnTo>
                  <a:lnTo>
                    <a:pt x="276" y="1321"/>
                  </a:lnTo>
                  <a:lnTo>
                    <a:pt x="281" y="1325"/>
                  </a:lnTo>
                  <a:lnTo>
                    <a:pt x="287" y="1327"/>
                  </a:lnTo>
                  <a:lnTo>
                    <a:pt x="296" y="1330"/>
                  </a:lnTo>
                  <a:lnTo>
                    <a:pt x="306" y="1330"/>
                  </a:lnTo>
                  <a:lnTo>
                    <a:pt x="322" y="1333"/>
                  </a:lnTo>
                  <a:lnTo>
                    <a:pt x="336" y="1337"/>
                  </a:lnTo>
                  <a:lnTo>
                    <a:pt x="341" y="1338"/>
                  </a:lnTo>
                  <a:lnTo>
                    <a:pt x="345" y="1338"/>
                  </a:lnTo>
                  <a:lnTo>
                    <a:pt x="350" y="1335"/>
                  </a:lnTo>
                  <a:lnTo>
                    <a:pt x="354" y="1330"/>
                  </a:lnTo>
                  <a:lnTo>
                    <a:pt x="356" y="1322"/>
                  </a:lnTo>
                  <a:lnTo>
                    <a:pt x="357" y="1313"/>
                  </a:lnTo>
                  <a:lnTo>
                    <a:pt x="358" y="1303"/>
                  </a:lnTo>
                  <a:lnTo>
                    <a:pt x="362" y="1293"/>
                  </a:lnTo>
                  <a:lnTo>
                    <a:pt x="370" y="1271"/>
                  </a:lnTo>
                  <a:lnTo>
                    <a:pt x="381" y="1250"/>
                  </a:lnTo>
                  <a:lnTo>
                    <a:pt x="388" y="1239"/>
                  </a:lnTo>
                  <a:lnTo>
                    <a:pt x="394" y="1230"/>
                  </a:lnTo>
                  <a:lnTo>
                    <a:pt x="401" y="1221"/>
                  </a:lnTo>
                  <a:lnTo>
                    <a:pt x="408" y="1213"/>
                  </a:lnTo>
                  <a:lnTo>
                    <a:pt x="416" y="1206"/>
                  </a:lnTo>
                  <a:lnTo>
                    <a:pt x="424" y="1199"/>
                  </a:lnTo>
                  <a:lnTo>
                    <a:pt x="432" y="1195"/>
                  </a:lnTo>
                  <a:lnTo>
                    <a:pt x="440" y="1191"/>
                  </a:lnTo>
                  <a:lnTo>
                    <a:pt x="448" y="1190"/>
                  </a:lnTo>
                  <a:lnTo>
                    <a:pt x="457" y="1191"/>
                  </a:lnTo>
                  <a:lnTo>
                    <a:pt x="466" y="1193"/>
                  </a:lnTo>
                  <a:lnTo>
                    <a:pt x="474" y="1194"/>
                  </a:lnTo>
                  <a:lnTo>
                    <a:pt x="482" y="1194"/>
                  </a:lnTo>
                  <a:lnTo>
                    <a:pt x="490" y="1194"/>
                  </a:lnTo>
                  <a:lnTo>
                    <a:pt x="498" y="1191"/>
                  </a:lnTo>
                  <a:lnTo>
                    <a:pt x="505" y="1186"/>
                  </a:lnTo>
                  <a:lnTo>
                    <a:pt x="522" y="1158"/>
                  </a:lnTo>
                  <a:lnTo>
                    <a:pt x="540" y="1126"/>
                  </a:lnTo>
                  <a:lnTo>
                    <a:pt x="544" y="1119"/>
                  </a:lnTo>
                  <a:lnTo>
                    <a:pt x="549" y="1113"/>
                  </a:lnTo>
                  <a:lnTo>
                    <a:pt x="556" y="1106"/>
                  </a:lnTo>
                  <a:lnTo>
                    <a:pt x="562" y="1101"/>
                  </a:lnTo>
                  <a:lnTo>
                    <a:pt x="569" y="1095"/>
                  </a:lnTo>
                  <a:lnTo>
                    <a:pt x="577" y="1093"/>
                  </a:lnTo>
                  <a:lnTo>
                    <a:pt x="586" y="1090"/>
                  </a:lnTo>
                  <a:lnTo>
                    <a:pt x="596" y="1090"/>
                  </a:lnTo>
                  <a:lnTo>
                    <a:pt x="613" y="1091"/>
                  </a:lnTo>
                  <a:lnTo>
                    <a:pt x="628" y="1095"/>
                  </a:lnTo>
                  <a:lnTo>
                    <a:pt x="640" y="1099"/>
                  </a:lnTo>
                  <a:lnTo>
                    <a:pt x="650" y="1102"/>
                  </a:lnTo>
                  <a:lnTo>
                    <a:pt x="658" y="1101"/>
                  </a:lnTo>
                  <a:lnTo>
                    <a:pt x="666" y="1098"/>
                  </a:lnTo>
                  <a:lnTo>
                    <a:pt x="672" y="1093"/>
                  </a:lnTo>
                  <a:lnTo>
                    <a:pt x="674" y="1086"/>
                  </a:lnTo>
                  <a:lnTo>
                    <a:pt x="680" y="1071"/>
                  </a:lnTo>
                  <a:lnTo>
                    <a:pt x="682" y="1054"/>
                  </a:lnTo>
                  <a:lnTo>
                    <a:pt x="684" y="1045"/>
                  </a:lnTo>
                  <a:lnTo>
                    <a:pt x="686" y="1035"/>
                  </a:lnTo>
                  <a:lnTo>
                    <a:pt x="689" y="1027"/>
                  </a:lnTo>
                  <a:lnTo>
                    <a:pt x="693" y="1021"/>
                  </a:lnTo>
                  <a:lnTo>
                    <a:pt x="698" y="1014"/>
                  </a:lnTo>
                  <a:lnTo>
                    <a:pt x="706" y="1009"/>
                  </a:lnTo>
                  <a:lnTo>
                    <a:pt x="716" y="1006"/>
                  </a:lnTo>
                  <a:lnTo>
                    <a:pt x="728" y="1005"/>
                  </a:lnTo>
                  <a:lnTo>
                    <a:pt x="746" y="1003"/>
                  </a:lnTo>
                  <a:lnTo>
                    <a:pt x="766" y="999"/>
                  </a:lnTo>
                  <a:lnTo>
                    <a:pt x="776" y="997"/>
                  </a:lnTo>
                  <a:lnTo>
                    <a:pt x="785" y="993"/>
                  </a:lnTo>
                  <a:lnTo>
                    <a:pt x="794" y="989"/>
                  </a:lnTo>
                  <a:lnTo>
                    <a:pt x="804" y="983"/>
                  </a:lnTo>
                  <a:lnTo>
                    <a:pt x="812" y="978"/>
                  </a:lnTo>
                  <a:lnTo>
                    <a:pt x="820" y="971"/>
                  </a:lnTo>
                  <a:lnTo>
                    <a:pt x="826" y="965"/>
                  </a:lnTo>
                  <a:lnTo>
                    <a:pt x="832" y="957"/>
                  </a:lnTo>
                  <a:lnTo>
                    <a:pt x="836" y="949"/>
                  </a:lnTo>
                  <a:lnTo>
                    <a:pt x="840" y="941"/>
                  </a:lnTo>
                  <a:lnTo>
                    <a:pt x="842" y="932"/>
                  </a:lnTo>
                  <a:lnTo>
                    <a:pt x="842" y="921"/>
                  </a:lnTo>
                  <a:lnTo>
                    <a:pt x="841" y="913"/>
                  </a:lnTo>
                  <a:lnTo>
                    <a:pt x="838" y="905"/>
                  </a:lnTo>
                  <a:lnTo>
                    <a:pt x="834" y="898"/>
                  </a:lnTo>
                  <a:lnTo>
                    <a:pt x="830" y="892"/>
                  </a:lnTo>
                  <a:lnTo>
                    <a:pt x="826" y="886"/>
                  </a:lnTo>
                  <a:lnTo>
                    <a:pt x="822" y="880"/>
                  </a:lnTo>
                  <a:lnTo>
                    <a:pt x="820" y="873"/>
                  </a:lnTo>
                  <a:lnTo>
                    <a:pt x="818" y="866"/>
                  </a:lnTo>
                  <a:lnTo>
                    <a:pt x="818" y="861"/>
                  </a:lnTo>
                  <a:lnTo>
                    <a:pt x="820" y="857"/>
                  </a:lnTo>
                  <a:lnTo>
                    <a:pt x="822" y="852"/>
                  </a:lnTo>
                  <a:lnTo>
                    <a:pt x="824" y="848"/>
                  </a:lnTo>
                  <a:lnTo>
                    <a:pt x="830" y="838"/>
                  </a:lnTo>
                  <a:lnTo>
                    <a:pt x="837" y="830"/>
                  </a:lnTo>
                  <a:lnTo>
                    <a:pt x="844" y="822"/>
                  </a:lnTo>
                  <a:lnTo>
                    <a:pt x="849" y="814"/>
                  </a:lnTo>
                  <a:lnTo>
                    <a:pt x="852" y="810"/>
                  </a:lnTo>
                  <a:lnTo>
                    <a:pt x="853" y="805"/>
                  </a:lnTo>
                  <a:lnTo>
                    <a:pt x="854" y="800"/>
                  </a:lnTo>
                  <a:lnTo>
                    <a:pt x="854" y="794"/>
                  </a:lnTo>
                  <a:lnTo>
                    <a:pt x="854" y="788"/>
                  </a:lnTo>
                  <a:lnTo>
                    <a:pt x="853" y="781"/>
                  </a:lnTo>
                  <a:lnTo>
                    <a:pt x="852" y="774"/>
                  </a:lnTo>
                  <a:lnTo>
                    <a:pt x="849" y="769"/>
                  </a:lnTo>
                  <a:lnTo>
                    <a:pt x="844" y="758"/>
                  </a:lnTo>
                  <a:lnTo>
                    <a:pt x="837" y="748"/>
                  </a:lnTo>
                  <a:lnTo>
                    <a:pt x="830" y="736"/>
                  </a:lnTo>
                  <a:lnTo>
                    <a:pt x="824" y="722"/>
                  </a:lnTo>
                  <a:lnTo>
                    <a:pt x="822" y="714"/>
                  </a:lnTo>
                  <a:lnTo>
                    <a:pt x="820" y="706"/>
                  </a:lnTo>
                  <a:lnTo>
                    <a:pt x="818" y="697"/>
                  </a:lnTo>
                  <a:lnTo>
                    <a:pt x="818" y="686"/>
                  </a:lnTo>
                  <a:lnTo>
                    <a:pt x="820" y="676"/>
                  </a:lnTo>
                  <a:lnTo>
                    <a:pt x="822" y="666"/>
                  </a:lnTo>
                  <a:lnTo>
                    <a:pt x="828" y="658"/>
                  </a:lnTo>
                  <a:lnTo>
                    <a:pt x="833" y="652"/>
                  </a:lnTo>
                  <a:lnTo>
                    <a:pt x="841" y="646"/>
                  </a:lnTo>
                  <a:lnTo>
                    <a:pt x="849" y="641"/>
                  </a:lnTo>
                  <a:lnTo>
                    <a:pt x="858" y="637"/>
                  </a:lnTo>
                  <a:lnTo>
                    <a:pt x="868" y="633"/>
                  </a:lnTo>
                  <a:lnTo>
                    <a:pt x="889" y="628"/>
                  </a:lnTo>
                  <a:lnTo>
                    <a:pt x="910" y="622"/>
                  </a:lnTo>
                  <a:lnTo>
                    <a:pt x="920" y="618"/>
                  </a:lnTo>
                  <a:lnTo>
                    <a:pt x="929" y="616"/>
                  </a:lnTo>
                  <a:lnTo>
                    <a:pt x="937" y="612"/>
                  </a:lnTo>
                  <a:lnTo>
                    <a:pt x="945" y="608"/>
                  </a:lnTo>
                  <a:lnTo>
                    <a:pt x="962" y="594"/>
                  </a:lnTo>
                  <a:lnTo>
                    <a:pt x="976" y="578"/>
                  </a:lnTo>
                  <a:lnTo>
                    <a:pt x="989" y="562"/>
                  </a:lnTo>
                  <a:lnTo>
                    <a:pt x="1000" y="545"/>
                  </a:lnTo>
                  <a:lnTo>
                    <a:pt x="1021" y="506"/>
                  </a:lnTo>
                  <a:lnTo>
                    <a:pt x="1041" y="464"/>
                  </a:lnTo>
                  <a:lnTo>
                    <a:pt x="1057" y="438"/>
                  </a:lnTo>
                  <a:lnTo>
                    <a:pt x="1071" y="412"/>
                  </a:lnTo>
                  <a:lnTo>
                    <a:pt x="1086" y="384"/>
                  </a:lnTo>
                  <a:lnTo>
                    <a:pt x="1101" y="357"/>
                  </a:lnTo>
                  <a:lnTo>
                    <a:pt x="1114" y="328"/>
                  </a:lnTo>
                  <a:lnTo>
                    <a:pt x="1129" y="299"/>
                  </a:lnTo>
                  <a:lnTo>
                    <a:pt x="1142" y="271"/>
                  </a:lnTo>
                  <a:lnTo>
                    <a:pt x="1155" y="241"/>
                  </a:lnTo>
                  <a:lnTo>
                    <a:pt x="1162" y="229"/>
                  </a:lnTo>
                  <a:lnTo>
                    <a:pt x="1146" y="232"/>
                  </a:lnTo>
                  <a:lnTo>
                    <a:pt x="1131" y="235"/>
                  </a:lnTo>
                  <a:lnTo>
                    <a:pt x="1117" y="236"/>
                  </a:lnTo>
                  <a:lnTo>
                    <a:pt x="1103" y="237"/>
                  </a:lnTo>
                  <a:lnTo>
                    <a:pt x="1091" y="237"/>
                  </a:lnTo>
                  <a:lnTo>
                    <a:pt x="1079" y="236"/>
                  </a:lnTo>
                  <a:lnTo>
                    <a:pt x="1067" y="235"/>
                  </a:lnTo>
                  <a:lnTo>
                    <a:pt x="1055" y="232"/>
                  </a:lnTo>
                  <a:lnTo>
                    <a:pt x="1034" y="227"/>
                  </a:lnTo>
                  <a:lnTo>
                    <a:pt x="1014" y="219"/>
                  </a:lnTo>
                  <a:lnTo>
                    <a:pt x="996" y="209"/>
                  </a:lnTo>
                  <a:lnTo>
                    <a:pt x="978" y="200"/>
                  </a:lnTo>
                  <a:lnTo>
                    <a:pt x="944" y="179"/>
                  </a:lnTo>
                  <a:lnTo>
                    <a:pt x="909" y="159"/>
                  </a:lnTo>
                  <a:lnTo>
                    <a:pt x="892" y="151"/>
                  </a:lnTo>
                  <a:lnTo>
                    <a:pt x="873" y="144"/>
                  </a:lnTo>
                  <a:lnTo>
                    <a:pt x="862" y="141"/>
                  </a:lnTo>
                  <a:lnTo>
                    <a:pt x="852" y="140"/>
                  </a:lnTo>
                  <a:lnTo>
                    <a:pt x="841" y="139"/>
                  </a:lnTo>
                  <a:lnTo>
                    <a:pt x="830" y="139"/>
                  </a:lnTo>
                  <a:lnTo>
                    <a:pt x="820" y="140"/>
                  </a:lnTo>
                  <a:lnTo>
                    <a:pt x="812" y="143"/>
                  </a:lnTo>
                  <a:lnTo>
                    <a:pt x="804" y="145"/>
                  </a:lnTo>
                  <a:lnTo>
                    <a:pt x="797" y="151"/>
                  </a:lnTo>
                  <a:lnTo>
                    <a:pt x="789" y="155"/>
                  </a:lnTo>
                  <a:lnTo>
                    <a:pt x="781" y="159"/>
                  </a:lnTo>
                  <a:lnTo>
                    <a:pt x="770" y="161"/>
                  </a:lnTo>
                  <a:lnTo>
                    <a:pt x="758" y="163"/>
                  </a:lnTo>
                  <a:lnTo>
                    <a:pt x="713" y="161"/>
                  </a:lnTo>
                  <a:lnTo>
                    <a:pt x="672" y="160"/>
                  </a:lnTo>
                  <a:lnTo>
                    <a:pt x="632" y="157"/>
                  </a:lnTo>
                  <a:lnTo>
                    <a:pt x="589" y="156"/>
                  </a:lnTo>
                  <a:lnTo>
                    <a:pt x="589" y="16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7" name="Freeform 93"/>
            <p:cNvSpPr>
              <a:spLocks/>
            </p:cNvSpPr>
            <p:nvPr/>
          </p:nvSpPr>
          <p:spPr bwMode="auto">
            <a:xfrm>
              <a:off x="1743397" y="3113088"/>
              <a:ext cx="1649413" cy="936625"/>
            </a:xfrm>
            <a:custGeom>
              <a:avLst/>
              <a:gdLst/>
              <a:ahLst/>
              <a:cxnLst>
                <a:cxn ang="0">
                  <a:pos x="2060" y="828"/>
                </a:cxn>
                <a:cxn ang="0">
                  <a:pos x="2241" y="932"/>
                </a:cxn>
                <a:cxn ang="0">
                  <a:pos x="2988" y="1268"/>
                </a:cxn>
                <a:cxn ang="0">
                  <a:pos x="3324" y="1068"/>
                </a:cxn>
                <a:cxn ang="0">
                  <a:pos x="3344" y="942"/>
                </a:cxn>
                <a:cxn ang="0">
                  <a:pos x="3390" y="792"/>
                </a:cxn>
                <a:cxn ang="0">
                  <a:pos x="3088" y="563"/>
                </a:cxn>
                <a:cxn ang="0">
                  <a:pos x="3022" y="695"/>
                </a:cxn>
                <a:cxn ang="0">
                  <a:pos x="2917" y="782"/>
                </a:cxn>
                <a:cxn ang="0">
                  <a:pos x="2850" y="891"/>
                </a:cxn>
                <a:cxn ang="0">
                  <a:pos x="2840" y="788"/>
                </a:cxn>
                <a:cxn ang="0">
                  <a:pos x="2727" y="714"/>
                </a:cxn>
                <a:cxn ang="0">
                  <a:pos x="2460" y="690"/>
                </a:cxn>
                <a:cxn ang="0">
                  <a:pos x="2320" y="610"/>
                </a:cxn>
                <a:cxn ang="0">
                  <a:pos x="2473" y="506"/>
                </a:cxn>
                <a:cxn ang="0">
                  <a:pos x="2331" y="473"/>
                </a:cxn>
                <a:cxn ang="0">
                  <a:pos x="2139" y="481"/>
                </a:cxn>
                <a:cxn ang="0">
                  <a:pos x="1791" y="487"/>
                </a:cxn>
                <a:cxn ang="0">
                  <a:pos x="1559" y="533"/>
                </a:cxn>
                <a:cxn ang="0">
                  <a:pos x="1604" y="318"/>
                </a:cxn>
                <a:cxn ang="0">
                  <a:pos x="1776" y="325"/>
                </a:cxn>
                <a:cxn ang="0">
                  <a:pos x="1708" y="94"/>
                </a:cxn>
                <a:cxn ang="0">
                  <a:pos x="1607" y="141"/>
                </a:cxn>
                <a:cxn ang="0">
                  <a:pos x="1422" y="313"/>
                </a:cxn>
                <a:cxn ang="0">
                  <a:pos x="1432" y="443"/>
                </a:cxn>
                <a:cxn ang="0">
                  <a:pos x="1287" y="546"/>
                </a:cxn>
                <a:cxn ang="0">
                  <a:pos x="1245" y="485"/>
                </a:cxn>
                <a:cxn ang="0">
                  <a:pos x="1149" y="375"/>
                </a:cxn>
                <a:cxn ang="0">
                  <a:pos x="859" y="367"/>
                </a:cxn>
                <a:cxn ang="0">
                  <a:pos x="782" y="601"/>
                </a:cxn>
                <a:cxn ang="0">
                  <a:pos x="631" y="342"/>
                </a:cxn>
                <a:cxn ang="0">
                  <a:pos x="521" y="265"/>
                </a:cxn>
                <a:cxn ang="0">
                  <a:pos x="522" y="458"/>
                </a:cxn>
                <a:cxn ang="0">
                  <a:pos x="434" y="542"/>
                </a:cxn>
                <a:cxn ang="0">
                  <a:pos x="330" y="486"/>
                </a:cxn>
                <a:cxn ang="0">
                  <a:pos x="192" y="614"/>
                </a:cxn>
                <a:cxn ang="0">
                  <a:pos x="204" y="757"/>
                </a:cxn>
                <a:cxn ang="0">
                  <a:pos x="133" y="898"/>
                </a:cxn>
                <a:cxn ang="0">
                  <a:pos x="9" y="1222"/>
                </a:cxn>
                <a:cxn ang="0">
                  <a:pos x="106" y="1346"/>
                </a:cxn>
                <a:cxn ang="0">
                  <a:pos x="200" y="1415"/>
                </a:cxn>
                <a:cxn ang="0">
                  <a:pos x="342" y="1483"/>
                </a:cxn>
                <a:cxn ang="0">
                  <a:pos x="558" y="1608"/>
                </a:cxn>
                <a:cxn ang="0">
                  <a:pos x="669" y="1653"/>
                </a:cxn>
                <a:cxn ang="0">
                  <a:pos x="719" y="1709"/>
                </a:cxn>
                <a:cxn ang="0">
                  <a:pos x="807" y="1813"/>
                </a:cxn>
                <a:cxn ang="0">
                  <a:pos x="907" y="1880"/>
                </a:cxn>
                <a:cxn ang="0">
                  <a:pos x="995" y="1893"/>
                </a:cxn>
                <a:cxn ang="0">
                  <a:pos x="1114" y="1801"/>
                </a:cxn>
                <a:cxn ang="0">
                  <a:pos x="1255" y="1652"/>
                </a:cxn>
                <a:cxn ang="0">
                  <a:pos x="1211" y="1545"/>
                </a:cxn>
                <a:cxn ang="0">
                  <a:pos x="1082" y="1600"/>
                </a:cxn>
                <a:cxn ang="0">
                  <a:pos x="1081" y="1437"/>
                </a:cxn>
                <a:cxn ang="0">
                  <a:pos x="1155" y="1361"/>
                </a:cxn>
                <a:cxn ang="0">
                  <a:pos x="1167" y="1158"/>
                </a:cxn>
                <a:cxn ang="0">
                  <a:pos x="1221" y="1076"/>
                </a:cxn>
                <a:cxn ang="0">
                  <a:pos x="1440" y="1202"/>
                </a:cxn>
                <a:cxn ang="0">
                  <a:pos x="1536" y="1216"/>
                </a:cxn>
                <a:cxn ang="0">
                  <a:pos x="1639" y="1258"/>
                </a:cxn>
                <a:cxn ang="0">
                  <a:pos x="1602" y="1063"/>
                </a:cxn>
                <a:cxn ang="0">
                  <a:pos x="1688" y="886"/>
                </a:cxn>
              </a:cxnLst>
              <a:rect l="0" t="0" r="r" b="b"/>
              <a:pathLst>
                <a:path w="3402" h="1931">
                  <a:moveTo>
                    <a:pt x="1704" y="846"/>
                  </a:moveTo>
                  <a:lnTo>
                    <a:pt x="1714" y="850"/>
                  </a:lnTo>
                  <a:lnTo>
                    <a:pt x="1722" y="854"/>
                  </a:lnTo>
                  <a:lnTo>
                    <a:pt x="1731" y="855"/>
                  </a:lnTo>
                  <a:lnTo>
                    <a:pt x="1740" y="856"/>
                  </a:lnTo>
                  <a:lnTo>
                    <a:pt x="1760" y="858"/>
                  </a:lnTo>
                  <a:lnTo>
                    <a:pt x="1783" y="858"/>
                  </a:lnTo>
                  <a:lnTo>
                    <a:pt x="1824" y="858"/>
                  </a:lnTo>
                  <a:lnTo>
                    <a:pt x="1864" y="858"/>
                  </a:lnTo>
                  <a:lnTo>
                    <a:pt x="1902" y="856"/>
                  </a:lnTo>
                  <a:lnTo>
                    <a:pt x="1939" y="854"/>
                  </a:lnTo>
                  <a:lnTo>
                    <a:pt x="1975" y="850"/>
                  </a:lnTo>
                  <a:lnTo>
                    <a:pt x="2010" y="843"/>
                  </a:lnTo>
                  <a:lnTo>
                    <a:pt x="2027" y="839"/>
                  </a:lnTo>
                  <a:lnTo>
                    <a:pt x="2043" y="834"/>
                  </a:lnTo>
                  <a:lnTo>
                    <a:pt x="2060" y="828"/>
                  </a:lnTo>
                  <a:lnTo>
                    <a:pt x="2077" y="822"/>
                  </a:lnTo>
                  <a:lnTo>
                    <a:pt x="2085" y="820"/>
                  </a:lnTo>
                  <a:lnTo>
                    <a:pt x="2092" y="818"/>
                  </a:lnTo>
                  <a:lnTo>
                    <a:pt x="2100" y="818"/>
                  </a:lnTo>
                  <a:lnTo>
                    <a:pt x="2107" y="818"/>
                  </a:lnTo>
                  <a:lnTo>
                    <a:pt x="2113" y="819"/>
                  </a:lnTo>
                  <a:lnTo>
                    <a:pt x="2121" y="820"/>
                  </a:lnTo>
                  <a:lnTo>
                    <a:pt x="2127" y="823"/>
                  </a:lnTo>
                  <a:lnTo>
                    <a:pt x="2133" y="826"/>
                  </a:lnTo>
                  <a:lnTo>
                    <a:pt x="2147" y="832"/>
                  </a:lnTo>
                  <a:lnTo>
                    <a:pt x="2159" y="842"/>
                  </a:lnTo>
                  <a:lnTo>
                    <a:pt x="2171" y="852"/>
                  </a:lnTo>
                  <a:lnTo>
                    <a:pt x="2181" y="864"/>
                  </a:lnTo>
                  <a:lnTo>
                    <a:pt x="2205" y="892"/>
                  </a:lnTo>
                  <a:lnTo>
                    <a:pt x="2229" y="919"/>
                  </a:lnTo>
                  <a:lnTo>
                    <a:pt x="2241" y="932"/>
                  </a:lnTo>
                  <a:lnTo>
                    <a:pt x="2255" y="946"/>
                  </a:lnTo>
                  <a:lnTo>
                    <a:pt x="2268" y="956"/>
                  </a:lnTo>
                  <a:lnTo>
                    <a:pt x="2283" y="967"/>
                  </a:lnTo>
                  <a:lnTo>
                    <a:pt x="2351" y="1006"/>
                  </a:lnTo>
                  <a:lnTo>
                    <a:pt x="2437" y="1051"/>
                  </a:lnTo>
                  <a:lnTo>
                    <a:pt x="2535" y="1100"/>
                  </a:lnTo>
                  <a:lnTo>
                    <a:pt x="2635" y="1150"/>
                  </a:lnTo>
                  <a:lnTo>
                    <a:pt x="2729" y="1195"/>
                  </a:lnTo>
                  <a:lnTo>
                    <a:pt x="2812" y="1234"/>
                  </a:lnTo>
                  <a:lnTo>
                    <a:pt x="2872" y="1260"/>
                  </a:lnTo>
                  <a:lnTo>
                    <a:pt x="2902" y="1274"/>
                  </a:lnTo>
                  <a:lnTo>
                    <a:pt x="2921" y="1275"/>
                  </a:lnTo>
                  <a:lnTo>
                    <a:pt x="2938" y="1275"/>
                  </a:lnTo>
                  <a:lnTo>
                    <a:pt x="2954" y="1274"/>
                  </a:lnTo>
                  <a:lnTo>
                    <a:pt x="2972" y="1272"/>
                  </a:lnTo>
                  <a:lnTo>
                    <a:pt x="2988" y="1268"/>
                  </a:lnTo>
                  <a:lnTo>
                    <a:pt x="3002" y="1263"/>
                  </a:lnTo>
                  <a:lnTo>
                    <a:pt x="3017" y="1258"/>
                  </a:lnTo>
                  <a:lnTo>
                    <a:pt x="3032" y="1251"/>
                  </a:lnTo>
                  <a:lnTo>
                    <a:pt x="3060" y="1235"/>
                  </a:lnTo>
                  <a:lnTo>
                    <a:pt x="3086" y="1218"/>
                  </a:lnTo>
                  <a:lnTo>
                    <a:pt x="3112" y="1198"/>
                  </a:lnTo>
                  <a:lnTo>
                    <a:pt x="3138" y="1178"/>
                  </a:lnTo>
                  <a:lnTo>
                    <a:pt x="3164" y="1156"/>
                  </a:lnTo>
                  <a:lnTo>
                    <a:pt x="3190" y="1136"/>
                  </a:lnTo>
                  <a:lnTo>
                    <a:pt x="3217" y="1116"/>
                  </a:lnTo>
                  <a:lnTo>
                    <a:pt x="3245" y="1099"/>
                  </a:lnTo>
                  <a:lnTo>
                    <a:pt x="3260" y="1091"/>
                  </a:lnTo>
                  <a:lnTo>
                    <a:pt x="3276" y="1084"/>
                  </a:lnTo>
                  <a:lnTo>
                    <a:pt x="3290" y="1079"/>
                  </a:lnTo>
                  <a:lnTo>
                    <a:pt x="3306" y="1074"/>
                  </a:lnTo>
                  <a:lnTo>
                    <a:pt x="3324" y="1068"/>
                  </a:lnTo>
                  <a:lnTo>
                    <a:pt x="3341" y="1066"/>
                  </a:lnTo>
                  <a:lnTo>
                    <a:pt x="3360" y="1064"/>
                  </a:lnTo>
                  <a:lnTo>
                    <a:pt x="3378" y="1063"/>
                  </a:lnTo>
                  <a:lnTo>
                    <a:pt x="3372" y="1075"/>
                  </a:lnTo>
                  <a:lnTo>
                    <a:pt x="3377" y="1066"/>
                  </a:lnTo>
                  <a:lnTo>
                    <a:pt x="3380" y="1056"/>
                  </a:lnTo>
                  <a:lnTo>
                    <a:pt x="3384" y="1046"/>
                  </a:lnTo>
                  <a:lnTo>
                    <a:pt x="3384" y="1032"/>
                  </a:lnTo>
                  <a:lnTo>
                    <a:pt x="3384" y="1023"/>
                  </a:lnTo>
                  <a:lnTo>
                    <a:pt x="3382" y="1014"/>
                  </a:lnTo>
                  <a:lnTo>
                    <a:pt x="3380" y="1006"/>
                  </a:lnTo>
                  <a:lnTo>
                    <a:pt x="3377" y="998"/>
                  </a:lnTo>
                  <a:lnTo>
                    <a:pt x="3369" y="982"/>
                  </a:lnTo>
                  <a:lnTo>
                    <a:pt x="3360" y="968"/>
                  </a:lnTo>
                  <a:lnTo>
                    <a:pt x="3352" y="955"/>
                  </a:lnTo>
                  <a:lnTo>
                    <a:pt x="3344" y="942"/>
                  </a:lnTo>
                  <a:lnTo>
                    <a:pt x="3341" y="935"/>
                  </a:lnTo>
                  <a:lnTo>
                    <a:pt x="3338" y="927"/>
                  </a:lnTo>
                  <a:lnTo>
                    <a:pt x="3337" y="920"/>
                  </a:lnTo>
                  <a:lnTo>
                    <a:pt x="3336" y="912"/>
                  </a:lnTo>
                  <a:lnTo>
                    <a:pt x="3337" y="904"/>
                  </a:lnTo>
                  <a:lnTo>
                    <a:pt x="3338" y="898"/>
                  </a:lnTo>
                  <a:lnTo>
                    <a:pt x="3341" y="891"/>
                  </a:lnTo>
                  <a:lnTo>
                    <a:pt x="3344" y="884"/>
                  </a:lnTo>
                  <a:lnTo>
                    <a:pt x="3352" y="872"/>
                  </a:lnTo>
                  <a:lnTo>
                    <a:pt x="3362" y="862"/>
                  </a:lnTo>
                  <a:lnTo>
                    <a:pt x="3373" y="851"/>
                  </a:lnTo>
                  <a:lnTo>
                    <a:pt x="3384" y="840"/>
                  </a:lnTo>
                  <a:lnTo>
                    <a:pt x="3394" y="828"/>
                  </a:lnTo>
                  <a:lnTo>
                    <a:pt x="3402" y="816"/>
                  </a:lnTo>
                  <a:lnTo>
                    <a:pt x="3397" y="806"/>
                  </a:lnTo>
                  <a:lnTo>
                    <a:pt x="3390" y="792"/>
                  </a:lnTo>
                  <a:lnTo>
                    <a:pt x="3384" y="779"/>
                  </a:lnTo>
                  <a:lnTo>
                    <a:pt x="3378" y="769"/>
                  </a:lnTo>
                  <a:lnTo>
                    <a:pt x="3366" y="753"/>
                  </a:lnTo>
                  <a:lnTo>
                    <a:pt x="3353" y="739"/>
                  </a:lnTo>
                  <a:lnTo>
                    <a:pt x="3338" y="726"/>
                  </a:lnTo>
                  <a:lnTo>
                    <a:pt x="3322" y="713"/>
                  </a:lnTo>
                  <a:lnTo>
                    <a:pt x="3286" y="690"/>
                  </a:lnTo>
                  <a:lnTo>
                    <a:pt x="3248" y="669"/>
                  </a:lnTo>
                  <a:lnTo>
                    <a:pt x="3208" y="646"/>
                  </a:lnTo>
                  <a:lnTo>
                    <a:pt x="3170" y="622"/>
                  </a:lnTo>
                  <a:lnTo>
                    <a:pt x="3152" y="609"/>
                  </a:lnTo>
                  <a:lnTo>
                    <a:pt x="3136" y="594"/>
                  </a:lnTo>
                  <a:lnTo>
                    <a:pt x="3121" y="579"/>
                  </a:lnTo>
                  <a:lnTo>
                    <a:pt x="3106" y="563"/>
                  </a:lnTo>
                  <a:lnTo>
                    <a:pt x="3102" y="563"/>
                  </a:lnTo>
                  <a:lnTo>
                    <a:pt x="3088" y="563"/>
                  </a:lnTo>
                  <a:lnTo>
                    <a:pt x="3077" y="565"/>
                  </a:lnTo>
                  <a:lnTo>
                    <a:pt x="3064" y="569"/>
                  </a:lnTo>
                  <a:lnTo>
                    <a:pt x="3048" y="574"/>
                  </a:lnTo>
                  <a:lnTo>
                    <a:pt x="3029" y="582"/>
                  </a:lnTo>
                  <a:lnTo>
                    <a:pt x="3022" y="585"/>
                  </a:lnTo>
                  <a:lnTo>
                    <a:pt x="3018" y="590"/>
                  </a:lnTo>
                  <a:lnTo>
                    <a:pt x="3016" y="595"/>
                  </a:lnTo>
                  <a:lnTo>
                    <a:pt x="3016" y="602"/>
                  </a:lnTo>
                  <a:lnTo>
                    <a:pt x="3016" y="617"/>
                  </a:lnTo>
                  <a:lnTo>
                    <a:pt x="3018" y="631"/>
                  </a:lnTo>
                  <a:lnTo>
                    <a:pt x="3022" y="649"/>
                  </a:lnTo>
                  <a:lnTo>
                    <a:pt x="3026" y="665"/>
                  </a:lnTo>
                  <a:lnTo>
                    <a:pt x="3026" y="674"/>
                  </a:lnTo>
                  <a:lnTo>
                    <a:pt x="3026" y="682"/>
                  </a:lnTo>
                  <a:lnTo>
                    <a:pt x="3025" y="689"/>
                  </a:lnTo>
                  <a:lnTo>
                    <a:pt x="3022" y="695"/>
                  </a:lnTo>
                  <a:lnTo>
                    <a:pt x="3028" y="729"/>
                  </a:lnTo>
                  <a:lnTo>
                    <a:pt x="3029" y="754"/>
                  </a:lnTo>
                  <a:lnTo>
                    <a:pt x="3029" y="763"/>
                  </a:lnTo>
                  <a:lnTo>
                    <a:pt x="3028" y="772"/>
                  </a:lnTo>
                  <a:lnTo>
                    <a:pt x="3026" y="779"/>
                  </a:lnTo>
                  <a:lnTo>
                    <a:pt x="3024" y="786"/>
                  </a:lnTo>
                  <a:lnTo>
                    <a:pt x="3020" y="790"/>
                  </a:lnTo>
                  <a:lnTo>
                    <a:pt x="3017" y="794"/>
                  </a:lnTo>
                  <a:lnTo>
                    <a:pt x="3013" y="796"/>
                  </a:lnTo>
                  <a:lnTo>
                    <a:pt x="3009" y="798"/>
                  </a:lnTo>
                  <a:lnTo>
                    <a:pt x="2998" y="799"/>
                  </a:lnTo>
                  <a:lnTo>
                    <a:pt x="2988" y="798"/>
                  </a:lnTo>
                  <a:lnTo>
                    <a:pt x="2964" y="791"/>
                  </a:lnTo>
                  <a:lnTo>
                    <a:pt x="2938" y="783"/>
                  </a:lnTo>
                  <a:lnTo>
                    <a:pt x="2928" y="782"/>
                  </a:lnTo>
                  <a:lnTo>
                    <a:pt x="2917" y="782"/>
                  </a:lnTo>
                  <a:lnTo>
                    <a:pt x="2913" y="783"/>
                  </a:lnTo>
                  <a:lnTo>
                    <a:pt x="2909" y="786"/>
                  </a:lnTo>
                  <a:lnTo>
                    <a:pt x="2905" y="788"/>
                  </a:lnTo>
                  <a:lnTo>
                    <a:pt x="2902" y="792"/>
                  </a:lnTo>
                  <a:lnTo>
                    <a:pt x="2904" y="800"/>
                  </a:lnTo>
                  <a:lnTo>
                    <a:pt x="2905" y="807"/>
                  </a:lnTo>
                  <a:lnTo>
                    <a:pt x="2905" y="815"/>
                  </a:lnTo>
                  <a:lnTo>
                    <a:pt x="2905" y="823"/>
                  </a:lnTo>
                  <a:lnTo>
                    <a:pt x="2902" y="836"/>
                  </a:lnTo>
                  <a:lnTo>
                    <a:pt x="2898" y="850"/>
                  </a:lnTo>
                  <a:lnTo>
                    <a:pt x="2892" y="862"/>
                  </a:lnTo>
                  <a:lnTo>
                    <a:pt x="2885" y="872"/>
                  </a:lnTo>
                  <a:lnTo>
                    <a:pt x="2877" y="880"/>
                  </a:lnTo>
                  <a:lnTo>
                    <a:pt x="2868" y="886"/>
                  </a:lnTo>
                  <a:lnTo>
                    <a:pt x="2858" y="890"/>
                  </a:lnTo>
                  <a:lnTo>
                    <a:pt x="2850" y="891"/>
                  </a:lnTo>
                  <a:lnTo>
                    <a:pt x="2845" y="890"/>
                  </a:lnTo>
                  <a:lnTo>
                    <a:pt x="2841" y="888"/>
                  </a:lnTo>
                  <a:lnTo>
                    <a:pt x="2838" y="886"/>
                  </a:lnTo>
                  <a:lnTo>
                    <a:pt x="2834" y="883"/>
                  </a:lnTo>
                  <a:lnTo>
                    <a:pt x="2832" y="879"/>
                  </a:lnTo>
                  <a:lnTo>
                    <a:pt x="2829" y="874"/>
                  </a:lnTo>
                  <a:lnTo>
                    <a:pt x="2826" y="867"/>
                  </a:lnTo>
                  <a:lnTo>
                    <a:pt x="2825" y="860"/>
                  </a:lnTo>
                  <a:lnTo>
                    <a:pt x="2824" y="852"/>
                  </a:lnTo>
                  <a:lnTo>
                    <a:pt x="2824" y="843"/>
                  </a:lnTo>
                  <a:lnTo>
                    <a:pt x="2824" y="834"/>
                  </a:lnTo>
                  <a:lnTo>
                    <a:pt x="2824" y="822"/>
                  </a:lnTo>
                  <a:lnTo>
                    <a:pt x="2825" y="811"/>
                  </a:lnTo>
                  <a:lnTo>
                    <a:pt x="2829" y="803"/>
                  </a:lnTo>
                  <a:lnTo>
                    <a:pt x="2833" y="795"/>
                  </a:lnTo>
                  <a:lnTo>
                    <a:pt x="2840" y="788"/>
                  </a:lnTo>
                  <a:lnTo>
                    <a:pt x="2856" y="775"/>
                  </a:lnTo>
                  <a:lnTo>
                    <a:pt x="2872" y="765"/>
                  </a:lnTo>
                  <a:lnTo>
                    <a:pt x="2878" y="758"/>
                  </a:lnTo>
                  <a:lnTo>
                    <a:pt x="2885" y="751"/>
                  </a:lnTo>
                  <a:lnTo>
                    <a:pt x="2889" y="743"/>
                  </a:lnTo>
                  <a:lnTo>
                    <a:pt x="2893" y="735"/>
                  </a:lnTo>
                  <a:lnTo>
                    <a:pt x="2893" y="725"/>
                  </a:lnTo>
                  <a:lnTo>
                    <a:pt x="2892" y="713"/>
                  </a:lnTo>
                  <a:lnTo>
                    <a:pt x="2886" y="699"/>
                  </a:lnTo>
                  <a:lnTo>
                    <a:pt x="2878" y="683"/>
                  </a:lnTo>
                  <a:lnTo>
                    <a:pt x="2846" y="693"/>
                  </a:lnTo>
                  <a:lnTo>
                    <a:pt x="2817" y="699"/>
                  </a:lnTo>
                  <a:lnTo>
                    <a:pt x="2791" y="705"/>
                  </a:lnTo>
                  <a:lnTo>
                    <a:pt x="2768" y="710"/>
                  </a:lnTo>
                  <a:lnTo>
                    <a:pt x="2745" y="713"/>
                  </a:lnTo>
                  <a:lnTo>
                    <a:pt x="2727" y="714"/>
                  </a:lnTo>
                  <a:lnTo>
                    <a:pt x="2708" y="714"/>
                  </a:lnTo>
                  <a:lnTo>
                    <a:pt x="2691" y="711"/>
                  </a:lnTo>
                  <a:lnTo>
                    <a:pt x="2675" y="709"/>
                  </a:lnTo>
                  <a:lnTo>
                    <a:pt x="2659" y="703"/>
                  </a:lnTo>
                  <a:lnTo>
                    <a:pt x="2643" y="697"/>
                  </a:lnTo>
                  <a:lnTo>
                    <a:pt x="2627" y="689"/>
                  </a:lnTo>
                  <a:lnTo>
                    <a:pt x="2611" y="678"/>
                  </a:lnTo>
                  <a:lnTo>
                    <a:pt x="2592" y="666"/>
                  </a:lnTo>
                  <a:lnTo>
                    <a:pt x="2573" y="651"/>
                  </a:lnTo>
                  <a:lnTo>
                    <a:pt x="2553" y="635"/>
                  </a:lnTo>
                  <a:lnTo>
                    <a:pt x="2531" y="653"/>
                  </a:lnTo>
                  <a:lnTo>
                    <a:pt x="2511" y="666"/>
                  </a:lnTo>
                  <a:lnTo>
                    <a:pt x="2495" y="677"/>
                  </a:lnTo>
                  <a:lnTo>
                    <a:pt x="2480" y="683"/>
                  </a:lnTo>
                  <a:lnTo>
                    <a:pt x="2469" y="687"/>
                  </a:lnTo>
                  <a:lnTo>
                    <a:pt x="2460" y="690"/>
                  </a:lnTo>
                  <a:lnTo>
                    <a:pt x="2453" y="690"/>
                  </a:lnTo>
                  <a:lnTo>
                    <a:pt x="2448" y="687"/>
                  </a:lnTo>
                  <a:lnTo>
                    <a:pt x="2443" y="685"/>
                  </a:lnTo>
                  <a:lnTo>
                    <a:pt x="2439" y="681"/>
                  </a:lnTo>
                  <a:lnTo>
                    <a:pt x="2436" y="675"/>
                  </a:lnTo>
                  <a:lnTo>
                    <a:pt x="2433" y="670"/>
                  </a:lnTo>
                  <a:lnTo>
                    <a:pt x="2429" y="665"/>
                  </a:lnTo>
                  <a:lnTo>
                    <a:pt x="2425" y="661"/>
                  </a:lnTo>
                  <a:lnTo>
                    <a:pt x="2420" y="657"/>
                  </a:lnTo>
                  <a:lnTo>
                    <a:pt x="2415" y="654"/>
                  </a:lnTo>
                  <a:lnTo>
                    <a:pt x="2381" y="642"/>
                  </a:lnTo>
                  <a:lnTo>
                    <a:pt x="2353" y="631"/>
                  </a:lnTo>
                  <a:lnTo>
                    <a:pt x="2341" y="626"/>
                  </a:lnTo>
                  <a:lnTo>
                    <a:pt x="2332" y="621"/>
                  </a:lnTo>
                  <a:lnTo>
                    <a:pt x="2325" y="615"/>
                  </a:lnTo>
                  <a:lnTo>
                    <a:pt x="2320" y="610"/>
                  </a:lnTo>
                  <a:lnTo>
                    <a:pt x="2319" y="605"/>
                  </a:lnTo>
                  <a:lnTo>
                    <a:pt x="2319" y="601"/>
                  </a:lnTo>
                  <a:lnTo>
                    <a:pt x="2321" y="595"/>
                  </a:lnTo>
                  <a:lnTo>
                    <a:pt x="2327" y="591"/>
                  </a:lnTo>
                  <a:lnTo>
                    <a:pt x="2336" y="587"/>
                  </a:lnTo>
                  <a:lnTo>
                    <a:pt x="2349" y="583"/>
                  </a:lnTo>
                  <a:lnTo>
                    <a:pt x="2365" y="579"/>
                  </a:lnTo>
                  <a:lnTo>
                    <a:pt x="2384" y="575"/>
                  </a:lnTo>
                  <a:lnTo>
                    <a:pt x="2384" y="570"/>
                  </a:lnTo>
                  <a:lnTo>
                    <a:pt x="2385" y="563"/>
                  </a:lnTo>
                  <a:lnTo>
                    <a:pt x="2387" y="558"/>
                  </a:lnTo>
                  <a:lnTo>
                    <a:pt x="2391" y="553"/>
                  </a:lnTo>
                  <a:lnTo>
                    <a:pt x="2400" y="543"/>
                  </a:lnTo>
                  <a:lnTo>
                    <a:pt x="2413" y="534"/>
                  </a:lnTo>
                  <a:lnTo>
                    <a:pt x="2443" y="518"/>
                  </a:lnTo>
                  <a:lnTo>
                    <a:pt x="2473" y="506"/>
                  </a:lnTo>
                  <a:lnTo>
                    <a:pt x="2485" y="501"/>
                  </a:lnTo>
                  <a:lnTo>
                    <a:pt x="2495" y="495"/>
                  </a:lnTo>
                  <a:lnTo>
                    <a:pt x="2497" y="494"/>
                  </a:lnTo>
                  <a:lnTo>
                    <a:pt x="2500" y="491"/>
                  </a:lnTo>
                  <a:lnTo>
                    <a:pt x="2500" y="489"/>
                  </a:lnTo>
                  <a:lnTo>
                    <a:pt x="2500" y="487"/>
                  </a:lnTo>
                  <a:lnTo>
                    <a:pt x="2497" y="486"/>
                  </a:lnTo>
                  <a:lnTo>
                    <a:pt x="2493" y="483"/>
                  </a:lnTo>
                  <a:lnTo>
                    <a:pt x="2488" y="482"/>
                  </a:lnTo>
                  <a:lnTo>
                    <a:pt x="2480" y="479"/>
                  </a:lnTo>
                  <a:lnTo>
                    <a:pt x="2457" y="477"/>
                  </a:lnTo>
                  <a:lnTo>
                    <a:pt x="2427" y="473"/>
                  </a:lnTo>
                  <a:lnTo>
                    <a:pt x="2400" y="473"/>
                  </a:lnTo>
                  <a:lnTo>
                    <a:pt x="2376" y="473"/>
                  </a:lnTo>
                  <a:lnTo>
                    <a:pt x="2353" y="473"/>
                  </a:lnTo>
                  <a:lnTo>
                    <a:pt x="2331" y="473"/>
                  </a:lnTo>
                  <a:lnTo>
                    <a:pt x="2320" y="495"/>
                  </a:lnTo>
                  <a:lnTo>
                    <a:pt x="2309" y="515"/>
                  </a:lnTo>
                  <a:lnTo>
                    <a:pt x="2303" y="523"/>
                  </a:lnTo>
                  <a:lnTo>
                    <a:pt x="2297" y="531"/>
                  </a:lnTo>
                  <a:lnTo>
                    <a:pt x="2291" y="537"/>
                  </a:lnTo>
                  <a:lnTo>
                    <a:pt x="2284" y="541"/>
                  </a:lnTo>
                  <a:lnTo>
                    <a:pt x="2277" y="542"/>
                  </a:lnTo>
                  <a:lnTo>
                    <a:pt x="2269" y="542"/>
                  </a:lnTo>
                  <a:lnTo>
                    <a:pt x="2263" y="538"/>
                  </a:lnTo>
                  <a:lnTo>
                    <a:pt x="2256" y="533"/>
                  </a:lnTo>
                  <a:lnTo>
                    <a:pt x="2248" y="523"/>
                  </a:lnTo>
                  <a:lnTo>
                    <a:pt x="2241" y="510"/>
                  </a:lnTo>
                  <a:lnTo>
                    <a:pt x="2235" y="494"/>
                  </a:lnTo>
                  <a:lnTo>
                    <a:pt x="2228" y="473"/>
                  </a:lnTo>
                  <a:lnTo>
                    <a:pt x="2191" y="478"/>
                  </a:lnTo>
                  <a:lnTo>
                    <a:pt x="2139" y="481"/>
                  </a:lnTo>
                  <a:lnTo>
                    <a:pt x="2085" y="485"/>
                  </a:lnTo>
                  <a:lnTo>
                    <a:pt x="2042" y="485"/>
                  </a:lnTo>
                  <a:lnTo>
                    <a:pt x="2010" y="485"/>
                  </a:lnTo>
                  <a:lnTo>
                    <a:pt x="1982" y="482"/>
                  </a:lnTo>
                  <a:lnTo>
                    <a:pt x="1955" y="479"/>
                  </a:lnTo>
                  <a:lnTo>
                    <a:pt x="1931" y="475"/>
                  </a:lnTo>
                  <a:lnTo>
                    <a:pt x="1910" y="473"/>
                  </a:lnTo>
                  <a:lnTo>
                    <a:pt x="1888" y="470"/>
                  </a:lnTo>
                  <a:lnTo>
                    <a:pt x="1868" y="470"/>
                  </a:lnTo>
                  <a:lnTo>
                    <a:pt x="1848" y="470"/>
                  </a:lnTo>
                  <a:lnTo>
                    <a:pt x="1839" y="471"/>
                  </a:lnTo>
                  <a:lnTo>
                    <a:pt x="1830" y="473"/>
                  </a:lnTo>
                  <a:lnTo>
                    <a:pt x="1820" y="475"/>
                  </a:lnTo>
                  <a:lnTo>
                    <a:pt x="1810" y="478"/>
                  </a:lnTo>
                  <a:lnTo>
                    <a:pt x="1800" y="482"/>
                  </a:lnTo>
                  <a:lnTo>
                    <a:pt x="1791" y="487"/>
                  </a:lnTo>
                  <a:lnTo>
                    <a:pt x="1780" y="494"/>
                  </a:lnTo>
                  <a:lnTo>
                    <a:pt x="1770" y="501"/>
                  </a:lnTo>
                  <a:lnTo>
                    <a:pt x="1748" y="518"/>
                  </a:lnTo>
                  <a:lnTo>
                    <a:pt x="1726" y="539"/>
                  </a:lnTo>
                  <a:lnTo>
                    <a:pt x="1700" y="566"/>
                  </a:lnTo>
                  <a:lnTo>
                    <a:pt x="1674" y="599"/>
                  </a:lnTo>
                  <a:lnTo>
                    <a:pt x="1668" y="606"/>
                  </a:lnTo>
                  <a:lnTo>
                    <a:pt x="1662" y="610"/>
                  </a:lnTo>
                  <a:lnTo>
                    <a:pt x="1656" y="611"/>
                  </a:lnTo>
                  <a:lnTo>
                    <a:pt x="1650" y="611"/>
                  </a:lnTo>
                  <a:lnTo>
                    <a:pt x="1643" y="609"/>
                  </a:lnTo>
                  <a:lnTo>
                    <a:pt x="1635" y="605"/>
                  </a:lnTo>
                  <a:lnTo>
                    <a:pt x="1628" y="599"/>
                  </a:lnTo>
                  <a:lnTo>
                    <a:pt x="1622" y="594"/>
                  </a:lnTo>
                  <a:lnTo>
                    <a:pt x="1591" y="562"/>
                  </a:lnTo>
                  <a:lnTo>
                    <a:pt x="1559" y="533"/>
                  </a:lnTo>
                  <a:lnTo>
                    <a:pt x="1562" y="518"/>
                  </a:lnTo>
                  <a:lnTo>
                    <a:pt x="1563" y="503"/>
                  </a:lnTo>
                  <a:lnTo>
                    <a:pt x="1564" y="489"/>
                  </a:lnTo>
                  <a:lnTo>
                    <a:pt x="1563" y="473"/>
                  </a:lnTo>
                  <a:lnTo>
                    <a:pt x="1560" y="443"/>
                  </a:lnTo>
                  <a:lnTo>
                    <a:pt x="1554" y="417"/>
                  </a:lnTo>
                  <a:lnTo>
                    <a:pt x="1542" y="375"/>
                  </a:lnTo>
                  <a:lnTo>
                    <a:pt x="1535" y="358"/>
                  </a:lnTo>
                  <a:lnTo>
                    <a:pt x="1543" y="355"/>
                  </a:lnTo>
                  <a:lnTo>
                    <a:pt x="1551" y="351"/>
                  </a:lnTo>
                  <a:lnTo>
                    <a:pt x="1556" y="347"/>
                  </a:lnTo>
                  <a:lnTo>
                    <a:pt x="1562" y="342"/>
                  </a:lnTo>
                  <a:lnTo>
                    <a:pt x="1572" y="331"/>
                  </a:lnTo>
                  <a:lnTo>
                    <a:pt x="1586" y="323"/>
                  </a:lnTo>
                  <a:lnTo>
                    <a:pt x="1594" y="319"/>
                  </a:lnTo>
                  <a:lnTo>
                    <a:pt x="1604" y="318"/>
                  </a:lnTo>
                  <a:lnTo>
                    <a:pt x="1616" y="318"/>
                  </a:lnTo>
                  <a:lnTo>
                    <a:pt x="1631" y="319"/>
                  </a:lnTo>
                  <a:lnTo>
                    <a:pt x="1648" y="322"/>
                  </a:lnTo>
                  <a:lnTo>
                    <a:pt x="1670" y="327"/>
                  </a:lnTo>
                  <a:lnTo>
                    <a:pt x="1694" y="335"/>
                  </a:lnTo>
                  <a:lnTo>
                    <a:pt x="1722" y="346"/>
                  </a:lnTo>
                  <a:lnTo>
                    <a:pt x="1730" y="349"/>
                  </a:lnTo>
                  <a:lnTo>
                    <a:pt x="1738" y="350"/>
                  </a:lnTo>
                  <a:lnTo>
                    <a:pt x="1744" y="350"/>
                  </a:lnTo>
                  <a:lnTo>
                    <a:pt x="1751" y="349"/>
                  </a:lnTo>
                  <a:lnTo>
                    <a:pt x="1756" y="347"/>
                  </a:lnTo>
                  <a:lnTo>
                    <a:pt x="1762" y="343"/>
                  </a:lnTo>
                  <a:lnTo>
                    <a:pt x="1766" y="341"/>
                  </a:lnTo>
                  <a:lnTo>
                    <a:pt x="1770" y="335"/>
                  </a:lnTo>
                  <a:lnTo>
                    <a:pt x="1774" y="330"/>
                  </a:lnTo>
                  <a:lnTo>
                    <a:pt x="1776" y="325"/>
                  </a:lnTo>
                  <a:lnTo>
                    <a:pt x="1779" y="318"/>
                  </a:lnTo>
                  <a:lnTo>
                    <a:pt x="1782" y="311"/>
                  </a:lnTo>
                  <a:lnTo>
                    <a:pt x="1784" y="295"/>
                  </a:lnTo>
                  <a:lnTo>
                    <a:pt x="1786" y="278"/>
                  </a:lnTo>
                  <a:lnTo>
                    <a:pt x="1786" y="259"/>
                  </a:lnTo>
                  <a:lnTo>
                    <a:pt x="1786" y="241"/>
                  </a:lnTo>
                  <a:lnTo>
                    <a:pt x="1783" y="222"/>
                  </a:lnTo>
                  <a:lnTo>
                    <a:pt x="1780" y="203"/>
                  </a:lnTo>
                  <a:lnTo>
                    <a:pt x="1778" y="186"/>
                  </a:lnTo>
                  <a:lnTo>
                    <a:pt x="1774" y="169"/>
                  </a:lnTo>
                  <a:lnTo>
                    <a:pt x="1768" y="154"/>
                  </a:lnTo>
                  <a:lnTo>
                    <a:pt x="1764" y="142"/>
                  </a:lnTo>
                  <a:lnTo>
                    <a:pt x="1750" y="132"/>
                  </a:lnTo>
                  <a:lnTo>
                    <a:pt x="1735" y="121"/>
                  </a:lnTo>
                  <a:lnTo>
                    <a:pt x="1722" y="108"/>
                  </a:lnTo>
                  <a:lnTo>
                    <a:pt x="1708" y="94"/>
                  </a:lnTo>
                  <a:lnTo>
                    <a:pt x="1684" y="66"/>
                  </a:lnTo>
                  <a:lnTo>
                    <a:pt x="1663" y="40"/>
                  </a:lnTo>
                  <a:lnTo>
                    <a:pt x="1644" y="17"/>
                  </a:lnTo>
                  <a:lnTo>
                    <a:pt x="1631" y="4"/>
                  </a:lnTo>
                  <a:lnTo>
                    <a:pt x="1626" y="0"/>
                  </a:lnTo>
                  <a:lnTo>
                    <a:pt x="1623" y="0"/>
                  </a:lnTo>
                  <a:lnTo>
                    <a:pt x="1620" y="2"/>
                  </a:lnTo>
                  <a:lnTo>
                    <a:pt x="1620" y="9"/>
                  </a:lnTo>
                  <a:lnTo>
                    <a:pt x="1620" y="44"/>
                  </a:lnTo>
                  <a:lnTo>
                    <a:pt x="1622" y="72"/>
                  </a:lnTo>
                  <a:lnTo>
                    <a:pt x="1623" y="85"/>
                  </a:lnTo>
                  <a:lnTo>
                    <a:pt x="1623" y="97"/>
                  </a:lnTo>
                  <a:lnTo>
                    <a:pt x="1622" y="108"/>
                  </a:lnTo>
                  <a:lnTo>
                    <a:pt x="1619" y="118"/>
                  </a:lnTo>
                  <a:lnTo>
                    <a:pt x="1614" y="130"/>
                  </a:lnTo>
                  <a:lnTo>
                    <a:pt x="1607" y="141"/>
                  </a:lnTo>
                  <a:lnTo>
                    <a:pt x="1596" y="153"/>
                  </a:lnTo>
                  <a:lnTo>
                    <a:pt x="1583" y="166"/>
                  </a:lnTo>
                  <a:lnTo>
                    <a:pt x="1566" y="180"/>
                  </a:lnTo>
                  <a:lnTo>
                    <a:pt x="1544" y="195"/>
                  </a:lnTo>
                  <a:lnTo>
                    <a:pt x="1519" y="213"/>
                  </a:lnTo>
                  <a:lnTo>
                    <a:pt x="1487" y="233"/>
                  </a:lnTo>
                  <a:lnTo>
                    <a:pt x="1472" y="242"/>
                  </a:lnTo>
                  <a:lnTo>
                    <a:pt x="1459" y="251"/>
                  </a:lnTo>
                  <a:lnTo>
                    <a:pt x="1448" y="261"/>
                  </a:lnTo>
                  <a:lnTo>
                    <a:pt x="1440" y="269"/>
                  </a:lnTo>
                  <a:lnTo>
                    <a:pt x="1434" y="277"/>
                  </a:lnTo>
                  <a:lnTo>
                    <a:pt x="1428" y="285"/>
                  </a:lnTo>
                  <a:lnTo>
                    <a:pt x="1424" y="293"/>
                  </a:lnTo>
                  <a:lnTo>
                    <a:pt x="1423" y="299"/>
                  </a:lnTo>
                  <a:lnTo>
                    <a:pt x="1422" y="306"/>
                  </a:lnTo>
                  <a:lnTo>
                    <a:pt x="1422" y="313"/>
                  </a:lnTo>
                  <a:lnTo>
                    <a:pt x="1423" y="319"/>
                  </a:lnTo>
                  <a:lnTo>
                    <a:pt x="1426" y="325"/>
                  </a:lnTo>
                  <a:lnTo>
                    <a:pt x="1431" y="337"/>
                  </a:lnTo>
                  <a:lnTo>
                    <a:pt x="1439" y="349"/>
                  </a:lnTo>
                  <a:lnTo>
                    <a:pt x="1447" y="361"/>
                  </a:lnTo>
                  <a:lnTo>
                    <a:pt x="1454" y="373"/>
                  </a:lnTo>
                  <a:lnTo>
                    <a:pt x="1456" y="378"/>
                  </a:lnTo>
                  <a:lnTo>
                    <a:pt x="1459" y="385"/>
                  </a:lnTo>
                  <a:lnTo>
                    <a:pt x="1460" y="391"/>
                  </a:lnTo>
                  <a:lnTo>
                    <a:pt x="1460" y="397"/>
                  </a:lnTo>
                  <a:lnTo>
                    <a:pt x="1459" y="405"/>
                  </a:lnTo>
                  <a:lnTo>
                    <a:pt x="1458" y="411"/>
                  </a:lnTo>
                  <a:lnTo>
                    <a:pt x="1454" y="418"/>
                  </a:lnTo>
                  <a:lnTo>
                    <a:pt x="1448" y="426"/>
                  </a:lnTo>
                  <a:lnTo>
                    <a:pt x="1442" y="434"/>
                  </a:lnTo>
                  <a:lnTo>
                    <a:pt x="1432" y="443"/>
                  </a:lnTo>
                  <a:lnTo>
                    <a:pt x="1422" y="451"/>
                  </a:lnTo>
                  <a:lnTo>
                    <a:pt x="1408" y="461"/>
                  </a:lnTo>
                  <a:lnTo>
                    <a:pt x="1406" y="462"/>
                  </a:lnTo>
                  <a:lnTo>
                    <a:pt x="1395" y="462"/>
                  </a:lnTo>
                  <a:lnTo>
                    <a:pt x="1386" y="463"/>
                  </a:lnTo>
                  <a:lnTo>
                    <a:pt x="1376" y="467"/>
                  </a:lnTo>
                  <a:lnTo>
                    <a:pt x="1363" y="474"/>
                  </a:lnTo>
                  <a:lnTo>
                    <a:pt x="1348" y="485"/>
                  </a:lnTo>
                  <a:lnTo>
                    <a:pt x="1338" y="501"/>
                  </a:lnTo>
                  <a:lnTo>
                    <a:pt x="1323" y="521"/>
                  </a:lnTo>
                  <a:lnTo>
                    <a:pt x="1306" y="546"/>
                  </a:lnTo>
                  <a:lnTo>
                    <a:pt x="1289" y="575"/>
                  </a:lnTo>
                  <a:lnTo>
                    <a:pt x="1290" y="567"/>
                  </a:lnTo>
                  <a:lnTo>
                    <a:pt x="1290" y="559"/>
                  </a:lnTo>
                  <a:lnTo>
                    <a:pt x="1289" y="551"/>
                  </a:lnTo>
                  <a:lnTo>
                    <a:pt x="1287" y="546"/>
                  </a:lnTo>
                  <a:lnTo>
                    <a:pt x="1285" y="539"/>
                  </a:lnTo>
                  <a:lnTo>
                    <a:pt x="1281" y="535"/>
                  </a:lnTo>
                  <a:lnTo>
                    <a:pt x="1277" y="530"/>
                  </a:lnTo>
                  <a:lnTo>
                    <a:pt x="1273" y="526"/>
                  </a:lnTo>
                  <a:lnTo>
                    <a:pt x="1263" y="519"/>
                  </a:lnTo>
                  <a:lnTo>
                    <a:pt x="1253" y="514"/>
                  </a:lnTo>
                  <a:lnTo>
                    <a:pt x="1242" y="511"/>
                  </a:lnTo>
                  <a:lnTo>
                    <a:pt x="1233" y="507"/>
                  </a:lnTo>
                  <a:lnTo>
                    <a:pt x="1226" y="505"/>
                  </a:lnTo>
                  <a:lnTo>
                    <a:pt x="1221" y="502"/>
                  </a:lnTo>
                  <a:lnTo>
                    <a:pt x="1219" y="501"/>
                  </a:lnTo>
                  <a:lnTo>
                    <a:pt x="1219" y="499"/>
                  </a:lnTo>
                  <a:lnTo>
                    <a:pt x="1221" y="498"/>
                  </a:lnTo>
                  <a:lnTo>
                    <a:pt x="1222" y="495"/>
                  </a:lnTo>
                  <a:lnTo>
                    <a:pt x="1231" y="491"/>
                  </a:lnTo>
                  <a:lnTo>
                    <a:pt x="1245" y="485"/>
                  </a:lnTo>
                  <a:lnTo>
                    <a:pt x="1266" y="477"/>
                  </a:lnTo>
                  <a:lnTo>
                    <a:pt x="1295" y="467"/>
                  </a:lnTo>
                  <a:lnTo>
                    <a:pt x="1285" y="446"/>
                  </a:lnTo>
                  <a:lnTo>
                    <a:pt x="1274" y="426"/>
                  </a:lnTo>
                  <a:lnTo>
                    <a:pt x="1261" y="406"/>
                  </a:lnTo>
                  <a:lnTo>
                    <a:pt x="1249" y="387"/>
                  </a:lnTo>
                  <a:lnTo>
                    <a:pt x="1241" y="379"/>
                  </a:lnTo>
                  <a:lnTo>
                    <a:pt x="1234" y="371"/>
                  </a:lnTo>
                  <a:lnTo>
                    <a:pt x="1227" y="366"/>
                  </a:lnTo>
                  <a:lnTo>
                    <a:pt x="1221" y="361"/>
                  </a:lnTo>
                  <a:lnTo>
                    <a:pt x="1213" y="357"/>
                  </a:lnTo>
                  <a:lnTo>
                    <a:pt x="1206" y="354"/>
                  </a:lnTo>
                  <a:lnTo>
                    <a:pt x="1199" y="353"/>
                  </a:lnTo>
                  <a:lnTo>
                    <a:pt x="1193" y="353"/>
                  </a:lnTo>
                  <a:lnTo>
                    <a:pt x="1170" y="366"/>
                  </a:lnTo>
                  <a:lnTo>
                    <a:pt x="1149" y="375"/>
                  </a:lnTo>
                  <a:lnTo>
                    <a:pt x="1127" y="382"/>
                  </a:lnTo>
                  <a:lnTo>
                    <a:pt x="1106" y="386"/>
                  </a:lnTo>
                  <a:lnTo>
                    <a:pt x="1086" y="389"/>
                  </a:lnTo>
                  <a:lnTo>
                    <a:pt x="1067" y="389"/>
                  </a:lnTo>
                  <a:lnTo>
                    <a:pt x="1049" y="387"/>
                  </a:lnTo>
                  <a:lnTo>
                    <a:pt x="1030" y="385"/>
                  </a:lnTo>
                  <a:lnTo>
                    <a:pt x="997" y="377"/>
                  </a:lnTo>
                  <a:lnTo>
                    <a:pt x="965" y="369"/>
                  </a:lnTo>
                  <a:lnTo>
                    <a:pt x="950" y="365"/>
                  </a:lnTo>
                  <a:lnTo>
                    <a:pt x="935" y="362"/>
                  </a:lnTo>
                  <a:lnTo>
                    <a:pt x="922" y="359"/>
                  </a:lnTo>
                  <a:lnTo>
                    <a:pt x="909" y="358"/>
                  </a:lnTo>
                  <a:lnTo>
                    <a:pt x="895" y="359"/>
                  </a:lnTo>
                  <a:lnTo>
                    <a:pt x="882" y="361"/>
                  </a:lnTo>
                  <a:lnTo>
                    <a:pt x="870" y="363"/>
                  </a:lnTo>
                  <a:lnTo>
                    <a:pt x="859" y="367"/>
                  </a:lnTo>
                  <a:lnTo>
                    <a:pt x="850" y="373"/>
                  </a:lnTo>
                  <a:lnTo>
                    <a:pt x="842" y="378"/>
                  </a:lnTo>
                  <a:lnTo>
                    <a:pt x="834" y="385"/>
                  </a:lnTo>
                  <a:lnTo>
                    <a:pt x="829" y="391"/>
                  </a:lnTo>
                  <a:lnTo>
                    <a:pt x="823" y="399"/>
                  </a:lnTo>
                  <a:lnTo>
                    <a:pt x="818" y="407"/>
                  </a:lnTo>
                  <a:lnTo>
                    <a:pt x="814" y="417"/>
                  </a:lnTo>
                  <a:lnTo>
                    <a:pt x="811" y="426"/>
                  </a:lnTo>
                  <a:lnTo>
                    <a:pt x="807" y="446"/>
                  </a:lnTo>
                  <a:lnTo>
                    <a:pt x="803" y="467"/>
                  </a:lnTo>
                  <a:lnTo>
                    <a:pt x="801" y="510"/>
                  </a:lnTo>
                  <a:lnTo>
                    <a:pt x="798" y="551"/>
                  </a:lnTo>
                  <a:lnTo>
                    <a:pt x="794" y="570"/>
                  </a:lnTo>
                  <a:lnTo>
                    <a:pt x="789" y="587"/>
                  </a:lnTo>
                  <a:lnTo>
                    <a:pt x="786" y="594"/>
                  </a:lnTo>
                  <a:lnTo>
                    <a:pt x="782" y="601"/>
                  </a:lnTo>
                  <a:lnTo>
                    <a:pt x="777" y="606"/>
                  </a:lnTo>
                  <a:lnTo>
                    <a:pt x="770" y="611"/>
                  </a:lnTo>
                  <a:lnTo>
                    <a:pt x="757" y="602"/>
                  </a:lnTo>
                  <a:lnTo>
                    <a:pt x="743" y="589"/>
                  </a:lnTo>
                  <a:lnTo>
                    <a:pt x="730" y="574"/>
                  </a:lnTo>
                  <a:lnTo>
                    <a:pt x="717" y="558"/>
                  </a:lnTo>
                  <a:lnTo>
                    <a:pt x="705" y="541"/>
                  </a:lnTo>
                  <a:lnTo>
                    <a:pt x="691" y="522"/>
                  </a:lnTo>
                  <a:lnTo>
                    <a:pt x="681" y="501"/>
                  </a:lnTo>
                  <a:lnTo>
                    <a:pt x="670" y="479"/>
                  </a:lnTo>
                  <a:lnTo>
                    <a:pt x="661" y="458"/>
                  </a:lnTo>
                  <a:lnTo>
                    <a:pt x="651" y="435"/>
                  </a:lnTo>
                  <a:lnTo>
                    <a:pt x="645" y="411"/>
                  </a:lnTo>
                  <a:lnTo>
                    <a:pt x="638" y="389"/>
                  </a:lnTo>
                  <a:lnTo>
                    <a:pt x="634" y="366"/>
                  </a:lnTo>
                  <a:lnTo>
                    <a:pt x="631" y="342"/>
                  </a:lnTo>
                  <a:lnTo>
                    <a:pt x="631" y="321"/>
                  </a:lnTo>
                  <a:lnTo>
                    <a:pt x="633" y="298"/>
                  </a:lnTo>
                  <a:lnTo>
                    <a:pt x="633" y="295"/>
                  </a:lnTo>
                  <a:lnTo>
                    <a:pt x="631" y="293"/>
                  </a:lnTo>
                  <a:lnTo>
                    <a:pt x="630" y="289"/>
                  </a:lnTo>
                  <a:lnTo>
                    <a:pt x="627" y="285"/>
                  </a:lnTo>
                  <a:lnTo>
                    <a:pt x="619" y="278"/>
                  </a:lnTo>
                  <a:lnTo>
                    <a:pt x="609" y="271"/>
                  </a:lnTo>
                  <a:lnTo>
                    <a:pt x="597" y="265"/>
                  </a:lnTo>
                  <a:lnTo>
                    <a:pt x="583" y="261"/>
                  </a:lnTo>
                  <a:lnTo>
                    <a:pt x="567" y="258"/>
                  </a:lnTo>
                  <a:lnTo>
                    <a:pt x="553" y="257"/>
                  </a:lnTo>
                  <a:lnTo>
                    <a:pt x="545" y="258"/>
                  </a:lnTo>
                  <a:lnTo>
                    <a:pt x="537" y="259"/>
                  </a:lnTo>
                  <a:lnTo>
                    <a:pt x="529" y="262"/>
                  </a:lnTo>
                  <a:lnTo>
                    <a:pt x="521" y="265"/>
                  </a:lnTo>
                  <a:lnTo>
                    <a:pt x="514" y="270"/>
                  </a:lnTo>
                  <a:lnTo>
                    <a:pt x="506" y="275"/>
                  </a:lnTo>
                  <a:lnTo>
                    <a:pt x="500" y="281"/>
                  </a:lnTo>
                  <a:lnTo>
                    <a:pt x="493" y="289"/>
                  </a:lnTo>
                  <a:lnTo>
                    <a:pt x="488" y="298"/>
                  </a:lnTo>
                  <a:lnTo>
                    <a:pt x="482" y="309"/>
                  </a:lnTo>
                  <a:lnTo>
                    <a:pt x="477" y="319"/>
                  </a:lnTo>
                  <a:lnTo>
                    <a:pt x="473" y="333"/>
                  </a:lnTo>
                  <a:lnTo>
                    <a:pt x="469" y="347"/>
                  </a:lnTo>
                  <a:lnTo>
                    <a:pt x="466" y="363"/>
                  </a:lnTo>
                  <a:lnTo>
                    <a:pt x="465" y="381"/>
                  </a:lnTo>
                  <a:lnTo>
                    <a:pt x="464" y="401"/>
                  </a:lnTo>
                  <a:lnTo>
                    <a:pt x="485" y="417"/>
                  </a:lnTo>
                  <a:lnTo>
                    <a:pt x="501" y="431"/>
                  </a:lnTo>
                  <a:lnTo>
                    <a:pt x="514" y="445"/>
                  </a:lnTo>
                  <a:lnTo>
                    <a:pt x="522" y="458"/>
                  </a:lnTo>
                  <a:lnTo>
                    <a:pt x="525" y="465"/>
                  </a:lnTo>
                  <a:lnTo>
                    <a:pt x="526" y="470"/>
                  </a:lnTo>
                  <a:lnTo>
                    <a:pt x="528" y="477"/>
                  </a:lnTo>
                  <a:lnTo>
                    <a:pt x="529" y="482"/>
                  </a:lnTo>
                  <a:lnTo>
                    <a:pt x="528" y="493"/>
                  </a:lnTo>
                  <a:lnTo>
                    <a:pt x="524" y="502"/>
                  </a:lnTo>
                  <a:lnTo>
                    <a:pt x="518" y="511"/>
                  </a:lnTo>
                  <a:lnTo>
                    <a:pt x="512" y="519"/>
                  </a:lnTo>
                  <a:lnTo>
                    <a:pt x="504" y="526"/>
                  </a:lnTo>
                  <a:lnTo>
                    <a:pt x="494" y="533"/>
                  </a:lnTo>
                  <a:lnTo>
                    <a:pt x="485" y="537"/>
                  </a:lnTo>
                  <a:lnTo>
                    <a:pt x="476" y="541"/>
                  </a:lnTo>
                  <a:lnTo>
                    <a:pt x="466" y="543"/>
                  </a:lnTo>
                  <a:lnTo>
                    <a:pt x="458" y="545"/>
                  </a:lnTo>
                  <a:lnTo>
                    <a:pt x="446" y="543"/>
                  </a:lnTo>
                  <a:lnTo>
                    <a:pt x="434" y="542"/>
                  </a:lnTo>
                  <a:lnTo>
                    <a:pt x="424" y="539"/>
                  </a:lnTo>
                  <a:lnTo>
                    <a:pt x="414" y="537"/>
                  </a:lnTo>
                  <a:lnTo>
                    <a:pt x="406" y="533"/>
                  </a:lnTo>
                  <a:lnTo>
                    <a:pt x="398" y="529"/>
                  </a:lnTo>
                  <a:lnTo>
                    <a:pt x="390" y="525"/>
                  </a:lnTo>
                  <a:lnTo>
                    <a:pt x="384" y="519"/>
                  </a:lnTo>
                  <a:lnTo>
                    <a:pt x="378" y="514"/>
                  </a:lnTo>
                  <a:lnTo>
                    <a:pt x="373" y="509"/>
                  </a:lnTo>
                  <a:lnTo>
                    <a:pt x="369" y="502"/>
                  </a:lnTo>
                  <a:lnTo>
                    <a:pt x="365" y="497"/>
                  </a:lnTo>
                  <a:lnTo>
                    <a:pt x="361" y="490"/>
                  </a:lnTo>
                  <a:lnTo>
                    <a:pt x="358" y="482"/>
                  </a:lnTo>
                  <a:lnTo>
                    <a:pt x="357" y="475"/>
                  </a:lnTo>
                  <a:lnTo>
                    <a:pt x="356" y="467"/>
                  </a:lnTo>
                  <a:lnTo>
                    <a:pt x="342" y="477"/>
                  </a:lnTo>
                  <a:lnTo>
                    <a:pt x="330" y="486"/>
                  </a:lnTo>
                  <a:lnTo>
                    <a:pt x="324" y="491"/>
                  </a:lnTo>
                  <a:lnTo>
                    <a:pt x="317" y="494"/>
                  </a:lnTo>
                  <a:lnTo>
                    <a:pt x="309" y="497"/>
                  </a:lnTo>
                  <a:lnTo>
                    <a:pt x="301" y="497"/>
                  </a:lnTo>
                  <a:lnTo>
                    <a:pt x="294" y="493"/>
                  </a:lnTo>
                  <a:lnTo>
                    <a:pt x="286" y="485"/>
                  </a:lnTo>
                  <a:lnTo>
                    <a:pt x="277" y="474"/>
                  </a:lnTo>
                  <a:lnTo>
                    <a:pt x="270" y="467"/>
                  </a:lnTo>
                  <a:lnTo>
                    <a:pt x="241" y="467"/>
                  </a:lnTo>
                  <a:lnTo>
                    <a:pt x="240" y="487"/>
                  </a:lnTo>
                  <a:lnTo>
                    <a:pt x="238" y="506"/>
                  </a:lnTo>
                  <a:lnTo>
                    <a:pt x="234" y="522"/>
                  </a:lnTo>
                  <a:lnTo>
                    <a:pt x="229" y="538"/>
                  </a:lnTo>
                  <a:lnTo>
                    <a:pt x="218" y="565"/>
                  </a:lnTo>
                  <a:lnTo>
                    <a:pt x="205" y="590"/>
                  </a:lnTo>
                  <a:lnTo>
                    <a:pt x="192" y="614"/>
                  </a:lnTo>
                  <a:lnTo>
                    <a:pt x="180" y="641"/>
                  </a:lnTo>
                  <a:lnTo>
                    <a:pt x="176" y="655"/>
                  </a:lnTo>
                  <a:lnTo>
                    <a:pt x="172" y="671"/>
                  </a:lnTo>
                  <a:lnTo>
                    <a:pt x="169" y="689"/>
                  </a:lnTo>
                  <a:lnTo>
                    <a:pt x="169" y="707"/>
                  </a:lnTo>
                  <a:lnTo>
                    <a:pt x="169" y="714"/>
                  </a:lnTo>
                  <a:lnTo>
                    <a:pt x="170" y="719"/>
                  </a:lnTo>
                  <a:lnTo>
                    <a:pt x="172" y="723"/>
                  </a:lnTo>
                  <a:lnTo>
                    <a:pt x="174" y="727"/>
                  </a:lnTo>
                  <a:lnTo>
                    <a:pt x="180" y="733"/>
                  </a:lnTo>
                  <a:lnTo>
                    <a:pt x="186" y="737"/>
                  </a:lnTo>
                  <a:lnTo>
                    <a:pt x="193" y="741"/>
                  </a:lnTo>
                  <a:lnTo>
                    <a:pt x="200" y="746"/>
                  </a:lnTo>
                  <a:lnTo>
                    <a:pt x="201" y="749"/>
                  </a:lnTo>
                  <a:lnTo>
                    <a:pt x="204" y="753"/>
                  </a:lnTo>
                  <a:lnTo>
                    <a:pt x="204" y="757"/>
                  </a:lnTo>
                  <a:lnTo>
                    <a:pt x="205" y="762"/>
                  </a:lnTo>
                  <a:lnTo>
                    <a:pt x="204" y="770"/>
                  </a:lnTo>
                  <a:lnTo>
                    <a:pt x="202" y="775"/>
                  </a:lnTo>
                  <a:lnTo>
                    <a:pt x="201" y="780"/>
                  </a:lnTo>
                  <a:lnTo>
                    <a:pt x="198" y="784"/>
                  </a:lnTo>
                  <a:lnTo>
                    <a:pt x="192" y="792"/>
                  </a:lnTo>
                  <a:lnTo>
                    <a:pt x="182" y="798"/>
                  </a:lnTo>
                  <a:lnTo>
                    <a:pt x="174" y="803"/>
                  </a:lnTo>
                  <a:lnTo>
                    <a:pt x="166" y="808"/>
                  </a:lnTo>
                  <a:lnTo>
                    <a:pt x="164" y="812"/>
                  </a:lnTo>
                  <a:lnTo>
                    <a:pt x="160" y="816"/>
                  </a:lnTo>
                  <a:lnTo>
                    <a:pt x="158" y="822"/>
                  </a:lnTo>
                  <a:lnTo>
                    <a:pt x="157" y="828"/>
                  </a:lnTo>
                  <a:lnTo>
                    <a:pt x="150" y="852"/>
                  </a:lnTo>
                  <a:lnTo>
                    <a:pt x="142" y="876"/>
                  </a:lnTo>
                  <a:lnTo>
                    <a:pt x="133" y="898"/>
                  </a:lnTo>
                  <a:lnTo>
                    <a:pt x="122" y="918"/>
                  </a:lnTo>
                  <a:lnTo>
                    <a:pt x="97" y="955"/>
                  </a:lnTo>
                  <a:lnTo>
                    <a:pt x="69" y="991"/>
                  </a:lnTo>
                  <a:lnTo>
                    <a:pt x="56" y="1010"/>
                  </a:lnTo>
                  <a:lnTo>
                    <a:pt x="44" y="1030"/>
                  </a:lnTo>
                  <a:lnTo>
                    <a:pt x="32" y="1050"/>
                  </a:lnTo>
                  <a:lnTo>
                    <a:pt x="21" y="1071"/>
                  </a:lnTo>
                  <a:lnTo>
                    <a:pt x="12" y="1095"/>
                  </a:lnTo>
                  <a:lnTo>
                    <a:pt x="5" y="1120"/>
                  </a:lnTo>
                  <a:lnTo>
                    <a:pt x="4" y="1134"/>
                  </a:lnTo>
                  <a:lnTo>
                    <a:pt x="1" y="1147"/>
                  </a:lnTo>
                  <a:lnTo>
                    <a:pt x="0" y="1162"/>
                  </a:lnTo>
                  <a:lnTo>
                    <a:pt x="0" y="1178"/>
                  </a:lnTo>
                  <a:lnTo>
                    <a:pt x="1" y="1195"/>
                  </a:lnTo>
                  <a:lnTo>
                    <a:pt x="4" y="1210"/>
                  </a:lnTo>
                  <a:lnTo>
                    <a:pt x="9" y="1222"/>
                  </a:lnTo>
                  <a:lnTo>
                    <a:pt x="16" y="1232"/>
                  </a:lnTo>
                  <a:lnTo>
                    <a:pt x="24" y="1240"/>
                  </a:lnTo>
                  <a:lnTo>
                    <a:pt x="32" y="1248"/>
                  </a:lnTo>
                  <a:lnTo>
                    <a:pt x="41" y="1254"/>
                  </a:lnTo>
                  <a:lnTo>
                    <a:pt x="52" y="1259"/>
                  </a:lnTo>
                  <a:lnTo>
                    <a:pt x="61" y="1264"/>
                  </a:lnTo>
                  <a:lnTo>
                    <a:pt x="70" y="1271"/>
                  </a:lnTo>
                  <a:lnTo>
                    <a:pt x="78" y="1276"/>
                  </a:lnTo>
                  <a:lnTo>
                    <a:pt x="86" y="1283"/>
                  </a:lnTo>
                  <a:lnTo>
                    <a:pt x="93" y="1291"/>
                  </a:lnTo>
                  <a:lnTo>
                    <a:pt x="98" y="1302"/>
                  </a:lnTo>
                  <a:lnTo>
                    <a:pt x="101" y="1314"/>
                  </a:lnTo>
                  <a:lnTo>
                    <a:pt x="102" y="1328"/>
                  </a:lnTo>
                  <a:lnTo>
                    <a:pt x="102" y="1335"/>
                  </a:lnTo>
                  <a:lnTo>
                    <a:pt x="105" y="1342"/>
                  </a:lnTo>
                  <a:lnTo>
                    <a:pt x="106" y="1346"/>
                  </a:lnTo>
                  <a:lnTo>
                    <a:pt x="110" y="1348"/>
                  </a:lnTo>
                  <a:lnTo>
                    <a:pt x="114" y="1351"/>
                  </a:lnTo>
                  <a:lnTo>
                    <a:pt x="118" y="1352"/>
                  </a:lnTo>
                  <a:lnTo>
                    <a:pt x="124" y="1353"/>
                  </a:lnTo>
                  <a:lnTo>
                    <a:pt x="129" y="1355"/>
                  </a:lnTo>
                  <a:lnTo>
                    <a:pt x="141" y="1355"/>
                  </a:lnTo>
                  <a:lnTo>
                    <a:pt x="153" y="1355"/>
                  </a:lnTo>
                  <a:lnTo>
                    <a:pt x="165" y="1355"/>
                  </a:lnTo>
                  <a:lnTo>
                    <a:pt x="174" y="1357"/>
                  </a:lnTo>
                  <a:lnTo>
                    <a:pt x="180" y="1361"/>
                  </a:lnTo>
                  <a:lnTo>
                    <a:pt x="184" y="1365"/>
                  </a:lnTo>
                  <a:lnTo>
                    <a:pt x="188" y="1369"/>
                  </a:lnTo>
                  <a:lnTo>
                    <a:pt x="190" y="1375"/>
                  </a:lnTo>
                  <a:lnTo>
                    <a:pt x="193" y="1388"/>
                  </a:lnTo>
                  <a:lnTo>
                    <a:pt x="197" y="1401"/>
                  </a:lnTo>
                  <a:lnTo>
                    <a:pt x="200" y="1415"/>
                  </a:lnTo>
                  <a:lnTo>
                    <a:pt x="204" y="1425"/>
                  </a:lnTo>
                  <a:lnTo>
                    <a:pt x="208" y="1431"/>
                  </a:lnTo>
                  <a:lnTo>
                    <a:pt x="212" y="1433"/>
                  </a:lnTo>
                  <a:lnTo>
                    <a:pt x="217" y="1436"/>
                  </a:lnTo>
                  <a:lnTo>
                    <a:pt x="222" y="1436"/>
                  </a:lnTo>
                  <a:lnTo>
                    <a:pt x="241" y="1436"/>
                  </a:lnTo>
                  <a:lnTo>
                    <a:pt x="253" y="1436"/>
                  </a:lnTo>
                  <a:lnTo>
                    <a:pt x="262" y="1436"/>
                  </a:lnTo>
                  <a:lnTo>
                    <a:pt x="270" y="1436"/>
                  </a:lnTo>
                  <a:lnTo>
                    <a:pt x="278" y="1437"/>
                  </a:lnTo>
                  <a:lnTo>
                    <a:pt x="286" y="1439"/>
                  </a:lnTo>
                  <a:lnTo>
                    <a:pt x="293" y="1443"/>
                  </a:lnTo>
                  <a:lnTo>
                    <a:pt x="300" y="1447"/>
                  </a:lnTo>
                  <a:lnTo>
                    <a:pt x="313" y="1457"/>
                  </a:lnTo>
                  <a:lnTo>
                    <a:pt x="328" y="1471"/>
                  </a:lnTo>
                  <a:lnTo>
                    <a:pt x="342" y="1483"/>
                  </a:lnTo>
                  <a:lnTo>
                    <a:pt x="358" y="1495"/>
                  </a:lnTo>
                  <a:lnTo>
                    <a:pt x="368" y="1500"/>
                  </a:lnTo>
                  <a:lnTo>
                    <a:pt x="377" y="1504"/>
                  </a:lnTo>
                  <a:lnTo>
                    <a:pt x="386" y="1507"/>
                  </a:lnTo>
                  <a:lnTo>
                    <a:pt x="397" y="1508"/>
                  </a:lnTo>
                  <a:lnTo>
                    <a:pt x="398" y="1521"/>
                  </a:lnTo>
                  <a:lnTo>
                    <a:pt x="398" y="1532"/>
                  </a:lnTo>
                  <a:lnTo>
                    <a:pt x="400" y="1540"/>
                  </a:lnTo>
                  <a:lnTo>
                    <a:pt x="402" y="1548"/>
                  </a:lnTo>
                  <a:lnTo>
                    <a:pt x="408" y="1561"/>
                  </a:lnTo>
                  <a:lnTo>
                    <a:pt x="416" y="1575"/>
                  </a:lnTo>
                  <a:lnTo>
                    <a:pt x="518" y="1575"/>
                  </a:lnTo>
                  <a:lnTo>
                    <a:pt x="530" y="1584"/>
                  </a:lnTo>
                  <a:lnTo>
                    <a:pt x="541" y="1592"/>
                  </a:lnTo>
                  <a:lnTo>
                    <a:pt x="550" y="1600"/>
                  </a:lnTo>
                  <a:lnTo>
                    <a:pt x="558" y="1608"/>
                  </a:lnTo>
                  <a:lnTo>
                    <a:pt x="574" y="1624"/>
                  </a:lnTo>
                  <a:lnTo>
                    <a:pt x="590" y="1641"/>
                  </a:lnTo>
                  <a:lnTo>
                    <a:pt x="594" y="1657"/>
                  </a:lnTo>
                  <a:lnTo>
                    <a:pt x="598" y="1671"/>
                  </a:lnTo>
                  <a:lnTo>
                    <a:pt x="602" y="1676"/>
                  </a:lnTo>
                  <a:lnTo>
                    <a:pt x="606" y="1680"/>
                  </a:lnTo>
                  <a:lnTo>
                    <a:pt x="613" y="1683"/>
                  </a:lnTo>
                  <a:lnTo>
                    <a:pt x="621" y="1683"/>
                  </a:lnTo>
                  <a:lnTo>
                    <a:pt x="627" y="1683"/>
                  </a:lnTo>
                  <a:lnTo>
                    <a:pt x="634" y="1681"/>
                  </a:lnTo>
                  <a:lnTo>
                    <a:pt x="639" y="1680"/>
                  </a:lnTo>
                  <a:lnTo>
                    <a:pt x="643" y="1677"/>
                  </a:lnTo>
                  <a:lnTo>
                    <a:pt x="651" y="1672"/>
                  </a:lnTo>
                  <a:lnTo>
                    <a:pt x="658" y="1665"/>
                  </a:lnTo>
                  <a:lnTo>
                    <a:pt x="663" y="1659"/>
                  </a:lnTo>
                  <a:lnTo>
                    <a:pt x="669" y="1653"/>
                  </a:lnTo>
                  <a:lnTo>
                    <a:pt x="673" y="1651"/>
                  </a:lnTo>
                  <a:lnTo>
                    <a:pt x="677" y="1648"/>
                  </a:lnTo>
                  <a:lnTo>
                    <a:pt x="681" y="1648"/>
                  </a:lnTo>
                  <a:lnTo>
                    <a:pt x="686" y="1647"/>
                  </a:lnTo>
                  <a:lnTo>
                    <a:pt x="697" y="1649"/>
                  </a:lnTo>
                  <a:lnTo>
                    <a:pt x="709" y="1653"/>
                  </a:lnTo>
                  <a:lnTo>
                    <a:pt x="714" y="1657"/>
                  </a:lnTo>
                  <a:lnTo>
                    <a:pt x="718" y="1660"/>
                  </a:lnTo>
                  <a:lnTo>
                    <a:pt x="722" y="1663"/>
                  </a:lnTo>
                  <a:lnTo>
                    <a:pt x="722" y="1665"/>
                  </a:lnTo>
                  <a:lnTo>
                    <a:pt x="726" y="1673"/>
                  </a:lnTo>
                  <a:lnTo>
                    <a:pt x="726" y="1681"/>
                  </a:lnTo>
                  <a:lnTo>
                    <a:pt x="726" y="1688"/>
                  </a:lnTo>
                  <a:lnTo>
                    <a:pt x="723" y="1695"/>
                  </a:lnTo>
                  <a:lnTo>
                    <a:pt x="722" y="1703"/>
                  </a:lnTo>
                  <a:lnTo>
                    <a:pt x="719" y="1709"/>
                  </a:lnTo>
                  <a:lnTo>
                    <a:pt x="717" y="1717"/>
                  </a:lnTo>
                  <a:lnTo>
                    <a:pt x="717" y="1725"/>
                  </a:lnTo>
                  <a:lnTo>
                    <a:pt x="718" y="1733"/>
                  </a:lnTo>
                  <a:lnTo>
                    <a:pt x="721" y="1740"/>
                  </a:lnTo>
                  <a:lnTo>
                    <a:pt x="725" y="1745"/>
                  </a:lnTo>
                  <a:lnTo>
                    <a:pt x="730" y="1751"/>
                  </a:lnTo>
                  <a:lnTo>
                    <a:pt x="741" y="1759"/>
                  </a:lnTo>
                  <a:lnTo>
                    <a:pt x="754" y="1767"/>
                  </a:lnTo>
                  <a:lnTo>
                    <a:pt x="767" y="1775"/>
                  </a:lnTo>
                  <a:lnTo>
                    <a:pt x="781" y="1783"/>
                  </a:lnTo>
                  <a:lnTo>
                    <a:pt x="787" y="1787"/>
                  </a:lnTo>
                  <a:lnTo>
                    <a:pt x="793" y="1792"/>
                  </a:lnTo>
                  <a:lnTo>
                    <a:pt x="797" y="1797"/>
                  </a:lnTo>
                  <a:lnTo>
                    <a:pt x="801" y="1804"/>
                  </a:lnTo>
                  <a:lnTo>
                    <a:pt x="803" y="1809"/>
                  </a:lnTo>
                  <a:lnTo>
                    <a:pt x="807" y="1813"/>
                  </a:lnTo>
                  <a:lnTo>
                    <a:pt x="813" y="1816"/>
                  </a:lnTo>
                  <a:lnTo>
                    <a:pt x="818" y="1817"/>
                  </a:lnTo>
                  <a:lnTo>
                    <a:pt x="830" y="1817"/>
                  </a:lnTo>
                  <a:lnTo>
                    <a:pt x="843" y="1815"/>
                  </a:lnTo>
                  <a:lnTo>
                    <a:pt x="858" y="1812"/>
                  </a:lnTo>
                  <a:lnTo>
                    <a:pt x="871" y="1811"/>
                  </a:lnTo>
                  <a:lnTo>
                    <a:pt x="877" y="1812"/>
                  </a:lnTo>
                  <a:lnTo>
                    <a:pt x="882" y="1813"/>
                  </a:lnTo>
                  <a:lnTo>
                    <a:pt x="887" y="1817"/>
                  </a:lnTo>
                  <a:lnTo>
                    <a:pt x="891" y="1821"/>
                  </a:lnTo>
                  <a:lnTo>
                    <a:pt x="897" y="1828"/>
                  </a:lnTo>
                  <a:lnTo>
                    <a:pt x="901" y="1836"/>
                  </a:lnTo>
                  <a:lnTo>
                    <a:pt x="903" y="1843"/>
                  </a:lnTo>
                  <a:lnTo>
                    <a:pt x="905" y="1851"/>
                  </a:lnTo>
                  <a:lnTo>
                    <a:pt x="907" y="1865"/>
                  </a:lnTo>
                  <a:lnTo>
                    <a:pt x="907" y="1880"/>
                  </a:lnTo>
                  <a:lnTo>
                    <a:pt x="907" y="1895"/>
                  </a:lnTo>
                  <a:lnTo>
                    <a:pt x="909" y="1908"/>
                  </a:lnTo>
                  <a:lnTo>
                    <a:pt x="909" y="1915"/>
                  </a:lnTo>
                  <a:lnTo>
                    <a:pt x="910" y="1920"/>
                  </a:lnTo>
                  <a:lnTo>
                    <a:pt x="913" y="1925"/>
                  </a:lnTo>
                  <a:lnTo>
                    <a:pt x="915" y="1931"/>
                  </a:lnTo>
                  <a:lnTo>
                    <a:pt x="915" y="1924"/>
                  </a:lnTo>
                  <a:lnTo>
                    <a:pt x="921" y="1917"/>
                  </a:lnTo>
                  <a:lnTo>
                    <a:pt x="926" y="1912"/>
                  </a:lnTo>
                  <a:lnTo>
                    <a:pt x="934" y="1907"/>
                  </a:lnTo>
                  <a:lnTo>
                    <a:pt x="942" y="1903"/>
                  </a:lnTo>
                  <a:lnTo>
                    <a:pt x="950" y="1899"/>
                  </a:lnTo>
                  <a:lnTo>
                    <a:pt x="961" y="1896"/>
                  </a:lnTo>
                  <a:lnTo>
                    <a:pt x="970" y="1895"/>
                  </a:lnTo>
                  <a:lnTo>
                    <a:pt x="982" y="1895"/>
                  </a:lnTo>
                  <a:lnTo>
                    <a:pt x="995" y="1893"/>
                  </a:lnTo>
                  <a:lnTo>
                    <a:pt x="1011" y="1892"/>
                  </a:lnTo>
                  <a:lnTo>
                    <a:pt x="1027" y="1889"/>
                  </a:lnTo>
                  <a:lnTo>
                    <a:pt x="1045" y="1885"/>
                  </a:lnTo>
                  <a:lnTo>
                    <a:pt x="1062" y="1881"/>
                  </a:lnTo>
                  <a:lnTo>
                    <a:pt x="1078" y="1876"/>
                  </a:lnTo>
                  <a:lnTo>
                    <a:pt x="1094" y="1871"/>
                  </a:lnTo>
                  <a:lnTo>
                    <a:pt x="1109" y="1864"/>
                  </a:lnTo>
                  <a:lnTo>
                    <a:pt x="1117" y="1860"/>
                  </a:lnTo>
                  <a:lnTo>
                    <a:pt x="1123" y="1855"/>
                  </a:lnTo>
                  <a:lnTo>
                    <a:pt x="1126" y="1849"/>
                  </a:lnTo>
                  <a:lnTo>
                    <a:pt x="1129" y="1844"/>
                  </a:lnTo>
                  <a:lnTo>
                    <a:pt x="1129" y="1837"/>
                  </a:lnTo>
                  <a:lnTo>
                    <a:pt x="1127" y="1831"/>
                  </a:lnTo>
                  <a:lnTo>
                    <a:pt x="1125" y="1823"/>
                  </a:lnTo>
                  <a:lnTo>
                    <a:pt x="1122" y="1816"/>
                  </a:lnTo>
                  <a:lnTo>
                    <a:pt x="1114" y="1801"/>
                  </a:lnTo>
                  <a:lnTo>
                    <a:pt x="1107" y="1788"/>
                  </a:lnTo>
                  <a:lnTo>
                    <a:pt x="1106" y="1781"/>
                  </a:lnTo>
                  <a:lnTo>
                    <a:pt x="1105" y="1776"/>
                  </a:lnTo>
                  <a:lnTo>
                    <a:pt x="1106" y="1772"/>
                  </a:lnTo>
                  <a:lnTo>
                    <a:pt x="1109" y="1768"/>
                  </a:lnTo>
                  <a:lnTo>
                    <a:pt x="1119" y="1760"/>
                  </a:lnTo>
                  <a:lnTo>
                    <a:pt x="1135" y="1752"/>
                  </a:lnTo>
                  <a:lnTo>
                    <a:pt x="1143" y="1748"/>
                  </a:lnTo>
                  <a:lnTo>
                    <a:pt x="1150" y="1743"/>
                  </a:lnTo>
                  <a:lnTo>
                    <a:pt x="1157" y="1737"/>
                  </a:lnTo>
                  <a:lnTo>
                    <a:pt x="1162" y="1732"/>
                  </a:lnTo>
                  <a:lnTo>
                    <a:pt x="1174" y="1719"/>
                  </a:lnTo>
                  <a:lnTo>
                    <a:pt x="1193" y="1703"/>
                  </a:lnTo>
                  <a:lnTo>
                    <a:pt x="1213" y="1687"/>
                  </a:lnTo>
                  <a:lnTo>
                    <a:pt x="1234" y="1669"/>
                  </a:lnTo>
                  <a:lnTo>
                    <a:pt x="1255" y="1652"/>
                  </a:lnTo>
                  <a:lnTo>
                    <a:pt x="1273" y="1636"/>
                  </a:lnTo>
                  <a:lnTo>
                    <a:pt x="1279" y="1628"/>
                  </a:lnTo>
                  <a:lnTo>
                    <a:pt x="1285" y="1621"/>
                  </a:lnTo>
                  <a:lnTo>
                    <a:pt x="1287" y="1616"/>
                  </a:lnTo>
                  <a:lnTo>
                    <a:pt x="1289" y="1611"/>
                  </a:lnTo>
                  <a:lnTo>
                    <a:pt x="1289" y="1607"/>
                  </a:lnTo>
                  <a:lnTo>
                    <a:pt x="1286" y="1601"/>
                  </a:lnTo>
                  <a:lnTo>
                    <a:pt x="1285" y="1596"/>
                  </a:lnTo>
                  <a:lnTo>
                    <a:pt x="1281" y="1591"/>
                  </a:lnTo>
                  <a:lnTo>
                    <a:pt x="1271" y="1580"/>
                  </a:lnTo>
                  <a:lnTo>
                    <a:pt x="1261" y="1569"/>
                  </a:lnTo>
                  <a:lnTo>
                    <a:pt x="1247" y="1559"/>
                  </a:lnTo>
                  <a:lnTo>
                    <a:pt x="1233" y="1552"/>
                  </a:lnTo>
                  <a:lnTo>
                    <a:pt x="1226" y="1549"/>
                  </a:lnTo>
                  <a:lnTo>
                    <a:pt x="1218" y="1547"/>
                  </a:lnTo>
                  <a:lnTo>
                    <a:pt x="1211" y="1545"/>
                  </a:lnTo>
                  <a:lnTo>
                    <a:pt x="1205" y="1544"/>
                  </a:lnTo>
                  <a:lnTo>
                    <a:pt x="1198" y="1545"/>
                  </a:lnTo>
                  <a:lnTo>
                    <a:pt x="1193" y="1548"/>
                  </a:lnTo>
                  <a:lnTo>
                    <a:pt x="1187" y="1551"/>
                  </a:lnTo>
                  <a:lnTo>
                    <a:pt x="1182" y="1555"/>
                  </a:lnTo>
                  <a:lnTo>
                    <a:pt x="1174" y="1565"/>
                  </a:lnTo>
                  <a:lnTo>
                    <a:pt x="1166" y="1577"/>
                  </a:lnTo>
                  <a:lnTo>
                    <a:pt x="1159" y="1589"/>
                  </a:lnTo>
                  <a:lnTo>
                    <a:pt x="1151" y="1600"/>
                  </a:lnTo>
                  <a:lnTo>
                    <a:pt x="1147" y="1605"/>
                  </a:lnTo>
                  <a:lnTo>
                    <a:pt x="1142" y="1608"/>
                  </a:lnTo>
                  <a:lnTo>
                    <a:pt x="1138" y="1611"/>
                  </a:lnTo>
                  <a:lnTo>
                    <a:pt x="1133" y="1611"/>
                  </a:lnTo>
                  <a:lnTo>
                    <a:pt x="1117" y="1609"/>
                  </a:lnTo>
                  <a:lnTo>
                    <a:pt x="1099" y="1605"/>
                  </a:lnTo>
                  <a:lnTo>
                    <a:pt x="1082" y="1600"/>
                  </a:lnTo>
                  <a:lnTo>
                    <a:pt x="1065" y="1593"/>
                  </a:lnTo>
                  <a:lnTo>
                    <a:pt x="1049" y="1584"/>
                  </a:lnTo>
                  <a:lnTo>
                    <a:pt x="1035" y="1575"/>
                  </a:lnTo>
                  <a:lnTo>
                    <a:pt x="1030" y="1571"/>
                  </a:lnTo>
                  <a:lnTo>
                    <a:pt x="1027" y="1565"/>
                  </a:lnTo>
                  <a:lnTo>
                    <a:pt x="1025" y="1561"/>
                  </a:lnTo>
                  <a:lnTo>
                    <a:pt x="1023" y="1557"/>
                  </a:lnTo>
                  <a:lnTo>
                    <a:pt x="1025" y="1548"/>
                  </a:lnTo>
                  <a:lnTo>
                    <a:pt x="1026" y="1540"/>
                  </a:lnTo>
                  <a:lnTo>
                    <a:pt x="1029" y="1529"/>
                  </a:lnTo>
                  <a:lnTo>
                    <a:pt x="1031" y="1520"/>
                  </a:lnTo>
                  <a:lnTo>
                    <a:pt x="1041" y="1500"/>
                  </a:lnTo>
                  <a:lnTo>
                    <a:pt x="1051" y="1479"/>
                  </a:lnTo>
                  <a:lnTo>
                    <a:pt x="1062" y="1460"/>
                  </a:lnTo>
                  <a:lnTo>
                    <a:pt x="1074" y="1444"/>
                  </a:lnTo>
                  <a:lnTo>
                    <a:pt x="1081" y="1437"/>
                  </a:lnTo>
                  <a:lnTo>
                    <a:pt x="1086" y="1432"/>
                  </a:lnTo>
                  <a:lnTo>
                    <a:pt x="1091" y="1427"/>
                  </a:lnTo>
                  <a:lnTo>
                    <a:pt x="1095" y="1424"/>
                  </a:lnTo>
                  <a:lnTo>
                    <a:pt x="1113" y="1420"/>
                  </a:lnTo>
                  <a:lnTo>
                    <a:pt x="1137" y="1415"/>
                  </a:lnTo>
                  <a:lnTo>
                    <a:pt x="1149" y="1411"/>
                  </a:lnTo>
                  <a:lnTo>
                    <a:pt x="1158" y="1405"/>
                  </a:lnTo>
                  <a:lnTo>
                    <a:pt x="1162" y="1403"/>
                  </a:lnTo>
                  <a:lnTo>
                    <a:pt x="1166" y="1397"/>
                  </a:lnTo>
                  <a:lnTo>
                    <a:pt x="1167" y="1393"/>
                  </a:lnTo>
                  <a:lnTo>
                    <a:pt x="1169" y="1388"/>
                  </a:lnTo>
                  <a:lnTo>
                    <a:pt x="1167" y="1381"/>
                  </a:lnTo>
                  <a:lnTo>
                    <a:pt x="1166" y="1376"/>
                  </a:lnTo>
                  <a:lnTo>
                    <a:pt x="1162" y="1371"/>
                  </a:lnTo>
                  <a:lnTo>
                    <a:pt x="1159" y="1367"/>
                  </a:lnTo>
                  <a:lnTo>
                    <a:pt x="1155" y="1361"/>
                  </a:lnTo>
                  <a:lnTo>
                    <a:pt x="1153" y="1355"/>
                  </a:lnTo>
                  <a:lnTo>
                    <a:pt x="1151" y="1348"/>
                  </a:lnTo>
                  <a:lnTo>
                    <a:pt x="1150" y="1340"/>
                  </a:lnTo>
                  <a:lnTo>
                    <a:pt x="1151" y="1323"/>
                  </a:lnTo>
                  <a:lnTo>
                    <a:pt x="1155" y="1308"/>
                  </a:lnTo>
                  <a:lnTo>
                    <a:pt x="1159" y="1295"/>
                  </a:lnTo>
                  <a:lnTo>
                    <a:pt x="1165" y="1282"/>
                  </a:lnTo>
                  <a:lnTo>
                    <a:pt x="1171" y="1268"/>
                  </a:lnTo>
                  <a:lnTo>
                    <a:pt x="1175" y="1255"/>
                  </a:lnTo>
                  <a:lnTo>
                    <a:pt x="1179" y="1239"/>
                  </a:lnTo>
                  <a:lnTo>
                    <a:pt x="1181" y="1219"/>
                  </a:lnTo>
                  <a:lnTo>
                    <a:pt x="1179" y="1207"/>
                  </a:lnTo>
                  <a:lnTo>
                    <a:pt x="1178" y="1196"/>
                  </a:lnTo>
                  <a:lnTo>
                    <a:pt x="1177" y="1186"/>
                  </a:lnTo>
                  <a:lnTo>
                    <a:pt x="1174" y="1176"/>
                  </a:lnTo>
                  <a:lnTo>
                    <a:pt x="1167" y="1158"/>
                  </a:lnTo>
                  <a:lnTo>
                    <a:pt x="1159" y="1142"/>
                  </a:lnTo>
                  <a:lnTo>
                    <a:pt x="1151" y="1126"/>
                  </a:lnTo>
                  <a:lnTo>
                    <a:pt x="1145" y="1111"/>
                  </a:lnTo>
                  <a:lnTo>
                    <a:pt x="1142" y="1104"/>
                  </a:lnTo>
                  <a:lnTo>
                    <a:pt x="1139" y="1096"/>
                  </a:lnTo>
                  <a:lnTo>
                    <a:pt x="1138" y="1088"/>
                  </a:lnTo>
                  <a:lnTo>
                    <a:pt x="1138" y="1082"/>
                  </a:lnTo>
                  <a:lnTo>
                    <a:pt x="1137" y="1068"/>
                  </a:lnTo>
                  <a:lnTo>
                    <a:pt x="1134" y="1060"/>
                  </a:lnTo>
                  <a:lnTo>
                    <a:pt x="1133" y="1058"/>
                  </a:lnTo>
                  <a:lnTo>
                    <a:pt x="1133" y="1055"/>
                  </a:lnTo>
                  <a:lnTo>
                    <a:pt x="1134" y="1051"/>
                  </a:lnTo>
                  <a:lnTo>
                    <a:pt x="1138" y="1044"/>
                  </a:lnTo>
                  <a:lnTo>
                    <a:pt x="1167" y="1056"/>
                  </a:lnTo>
                  <a:lnTo>
                    <a:pt x="1194" y="1066"/>
                  </a:lnTo>
                  <a:lnTo>
                    <a:pt x="1221" y="1076"/>
                  </a:lnTo>
                  <a:lnTo>
                    <a:pt x="1246" y="1087"/>
                  </a:lnTo>
                  <a:lnTo>
                    <a:pt x="1271" y="1098"/>
                  </a:lnTo>
                  <a:lnTo>
                    <a:pt x="1296" y="1110"/>
                  </a:lnTo>
                  <a:lnTo>
                    <a:pt x="1322" y="1124"/>
                  </a:lnTo>
                  <a:lnTo>
                    <a:pt x="1348" y="1142"/>
                  </a:lnTo>
                  <a:lnTo>
                    <a:pt x="1366" y="1163"/>
                  </a:lnTo>
                  <a:lnTo>
                    <a:pt x="1376" y="1183"/>
                  </a:lnTo>
                  <a:lnTo>
                    <a:pt x="1380" y="1187"/>
                  </a:lnTo>
                  <a:lnTo>
                    <a:pt x="1383" y="1191"/>
                  </a:lnTo>
                  <a:lnTo>
                    <a:pt x="1388" y="1194"/>
                  </a:lnTo>
                  <a:lnTo>
                    <a:pt x="1394" y="1196"/>
                  </a:lnTo>
                  <a:lnTo>
                    <a:pt x="1400" y="1199"/>
                  </a:lnTo>
                  <a:lnTo>
                    <a:pt x="1407" y="1200"/>
                  </a:lnTo>
                  <a:lnTo>
                    <a:pt x="1416" y="1202"/>
                  </a:lnTo>
                  <a:lnTo>
                    <a:pt x="1427" y="1202"/>
                  </a:lnTo>
                  <a:lnTo>
                    <a:pt x="1440" y="1202"/>
                  </a:lnTo>
                  <a:lnTo>
                    <a:pt x="1452" y="1202"/>
                  </a:lnTo>
                  <a:lnTo>
                    <a:pt x="1467" y="1202"/>
                  </a:lnTo>
                  <a:lnTo>
                    <a:pt x="1487" y="1202"/>
                  </a:lnTo>
                  <a:lnTo>
                    <a:pt x="1488" y="1207"/>
                  </a:lnTo>
                  <a:lnTo>
                    <a:pt x="1490" y="1211"/>
                  </a:lnTo>
                  <a:lnTo>
                    <a:pt x="1491" y="1216"/>
                  </a:lnTo>
                  <a:lnTo>
                    <a:pt x="1495" y="1222"/>
                  </a:lnTo>
                  <a:lnTo>
                    <a:pt x="1499" y="1226"/>
                  </a:lnTo>
                  <a:lnTo>
                    <a:pt x="1503" y="1228"/>
                  </a:lnTo>
                  <a:lnTo>
                    <a:pt x="1507" y="1231"/>
                  </a:lnTo>
                  <a:lnTo>
                    <a:pt x="1511" y="1232"/>
                  </a:lnTo>
                  <a:lnTo>
                    <a:pt x="1516" y="1231"/>
                  </a:lnTo>
                  <a:lnTo>
                    <a:pt x="1520" y="1230"/>
                  </a:lnTo>
                  <a:lnTo>
                    <a:pt x="1524" y="1227"/>
                  </a:lnTo>
                  <a:lnTo>
                    <a:pt x="1528" y="1224"/>
                  </a:lnTo>
                  <a:lnTo>
                    <a:pt x="1536" y="1216"/>
                  </a:lnTo>
                  <a:lnTo>
                    <a:pt x="1542" y="1207"/>
                  </a:lnTo>
                  <a:lnTo>
                    <a:pt x="1556" y="1228"/>
                  </a:lnTo>
                  <a:lnTo>
                    <a:pt x="1568" y="1250"/>
                  </a:lnTo>
                  <a:lnTo>
                    <a:pt x="1572" y="1255"/>
                  </a:lnTo>
                  <a:lnTo>
                    <a:pt x="1576" y="1259"/>
                  </a:lnTo>
                  <a:lnTo>
                    <a:pt x="1580" y="1263"/>
                  </a:lnTo>
                  <a:lnTo>
                    <a:pt x="1586" y="1267"/>
                  </a:lnTo>
                  <a:lnTo>
                    <a:pt x="1591" y="1270"/>
                  </a:lnTo>
                  <a:lnTo>
                    <a:pt x="1598" y="1272"/>
                  </a:lnTo>
                  <a:lnTo>
                    <a:pt x="1606" y="1274"/>
                  </a:lnTo>
                  <a:lnTo>
                    <a:pt x="1614" y="1274"/>
                  </a:lnTo>
                  <a:lnTo>
                    <a:pt x="1620" y="1274"/>
                  </a:lnTo>
                  <a:lnTo>
                    <a:pt x="1626" y="1271"/>
                  </a:lnTo>
                  <a:lnTo>
                    <a:pt x="1631" y="1268"/>
                  </a:lnTo>
                  <a:lnTo>
                    <a:pt x="1635" y="1264"/>
                  </a:lnTo>
                  <a:lnTo>
                    <a:pt x="1639" y="1258"/>
                  </a:lnTo>
                  <a:lnTo>
                    <a:pt x="1642" y="1251"/>
                  </a:lnTo>
                  <a:lnTo>
                    <a:pt x="1643" y="1242"/>
                  </a:lnTo>
                  <a:lnTo>
                    <a:pt x="1644" y="1232"/>
                  </a:lnTo>
                  <a:lnTo>
                    <a:pt x="1644" y="1199"/>
                  </a:lnTo>
                  <a:lnTo>
                    <a:pt x="1644" y="1164"/>
                  </a:lnTo>
                  <a:lnTo>
                    <a:pt x="1643" y="1146"/>
                  </a:lnTo>
                  <a:lnTo>
                    <a:pt x="1642" y="1127"/>
                  </a:lnTo>
                  <a:lnTo>
                    <a:pt x="1638" y="1107"/>
                  </a:lnTo>
                  <a:lnTo>
                    <a:pt x="1632" y="1087"/>
                  </a:lnTo>
                  <a:lnTo>
                    <a:pt x="1630" y="1082"/>
                  </a:lnTo>
                  <a:lnTo>
                    <a:pt x="1628" y="1078"/>
                  </a:lnTo>
                  <a:lnTo>
                    <a:pt x="1626" y="1075"/>
                  </a:lnTo>
                  <a:lnTo>
                    <a:pt x="1623" y="1072"/>
                  </a:lnTo>
                  <a:lnTo>
                    <a:pt x="1616" y="1070"/>
                  </a:lnTo>
                  <a:lnTo>
                    <a:pt x="1608" y="1067"/>
                  </a:lnTo>
                  <a:lnTo>
                    <a:pt x="1602" y="1063"/>
                  </a:lnTo>
                  <a:lnTo>
                    <a:pt x="1595" y="1058"/>
                  </a:lnTo>
                  <a:lnTo>
                    <a:pt x="1592" y="1054"/>
                  </a:lnTo>
                  <a:lnTo>
                    <a:pt x="1591" y="1048"/>
                  </a:lnTo>
                  <a:lnTo>
                    <a:pt x="1590" y="1042"/>
                  </a:lnTo>
                  <a:lnTo>
                    <a:pt x="1590" y="1032"/>
                  </a:lnTo>
                  <a:lnTo>
                    <a:pt x="1591" y="1019"/>
                  </a:lnTo>
                  <a:lnTo>
                    <a:pt x="1594" y="1006"/>
                  </a:lnTo>
                  <a:lnTo>
                    <a:pt x="1598" y="994"/>
                  </a:lnTo>
                  <a:lnTo>
                    <a:pt x="1604" y="982"/>
                  </a:lnTo>
                  <a:lnTo>
                    <a:pt x="1611" y="971"/>
                  </a:lnTo>
                  <a:lnTo>
                    <a:pt x="1620" y="960"/>
                  </a:lnTo>
                  <a:lnTo>
                    <a:pt x="1628" y="950"/>
                  </a:lnTo>
                  <a:lnTo>
                    <a:pt x="1639" y="939"/>
                  </a:lnTo>
                  <a:lnTo>
                    <a:pt x="1659" y="919"/>
                  </a:lnTo>
                  <a:lnTo>
                    <a:pt x="1679" y="898"/>
                  </a:lnTo>
                  <a:lnTo>
                    <a:pt x="1688" y="886"/>
                  </a:lnTo>
                  <a:lnTo>
                    <a:pt x="1696" y="874"/>
                  </a:lnTo>
                  <a:lnTo>
                    <a:pt x="1704" y="860"/>
                  </a:lnTo>
                  <a:lnTo>
                    <a:pt x="1710" y="846"/>
                  </a:lnTo>
                  <a:lnTo>
                    <a:pt x="1704" y="84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8" name="Freeform 94"/>
            <p:cNvSpPr>
              <a:spLocks/>
            </p:cNvSpPr>
            <p:nvPr/>
          </p:nvSpPr>
          <p:spPr bwMode="auto">
            <a:xfrm>
              <a:off x="7512372" y="2051050"/>
              <a:ext cx="1150938" cy="1679575"/>
            </a:xfrm>
            <a:custGeom>
              <a:avLst/>
              <a:gdLst/>
              <a:ahLst/>
              <a:cxnLst>
                <a:cxn ang="0">
                  <a:pos x="1634" y="3110"/>
                </a:cxn>
                <a:cxn ang="0">
                  <a:pos x="2372" y="3406"/>
                </a:cxn>
                <a:cxn ang="0">
                  <a:pos x="2278" y="3050"/>
                </a:cxn>
                <a:cxn ang="0">
                  <a:pos x="2149" y="2965"/>
                </a:cxn>
                <a:cxn ang="0">
                  <a:pos x="2131" y="2827"/>
                </a:cxn>
                <a:cxn ang="0">
                  <a:pos x="2222" y="2741"/>
                </a:cxn>
                <a:cxn ang="0">
                  <a:pos x="2091" y="2675"/>
                </a:cxn>
                <a:cxn ang="0">
                  <a:pos x="1978" y="2481"/>
                </a:cxn>
                <a:cxn ang="0">
                  <a:pos x="2045" y="2344"/>
                </a:cxn>
                <a:cxn ang="0">
                  <a:pos x="2001" y="2238"/>
                </a:cxn>
                <a:cxn ang="0">
                  <a:pos x="1746" y="2026"/>
                </a:cxn>
                <a:cxn ang="0">
                  <a:pos x="1775" y="1995"/>
                </a:cxn>
                <a:cxn ang="0">
                  <a:pos x="1841" y="1958"/>
                </a:cxn>
                <a:cxn ang="0">
                  <a:pos x="1658" y="1880"/>
                </a:cxn>
                <a:cxn ang="0">
                  <a:pos x="1538" y="1824"/>
                </a:cxn>
                <a:cxn ang="0">
                  <a:pos x="1497" y="1717"/>
                </a:cxn>
                <a:cxn ang="0">
                  <a:pos x="1418" y="1758"/>
                </a:cxn>
                <a:cxn ang="0">
                  <a:pos x="1429" y="1862"/>
                </a:cxn>
                <a:cxn ang="0">
                  <a:pos x="1326" y="1803"/>
                </a:cxn>
                <a:cxn ang="0">
                  <a:pos x="1058" y="1407"/>
                </a:cxn>
                <a:cxn ang="0">
                  <a:pos x="1088" y="1309"/>
                </a:cxn>
                <a:cxn ang="0">
                  <a:pos x="1133" y="1239"/>
                </a:cxn>
                <a:cxn ang="0">
                  <a:pos x="1114" y="1054"/>
                </a:cxn>
                <a:cxn ang="0">
                  <a:pos x="1220" y="1150"/>
                </a:cxn>
                <a:cxn ang="0">
                  <a:pos x="1218" y="1081"/>
                </a:cxn>
                <a:cxn ang="0">
                  <a:pos x="1146" y="886"/>
                </a:cxn>
                <a:cxn ang="0">
                  <a:pos x="1250" y="714"/>
                </a:cxn>
                <a:cxn ang="0">
                  <a:pos x="1414" y="686"/>
                </a:cxn>
                <a:cxn ang="0">
                  <a:pos x="1282" y="400"/>
                </a:cxn>
                <a:cxn ang="0">
                  <a:pos x="1114" y="15"/>
                </a:cxn>
                <a:cxn ang="0">
                  <a:pos x="1016" y="12"/>
                </a:cxn>
                <a:cxn ang="0">
                  <a:pos x="948" y="249"/>
                </a:cxn>
                <a:cxn ang="0">
                  <a:pos x="933" y="396"/>
                </a:cxn>
                <a:cxn ang="0">
                  <a:pos x="760" y="447"/>
                </a:cxn>
                <a:cxn ang="0">
                  <a:pos x="635" y="511"/>
                </a:cxn>
                <a:cxn ang="0">
                  <a:pos x="579" y="424"/>
                </a:cxn>
                <a:cxn ang="0">
                  <a:pos x="513" y="341"/>
                </a:cxn>
                <a:cxn ang="0">
                  <a:pos x="347" y="431"/>
                </a:cxn>
                <a:cxn ang="0">
                  <a:pos x="203" y="564"/>
                </a:cxn>
                <a:cxn ang="0">
                  <a:pos x="89" y="704"/>
                </a:cxn>
                <a:cxn ang="0">
                  <a:pos x="20" y="748"/>
                </a:cxn>
                <a:cxn ang="0">
                  <a:pos x="0" y="856"/>
                </a:cxn>
                <a:cxn ang="0">
                  <a:pos x="105" y="882"/>
                </a:cxn>
                <a:cxn ang="0">
                  <a:pos x="127" y="985"/>
                </a:cxn>
                <a:cxn ang="0">
                  <a:pos x="313" y="1136"/>
                </a:cxn>
                <a:cxn ang="0">
                  <a:pos x="469" y="1198"/>
                </a:cxn>
                <a:cxn ang="0">
                  <a:pos x="524" y="1285"/>
                </a:cxn>
                <a:cxn ang="0">
                  <a:pos x="572" y="1299"/>
                </a:cxn>
                <a:cxn ang="0">
                  <a:pos x="629" y="1234"/>
                </a:cxn>
                <a:cxn ang="0">
                  <a:pos x="473" y="1070"/>
                </a:cxn>
                <a:cxn ang="0">
                  <a:pos x="569" y="913"/>
                </a:cxn>
                <a:cxn ang="0">
                  <a:pos x="580" y="1009"/>
                </a:cxn>
                <a:cxn ang="0">
                  <a:pos x="653" y="1156"/>
                </a:cxn>
                <a:cxn ang="0">
                  <a:pos x="829" y="1310"/>
                </a:cxn>
                <a:cxn ang="0">
                  <a:pos x="893" y="1710"/>
                </a:cxn>
                <a:cxn ang="0">
                  <a:pos x="1052" y="2156"/>
                </a:cxn>
                <a:cxn ang="0">
                  <a:pos x="1046" y="2374"/>
                </a:cxn>
                <a:cxn ang="0">
                  <a:pos x="1084" y="2479"/>
                </a:cxn>
                <a:cxn ang="0">
                  <a:pos x="1166" y="2631"/>
                </a:cxn>
                <a:cxn ang="0">
                  <a:pos x="1262" y="2811"/>
                </a:cxn>
              </a:cxnLst>
              <a:rect l="0" t="0" r="r" b="b"/>
              <a:pathLst>
                <a:path w="2375" h="3468">
                  <a:moveTo>
                    <a:pt x="1316" y="2865"/>
                  </a:moveTo>
                  <a:lnTo>
                    <a:pt x="1324" y="2875"/>
                  </a:lnTo>
                  <a:lnTo>
                    <a:pt x="1348" y="2897"/>
                  </a:lnTo>
                  <a:lnTo>
                    <a:pt x="1385" y="2932"/>
                  </a:lnTo>
                  <a:lnTo>
                    <a:pt x="1433" y="2973"/>
                  </a:lnTo>
                  <a:lnTo>
                    <a:pt x="1462" y="2996"/>
                  </a:lnTo>
                  <a:lnTo>
                    <a:pt x="1493" y="3020"/>
                  </a:lnTo>
                  <a:lnTo>
                    <a:pt x="1525" y="3042"/>
                  </a:lnTo>
                  <a:lnTo>
                    <a:pt x="1560" y="3066"/>
                  </a:lnTo>
                  <a:lnTo>
                    <a:pt x="1597" y="3089"/>
                  </a:lnTo>
                  <a:lnTo>
                    <a:pt x="1634" y="3110"/>
                  </a:lnTo>
                  <a:lnTo>
                    <a:pt x="1673" y="3130"/>
                  </a:lnTo>
                  <a:lnTo>
                    <a:pt x="1713" y="3149"/>
                  </a:lnTo>
                  <a:lnTo>
                    <a:pt x="1783" y="3180"/>
                  </a:lnTo>
                  <a:lnTo>
                    <a:pt x="1862" y="3217"/>
                  </a:lnTo>
                  <a:lnTo>
                    <a:pt x="1950" y="3260"/>
                  </a:lnTo>
                  <a:lnTo>
                    <a:pt x="2041" y="3304"/>
                  </a:lnTo>
                  <a:lnTo>
                    <a:pt x="2131" y="3349"/>
                  </a:lnTo>
                  <a:lnTo>
                    <a:pt x="2219" y="3393"/>
                  </a:lnTo>
                  <a:lnTo>
                    <a:pt x="2302" y="3433"/>
                  </a:lnTo>
                  <a:lnTo>
                    <a:pt x="2375" y="3468"/>
                  </a:lnTo>
                  <a:lnTo>
                    <a:pt x="2372" y="3406"/>
                  </a:lnTo>
                  <a:lnTo>
                    <a:pt x="2367" y="3350"/>
                  </a:lnTo>
                  <a:lnTo>
                    <a:pt x="2359" y="3297"/>
                  </a:lnTo>
                  <a:lnTo>
                    <a:pt x="2350" y="3248"/>
                  </a:lnTo>
                  <a:lnTo>
                    <a:pt x="2343" y="3225"/>
                  </a:lnTo>
                  <a:lnTo>
                    <a:pt x="2338" y="3202"/>
                  </a:lnTo>
                  <a:lnTo>
                    <a:pt x="2331" y="3181"/>
                  </a:lnTo>
                  <a:lnTo>
                    <a:pt x="2325" y="3160"/>
                  </a:lnTo>
                  <a:lnTo>
                    <a:pt x="2309" y="3120"/>
                  </a:lnTo>
                  <a:lnTo>
                    <a:pt x="2291" y="3082"/>
                  </a:lnTo>
                  <a:lnTo>
                    <a:pt x="2285" y="3065"/>
                  </a:lnTo>
                  <a:lnTo>
                    <a:pt x="2278" y="3050"/>
                  </a:lnTo>
                  <a:lnTo>
                    <a:pt x="2270" y="3040"/>
                  </a:lnTo>
                  <a:lnTo>
                    <a:pt x="2263" y="3032"/>
                  </a:lnTo>
                  <a:lnTo>
                    <a:pt x="2255" y="3025"/>
                  </a:lnTo>
                  <a:lnTo>
                    <a:pt x="2247" y="3020"/>
                  </a:lnTo>
                  <a:lnTo>
                    <a:pt x="2238" y="3016"/>
                  </a:lnTo>
                  <a:lnTo>
                    <a:pt x="2229" y="3012"/>
                  </a:lnTo>
                  <a:lnTo>
                    <a:pt x="2210" y="3005"/>
                  </a:lnTo>
                  <a:lnTo>
                    <a:pt x="2187" y="2994"/>
                  </a:lnTo>
                  <a:lnTo>
                    <a:pt x="2175" y="2986"/>
                  </a:lnTo>
                  <a:lnTo>
                    <a:pt x="2163" y="2977"/>
                  </a:lnTo>
                  <a:lnTo>
                    <a:pt x="2149" y="2965"/>
                  </a:lnTo>
                  <a:lnTo>
                    <a:pt x="2135" y="2951"/>
                  </a:lnTo>
                  <a:lnTo>
                    <a:pt x="2130" y="2943"/>
                  </a:lnTo>
                  <a:lnTo>
                    <a:pt x="2126" y="2933"/>
                  </a:lnTo>
                  <a:lnTo>
                    <a:pt x="2123" y="2921"/>
                  </a:lnTo>
                  <a:lnTo>
                    <a:pt x="2122" y="2909"/>
                  </a:lnTo>
                  <a:lnTo>
                    <a:pt x="2122" y="2896"/>
                  </a:lnTo>
                  <a:lnTo>
                    <a:pt x="2122" y="2883"/>
                  </a:lnTo>
                  <a:lnTo>
                    <a:pt x="2123" y="2868"/>
                  </a:lnTo>
                  <a:lnTo>
                    <a:pt x="2125" y="2853"/>
                  </a:lnTo>
                  <a:lnTo>
                    <a:pt x="2129" y="2840"/>
                  </a:lnTo>
                  <a:lnTo>
                    <a:pt x="2131" y="2827"/>
                  </a:lnTo>
                  <a:lnTo>
                    <a:pt x="2137" y="2815"/>
                  </a:lnTo>
                  <a:lnTo>
                    <a:pt x="2141" y="2803"/>
                  </a:lnTo>
                  <a:lnTo>
                    <a:pt x="2146" y="2793"/>
                  </a:lnTo>
                  <a:lnTo>
                    <a:pt x="2153" y="2785"/>
                  </a:lnTo>
                  <a:lnTo>
                    <a:pt x="2158" y="2779"/>
                  </a:lnTo>
                  <a:lnTo>
                    <a:pt x="2165" y="2776"/>
                  </a:lnTo>
                  <a:lnTo>
                    <a:pt x="2194" y="2763"/>
                  </a:lnTo>
                  <a:lnTo>
                    <a:pt x="2211" y="2753"/>
                  </a:lnTo>
                  <a:lnTo>
                    <a:pt x="2217" y="2749"/>
                  </a:lnTo>
                  <a:lnTo>
                    <a:pt x="2221" y="2745"/>
                  </a:lnTo>
                  <a:lnTo>
                    <a:pt x="2222" y="2741"/>
                  </a:lnTo>
                  <a:lnTo>
                    <a:pt x="2222" y="2739"/>
                  </a:lnTo>
                  <a:lnTo>
                    <a:pt x="2219" y="2736"/>
                  </a:lnTo>
                  <a:lnTo>
                    <a:pt x="2215" y="2732"/>
                  </a:lnTo>
                  <a:lnTo>
                    <a:pt x="2210" y="2729"/>
                  </a:lnTo>
                  <a:lnTo>
                    <a:pt x="2203" y="2727"/>
                  </a:lnTo>
                  <a:lnTo>
                    <a:pt x="2186" y="2720"/>
                  </a:lnTo>
                  <a:lnTo>
                    <a:pt x="2166" y="2712"/>
                  </a:lnTo>
                  <a:lnTo>
                    <a:pt x="2142" y="2701"/>
                  </a:lnTo>
                  <a:lnTo>
                    <a:pt x="2117" y="2689"/>
                  </a:lnTo>
                  <a:lnTo>
                    <a:pt x="2105" y="2683"/>
                  </a:lnTo>
                  <a:lnTo>
                    <a:pt x="2091" y="2675"/>
                  </a:lnTo>
                  <a:lnTo>
                    <a:pt x="2078" y="2665"/>
                  </a:lnTo>
                  <a:lnTo>
                    <a:pt x="2066" y="2656"/>
                  </a:lnTo>
                  <a:lnTo>
                    <a:pt x="2054" y="2645"/>
                  </a:lnTo>
                  <a:lnTo>
                    <a:pt x="2042" y="2633"/>
                  </a:lnTo>
                  <a:lnTo>
                    <a:pt x="2031" y="2620"/>
                  </a:lnTo>
                  <a:lnTo>
                    <a:pt x="2021" y="2605"/>
                  </a:lnTo>
                  <a:lnTo>
                    <a:pt x="2011" y="2591"/>
                  </a:lnTo>
                  <a:lnTo>
                    <a:pt x="2003" y="2573"/>
                  </a:lnTo>
                  <a:lnTo>
                    <a:pt x="1997" y="2555"/>
                  </a:lnTo>
                  <a:lnTo>
                    <a:pt x="1990" y="2535"/>
                  </a:lnTo>
                  <a:lnTo>
                    <a:pt x="1978" y="2481"/>
                  </a:lnTo>
                  <a:lnTo>
                    <a:pt x="1971" y="2451"/>
                  </a:lnTo>
                  <a:lnTo>
                    <a:pt x="1970" y="2444"/>
                  </a:lnTo>
                  <a:lnTo>
                    <a:pt x="1971" y="2439"/>
                  </a:lnTo>
                  <a:lnTo>
                    <a:pt x="1973" y="2433"/>
                  </a:lnTo>
                  <a:lnTo>
                    <a:pt x="1975" y="2428"/>
                  </a:lnTo>
                  <a:lnTo>
                    <a:pt x="1983" y="2416"/>
                  </a:lnTo>
                  <a:lnTo>
                    <a:pt x="1997" y="2401"/>
                  </a:lnTo>
                  <a:lnTo>
                    <a:pt x="2013" y="2387"/>
                  </a:lnTo>
                  <a:lnTo>
                    <a:pt x="2026" y="2371"/>
                  </a:lnTo>
                  <a:lnTo>
                    <a:pt x="2037" y="2358"/>
                  </a:lnTo>
                  <a:lnTo>
                    <a:pt x="2045" y="2344"/>
                  </a:lnTo>
                  <a:lnTo>
                    <a:pt x="2051" y="2331"/>
                  </a:lnTo>
                  <a:lnTo>
                    <a:pt x="2054" y="2319"/>
                  </a:lnTo>
                  <a:lnTo>
                    <a:pt x="2055" y="2308"/>
                  </a:lnTo>
                  <a:lnTo>
                    <a:pt x="2054" y="2298"/>
                  </a:lnTo>
                  <a:lnTo>
                    <a:pt x="2050" y="2287"/>
                  </a:lnTo>
                  <a:lnTo>
                    <a:pt x="2046" y="2278"/>
                  </a:lnTo>
                  <a:lnTo>
                    <a:pt x="2039" y="2268"/>
                  </a:lnTo>
                  <a:lnTo>
                    <a:pt x="2031" y="2260"/>
                  </a:lnTo>
                  <a:lnTo>
                    <a:pt x="2022" y="2252"/>
                  </a:lnTo>
                  <a:lnTo>
                    <a:pt x="2011" y="2244"/>
                  </a:lnTo>
                  <a:lnTo>
                    <a:pt x="2001" y="2238"/>
                  </a:lnTo>
                  <a:lnTo>
                    <a:pt x="1989" y="2231"/>
                  </a:lnTo>
                  <a:lnTo>
                    <a:pt x="1934" y="2206"/>
                  </a:lnTo>
                  <a:lnTo>
                    <a:pt x="1879" y="2182"/>
                  </a:lnTo>
                  <a:lnTo>
                    <a:pt x="1854" y="2170"/>
                  </a:lnTo>
                  <a:lnTo>
                    <a:pt x="1831" y="2158"/>
                  </a:lnTo>
                  <a:lnTo>
                    <a:pt x="1823" y="2152"/>
                  </a:lnTo>
                  <a:lnTo>
                    <a:pt x="1815" y="2146"/>
                  </a:lnTo>
                  <a:lnTo>
                    <a:pt x="1809" y="2139"/>
                  </a:lnTo>
                  <a:lnTo>
                    <a:pt x="1803" y="2131"/>
                  </a:lnTo>
                  <a:lnTo>
                    <a:pt x="1770" y="2070"/>
                  </a:lnTo>
                  <a:lnTo>
                    <a:pt x="1746" y="2026"/>
                  </a:lnTo>
                  <a:lnTo>
                    <a:pt x="1738" y="2010"/>
                  </a:lnTo>
                  <a:lnTo>
                    <a:pt x="1733" y="1996"/>
                  </a:lnTo>
                  <a:lnTo>
                    <a:pt x="1729" y="1986"/>
                  </a:lnTo>
                  <a:lnTo>
                    <a:pt x="1727" y="1978"/>
                  </a:lnTo>
                  <a:lnTo>
                    <a:pt x="1727" y="1972"/>
                  </a:lnTo>
                  <a:lnTo>
                    <a:pt x="1729" y="1970"/>
                  </a:lnTo>
                  <a:lnTo>
                    <a:pt x="1731" y="1970"/>
                  </a:lnTo>
                  <a:lnTo>
                    <a:pt x="1735" y="1970"/>
                  </a:lnTo>
                  <a:lnTo>
                    <a:pt x="1746" y="1975"/>
                  </a:lnTo>
                  <a:lnTo>
                    <a:pt x="1759" y="1984"/>
                  </a:lnTo>
                  <a:lnTo>
                    <a:pt x="1775" y="1995"/>
                  </a:lnTo>
                  <a:lnTo>
                    <a:pt x="1793" y="2003"/>
                  </a:lnTo>
                  <a:lnTo>
                    <a:pt x="1801" y="2007"/>
                  </a:lnTo>
                  <a:lnTo>
                    <a:pt x="1809" y="2010"/>
                  </a:lnTo>
                  <a:lnTo>
                    <a:pt x="1815" y="2011"/>
                  </a:lnTo>
                  <a:lnTo>
                    <a:pt x="1822" y="2010"/>
                  </a:lnTo>
                  <a:lnTo>
                    <a:pt x="1829" y="2007"/>
                  </a:lnTo>
                  <a:lnTo>
                    <a:pt x="1833" y="2003"/>
                  </a:lnTo>
                  <a:lnTo>
                    <a:pt x="1837" y="1996"/>
                  </a:lnTo>
                  <a:lnTo>
                    <a:pt x="1839" y="1986"/>
                  </a:lnTo>
                  <a:lnTo>
                    <a:pt x="1841" y="1974"/>
                  </a:lnTo>
                  <a:lnTo>
                    <a:pt x="1841" y="1958"/>
                  </a:lnTo>
                  <a:lnTo>
                    <a:pt x="1838" y="1938"/>
                  </a:lnTo>
                  <a:lnTo>
                    <a:pt x="1834" y="1914"/>
                  </a:lnTo>
                  <a:lnTo>
                    <a:pt x="1822" y="1906"/>
                  </a:lnTo>
                  <a:lnTo>
                    <a:pt x="1809" y="1898"/>
                  </a:lnTo>
                  <a:lnTo>
                    <a:pt x="1794" y="1891"/>
                  </a:lnTo>
                  <a:lnTo>
                    <a:pt x="1777" y="1886"/>
                  </a:lnTo>
                  <a:lnTo>
                    <a:pt x="1757" y="1882"/>
                  </a:lnTo>
                  <a:lnTo>
                    <a:pt x="1735" y="1880"/>
                  </a:lnTo>
                  <a:lnTo>
                    <a:pt x="1711" y="1882"/>
                  </a:lnTo>
                  <a:lnTo>
                    <a:pt x="1683" y="1884"/>
                  </a:lnTo>
                  <a:lnTo>
                    <a:pt x="1658" y="1880"/>
                  </a:lnTo>
                  <a:lnTo>
                    <a:pt x="1634" y="1875"/>
                  </a:lnTo>
                  <a:lnTo>
                    <a:pt x="1614" y="1871"/>
                  </a:lnTo>
                  <a:lnTo>
                    <a:pt x="1595" y="1866"/>
                  </a:lnTo>
                  <a:lnTo>
                    <a:pt x="1578" y="1859"/>
                  </a:lnTo>
                  <a:lnTo>
                    <a:pt x="1564" y="1850"/>
                  </a:lnTo>
                  <a:lnTo>
                    <a:pt x="1557" y="1844"/>
                  </a:lnTo>
                  <a:lnTo>
                    <a:pt x="1550" y="1838"/>
                  </a:lnTo>
                  <a:lnTo>
                    <a:pt x="1545" y="1831"/>
                  </a:lnTo>
                  <a:lnTo>
                    <a:pt x="1538" y="1824"/>
                  </a:lnTo>
                  <a:lnTo>
                    <a:pt x="1545" y="1830"/>
                  </a:lnTo>
                  <a:lnTo>
                    <a:pt x="1538" y="1824"/>
                  </a:lnTo>
                  <a:lnTo>
                    <a:pt x="1534" y="1816"/>
                  </a:lnTo>
                  <a:lnTo>
                    <a:pt x="1530" y="1808"/>
                  </a:lnTo>
                  <a:lnTo>
                    <a:pt x="1526" y="1798"/>
                  </a:lnTo>
                  <a:lnTo>
                    <a:pt x="1521" y="1787"/>
                  </a:lnTo>
                  <a:lnTo>
                    <a:pt x="1518" y="1775"/>
                  </a:lnTo>
                  <a:lnTo>
                    <a:pt x="1514" y="1761"/>
                  </a:lnTo>
                  <a:lnTo>
                    <a:pt x="1512" y="1745"/>
                  </a:lnTo>
                  <a:lnTo>
                    <a:pt x="1509" y="1727"/>
                  </a:lnTo>
                  <a:lnTo>
                    <a:pt x="1506" y="1726"/>
                  </a:lnTo>
                  <a:lnTo>
                    <a:pt x="1501" y="1719"/>
                  </a:lnTo>
                  <a:lnTo>
                    <a:pt x="1497" y="1717"/>
                  </a:lnTo>
                  <a:lnTo>
                    <a:pt x="1493" y="1714"/>
                  </a:lnTo>
                  <a:lnTo>
                    <a:pt x="1488" y="1711"/>
                  </a:lnTo>
                  <a:lnTo>
                    <a:pt x="1482" y="1709"/>
                  </a:lnTo>
                  <a:lnTo>
                    <a:pt x="1476" y="1709"/>
                  </a:lnTo>
                  <a:lnTo>
                    <a:pt x="1468" y="1709"/>
                  </a:lnTo>
                  <a:lnTo>
                    <a:pt x="1461" y="1711"/>
                  </a:lnTo>
                  <a:lnTo>
                    <a:pt x="1453" y="1715"/>
                  </a:lnTo>
                  <a:lnTo>
                    <a:pt x="1445" y="1722"/>
                  </a:lnTo>
                  <a:lnTo>
                    <a:pt x="1436" y="1731"/>
                  </a:lnTo>
                  <a:lnTo>
                    <a:pt x="1428" y="1743"/>
                  </a:lnTo>
                  <a:lnTo>
                    <a:pt x="1418" y="1758"/>
                  </a:lnTo>
                  <a:lnTo>
                    <a:pt x="1416" y="1765"/>
                  </a:lnTo>
                  <a:lnTo>
                    <a:pt x="1414" y="1771"/>
                  </a:lnTo>
                  <a:lnTo>
                    <a:pt x="1414" y="1781"/>
                  </a:lnTo>
                  <a:lnTo>
                    <a:pt x="1417" y="1790"/>
                  </a:lnTo>
                  <a:lnTo>
                    <a:pt x="1422" y="1808"/>
                  </a:lnTo>
                  <a:lnTo>
                    <a:pt x="1429" y="1828"/>
                  </a:lnTo>
                  <a:lnTo>
                    <a:pt x="1432" y="1836"/>
                  </a:lnTo>
                  <a:lnTo>
                    <a:pt x="1433" y="1846"/>
                  </a:lnTo>
                  <a:lnTo>
                    <a:pt x="1433" y="1852"/>
                  </a:lnTo>
                  <a:lnTo>
                    <a:pt x="1430" y="1859"/>
                  </a:lnTo>
                  <a:lnTo>
                    <a:pt x="1429" y="1862"/>
                  </a:lnTo>
                  <a:lnTo>
                    <a:pt x="1426" y="1863"/>
                  </a:lnTo>
                  <a:lnTo>
                    <a:pt x="1422" y="1864"/>
                  </a:lnTo>
                  <a:lnTo>
                    <a:pt x="1418" y="1866"/>
                  </a:lnTo>
                  <a:lnTo>
                    <a:pt x="1408" y="1867"/>
                  </a:lnTo>
                  <a:lnTo>
                    <a:pt x="1394" y="1866"/>
                  </a:lnTo>
                  <a:lnTo>
                    <a:pt x="1386" y="1863"/>
                  </a:lnTo>
                  <a:lnTo>
                    <a:pt x="1378" y="1859"/>
                  </a:lnTo>
                  <a:lnTo>
                    <a:pt x="1370" y="1852"/>
                  </a:lnTo>
                  <a:lnTo>
                    <a:pt x="1362" y="1844"/>
                  </a:lnTo>
                  <a:lnTo>
                    <a:pt x="1345" y="1826"/>
                  </a:lnTo>
                  <a:lnTo>
                    <a:pt x="1326" y="1803"/>
                  </a:lnTo>
                  <a:lnTo>
                    <a:pt x="1306" y="1775"/>
                  </a:lnTo>
                  <a:lnTo>
                    <a:pt x="1285" y="1745"/>
                  </a:lnTo>
                  <a:lnTo>
                    <a:pt x="1265" y="1713"/>
                  </a:lnTo>
                  <a:lnTo>
                    <a:pt x="1244" y="1678"/>
                  </a:lnTo>
                  <a:lnTo>
                    <a:pt x="1198" y="1606"/>
                  </a:lnTo>
                  <a:lnTo>
                    <a:pt x="1154" y="1535"/>
                  </a:lnTo>
                  <a:lnTo>
                    <a:pt x="1133" y="1502"/>
                  </a:lnTo>
                  <a:lnTo>
                    <a:pt x="1110" y="1471"/>
                  </a:lnTo>
                  <a:lnTo>
                    <a:pt x="1090" y="1445"/>
                  </a:lnTo>
                  <a:lnTo>
                    <a:pt x="1069" y="1421"/>
                  </a:lnTo>
                  <a:lnTo>
                    <a:pt x="1058" y="1407"/>
                  </a:lnTo>
                  <a:lnTo>
                    <a:pt x="1050" y="1395"/>
                  </a:lnTo>
                  <a:lnTo>
                    <a:pt x="1045" y="1383"/>
                  </a:lnTo>
                  <a:lnTo>
                    <a:pt x="1041" y="1373"/>
                  </a:lnTo>
                  <a:lnTo>
                    <a:pt x="1041" y="1362"/>
                  </a:lnTo>
                  <a:lnTo>
                    <a:pt x="1042" y="1353"/>
                  </a:lnTo>
                  <a:lnTo>
                    <a:pt x="1045" y="1343"/>
                  </a:lnTo>
                  <a:lnTo>
                    <a:pt x="1050" y="1335"/>
                  </a:lnTo>
                  <a:lnTo>
                    <a:pt x="1058" y="1327"/>
                  </a:lnTo>
                  <a:lnTo>
                    <a:pt x="1066" y="1321"/>
                  </a:lnTo>
                  <a:lnTo>
                    <a:pt x="1077" y="1314"/>
                  </a:lnTo>
                  <a:lnTo>
                    <a:pt x="1088" y="1309"/>
                  </a:lnTo>
                  <a:lnTo>
                    <a:pt x="1100" y="1305"/>
                  </a:lnTo>
                  <a:lnTo>
                    <a:pt x="1113" y="1301"/>
                  </a:lnTo>
                  <a:lnTo>
                    <a:pt x="1126" y="1297"/>
                  </a:lnTo>
                  <a:lnTo>
                    <a:pt x="1141" y="1294"/>
                  </a:lnTo>
                  <a:lnTo>
                    <a:pt x="1145" y="1282"/>
                  </a:lnTo>
                  <a:lnTo>
                    <a:pt x="1146" y="1270"/>
                  </a:lnTo>
                  <a:lnTo>
                    <a:pt x="1145" y="1265"/>
                  </a:lnTo>
                  <a:lnTo>
                    <a:pt x="1144" y="1259"/>
                  </a:lnTo>
                  <a:lnTo>
                    <a:pt x="1142" y="1254"/>
                  </a:lnTo>
                  <a:lnTo>
                    <a:pt x="1140" y="1249"/>
                  </a:lnTo>
                  <a:lnTo>
                    <a:pt x="1133" y="1239"/>
                  </a:lnTo>
                  <a:lnTo>
                    <a:pt x="1122" y="1229"/>
                  </a:lnTo>
                  <a:lnTo>
                    <a:pt x="1109" y="1217"/>
                  </a:lnTo>
                  <a:lnTo>
                    <a:pt x="1093" y="1204"/>
                  </a:lnTo>
                  <a:lnTo>
                    <a:pt x="1093" y="1065"/>
                  </a:lnTo>
                  <a:lnTo>
                    <a:pt x="1096" y="1061"/>
                  </a:lnTo>
                  <a:lnTo>
                    <a:pt x="1098" y="1057"/>
                  </a:lnTo>
                  <a:lnTo>
                    <a:pt x="1101" y="1056"/>
                  </a:lnTo>
                  <a:lnTo>
                    <a:pt x="1104" y="1053"/>
                  </a:lnTo>
                  <a:lnTo>
                    <a:pt x="1108" y="1053"/>
                  </a:lnTo>
                  <a:lnTo>
                    <a:pt x="1110" y="1053"/>
                  </a:lnTo>
                  <a:lnTo>
                    <a:pt x="1114" y="1054"/>
                  </a:lnTo>
                  <a:lnTo>
                    <a:pt x="1118" y="1056"/>
                  </a:lnTo>
                  <a:lnTo>
                    <a:pt x="1126" y="1061"/>
                  </a:lnTo>
                  <a:lnTo>
                    <a:pt x="1134" y="1069"/>
                  </a:lnTo>
                  <a:lnTo>
                    <a:pt x="1142" y="1077"/>
                  </a:lnTo>
                  <a:lnTo>
                    <a:pt x="1152" y="1088"/>
                  </a:lnTo>
                  <a:lnTo>
                    <a:pt x="1170" y="1109"/>
                  </a:lnTo>
                  <a:lnTo>
                    <a:pt x="1188" y="1129"/>
                  </a:lnTo>
                  <a:lnTo>
                    <a:pt x="1197" y="1137"/>
                  </a:lnTo>
                  <a:lnTo>
                    <a:pt x="1205" y="1144"/>
                  </a:lnTo>
                  <a:lnTo>
                    <a:pt x="1213" y="1149"/>
                  </a:lnTo>
                  <a:lnTo>
                    <a:pt x="1220" y="1150"/>
                  </a:lnTo>
                  <a:lnTo>
                    <a:pt x="1226" y="1148"/>
                  </a:lnTo>
                  <a:lnTo>
                    <a:pt x="1230" y="1145"/>
                  </a:lnTo>
                  <a:lnTo>
                    <a:pt x="1234" y="1142"/>
                  </a:lnTo>
                  <a:lnTo>
                    <a:pt x="1237" y="1138"/>
                  </a:lnTo>
                  <a:lnTo>
                    <a:pt x="1238" y="1134"/>
                  </a:lnTo>
                  <a:lnTo>
                    <a:pt x="1240" y="1130"/>
                  </a:lnTo>
                  <a:lnTo>
                    <a:pt x="1240" y="1125"/>
                  </a:lnTo>
                  <a:lnTo>
                    <a:pt x="1238" y="1120"/>
                  </a:lnTo>
                  <a:lnTo>
                    <a:pt x="1233" y="1108"/>
                  </a:lnTo>
                  <a:lnTo>
                    <a:pt x="1226" y="1094"/>
                  </a:lnTo>
                  <a:lnTo>
                    <a:pt x="1218" y="1081"/>
                  </a:lnTo>
                  <a:lnTo>
                    <a:pt x="1208" y="1065"/>
                  </a:lnTo>
                  <a:lnTo>
                    <a:pt x="1185" y="1034"/>
                  </a:lnTo>
                  <a:lnTo>
                    <a:pt x="1164" y="1002"/>
                  </a:lnTo>
                  <a:lnTo>
                    <a:pt x="1154" y="988"/>
                  </a:lnTo>
                  <a:lnTo>
                    <a:pt x="1148" y="972"/>
                  </a:lnTo>
                  <a:lnTo>
                    <a:pt x="1145" y="965"/>
                  </a:lnTo>
                  <a:lnTo>
                    <a:pt x="1144" y="958"/>
                  </a:lnTo>
                  <a:lnTo>
                    <a:pt x="1142" y="952"/>
                  </a:lnTo>
                  <a:lnTo>
                    <a:pt x="1141" y="945"/>
                  </a:lnTo>
                  <a:lnTo>
                    <a:pt x="1142" y="914"/>
                  </a:lnTo>
                  <a:lnTo>
                    <a:pt x="1146" y="886"/>
                  </a:lnTo>
                  <a:lnTo>
                    <a:pt x="1150" y="860"/>
                  </a:lnTo>
                  <a:lnTo>
                    <a:pt x="1156" y="837"/>
                  </a:lnTo>
                  <a:lnTo>
                    <a:pt x="1164" y="816"/>
                  </a:lnTo>
                  <a:lnTo>
                    <a:pt x="1172" y="797"/>
                  </a:lnTo>
                  <a:lnTo>
                    <a:pt x="1181" y="780"/>
                  </a:lnTo>
                  <a:lnTo>
                    <a:pt x="1190" y="765"/>
                  </a:lnTo>
                  <a:lnTo>
                    <a:pt x="1201" y="752"/>
                  </a:lnTo>
                  <a:lnTo>
                    <a:pt x="1213" y="740"/>
                  </a:lnTo>
                  <a:lnTo>
                    <a:pt x="1225" y="730"/>
                  </a:lnTo>
                  <a:lnTo>
                    <a:pt x="1238" y="721"/>
                  </a:lnTo>
                  <a:lnTo>
                    <a:pt x="1250" y="714"/>
                  </a:lnTo>
                  <a:lnTo>
                    <a:pt x="1264" y="708"/>
                  </a:lnTo>
                  <a:lnTo>
                    <a:pt x="1277" y="704"/>
                  </a:lnTo>
                  <a:lnTo>
                    <a:pt x="1290" y="700"/>
                  </a:lnTo>
                  <a:lnTo>
                    <a:pt x="1317" y="694"/>
                  </a:lnTo>
                  <a:lnTo>
                    <a:pt x="1341" y="692"/>
                  </a:lnTo>
                  <a:lnTo>
                    <a:pt x="1364" y="692"/>
                  </a:lnTo>
                  <a:lnTo>
                    <a:pt x="1384" y="690"/>
                  </a:lnTo>
                  <a:lnTo>
                    <a:pt x="1400" y="690"/>
                  </a:lnTo>
                  <a:lnTo>
                    <a:pt x="1410" y="689"/>
                  </a:lnTo>
                  <a:lnTo>
                    <a:pt x="1413" y="688"/>
                  </a:lnTo>
                  <a:lnTo>
                    <a:pt x="1414" y="686"/>
                  </a:lnTo>
                  <a:lnTo>
                    <a:pt x="1414" y="684"/>
                  </a:lnTo>
                  <a:lnTo>
                    <a:pt x="1413" y="680"/>
                  </a:lnTo>
                  <a:lnTo>
                    <a:pt x="1400" y="662"/>
                  </a:lnTo>
                  <a:lnTo>
                    <a:pt x="1386" y="641"/>
                  </a:lnTo>
                  <a:lnTo>
                    <a:pt x="1373" y="617"/>
                  </a:lnTo>
                  <a:lnTo>
                    <a:pt x="1358" y="589"/>
                  </a:lnTo>
                  <a:lnTo>
                    <a:pt x="1344" y="557"/>
                  </a:lnTo>
                  <a:lnTo>
                    <a:pt x="1329" y="523"/>
                  </a:lnTo>
                  <a:lnTo>
                    <a:pt x="1313" y="485"/>
                  </a:lnTo>
                  <a:lnTo>
                    <a:pt x="1298" y="444"/>
                  </a:lnTo>
                  <a:lnTo>
                    <a:pt x="1282" y="400"/>
                  </a:lnTo>
                  <a:lnTo>
                    <a:pt x="1266" y="352"/>
                  </a:lnTo>
                  <a:lnTo>
                    <a:pt x="1249" y="301"/>
                  </a:lnTo>
                  <a:lnTo>
                    <a:pt x="1233" y="247"/>
                  </a:lnTo>
                  <a:lnTo>
                    <a:pt x="1216" y="189"/>
                  </a:lnTo>
                  <a:lnTo>
                    <a:pt x="1200" y="129"/>
                  </a:lnTo>
                  <a:lnTo>
                    <a:pt x="1182" y="65"/>
                  </a:lnTo>
                  <a:lnTo>
                    <a:pt x="1165" y="0"/>
                  </a:lnTo>
                  <a:lnTo>
                    <a:pt x="1150" y="2"/>
                  </a:lnTo>
                  <a:lnTo>
                    <a:pt x="1138" y="4"/>
                  </a:lnTo>
                  <a:lnTo>
                    <a:pt x="1126" y="10"/>
                  </a:lnTo>
                  <a:lnTo>
                    <a:pt x="1114" y="15"/>
                  </a:lnTo>
                  <a:lnTo>
                    <a:pt x="1104" y="20"/>
                  </a:lnTo>
                  <a:lnTo>
                    <a:pt x="1093" y="26"/>
                  </a:lnTo>
                  <a:lnTo>
                    <a:pt x="1082" y="28"/>
                  </a:lnTo>
                  <a:lnTo>
                    <a:pt x="1069" y="30"/>
                  </a:lnTo>
                  <a:lnTo>
                    <a:pt x="1061" y="30"/>
                  </a:lnTo>
                  <a:lnTo>
                    <a:pt x="1054" y="28"/>
                  </a:lnTo>
                  <a:lnTo>
                    <a:pt x="1048" y="26"/>
                  </a:lnTo>
                  <a:lnTo>
                    <a:pt x="1042" y="23"/>
                  </a:lnTo>
                  <a:lnTo>
                    <a:pt x="1033" y="15"/>
                  </a:lnTo>
                  <a:lnTo>
                    <a:pt x="1021" y="6"/>
                  </a:lnTo>
                  <a:lnTo>
                    <a:pt x="1016" y="12"/>
                  </a:lnTo>
                  <a:lnTo>
                    <a:pt x="1012" y="20"/>
                  </a:lnTo>
                  <a:lnTo>
                    <a:pt x="1008" y="27"/>
                  </a:lnTo>
                  <a:lnTo>
                    <a:pt x="1005" y="34"/>
                  </a:lnTo>
                  <a:lnTo>
                    <a:pt x="1001" y="49"/>
                  </a:lnTo>
                  <a:lnTo>
                    <a:pt x="1000" y="64"/>
                  </a:lnTo>
                  <a:lnTo>
                    <a:pt x="996" y="97"/>
                  </a:lnTo>
                  <a:lnTo>
                    <a:pt x="990" y="132"/>
                  </a:lnTo>
                  <a:lnTo>
                    <a:pt x="976" y="171"/>
                  </a:lnTo>
                  <a:lnTo>
                    <a:pt x="960" y="209"/>
                  </a:lnTo>
                  <a:lnTo>
                    <a:pt x="953" y="228"/>
                  </a:lnTo>
                  <a:lnTo>
                    <a:pt x="948" y="249"/>
                  </a:lnTo>
                  <a:lnTo>
                    <a:pt x="944" y="271"/>
                  </a:lnTo>
                  <a:lnTo>
                    <a:pt x="942" y="295"/>
                  </a:lnTo>
                  <a:lnTo>
                    <a:pt x="942" y="308"/>
                  </a:lnTo>
                  <a:lnTo>
                    <a:pt x="942" y="320"/>
                  </a:lnTo>
                  <a:lnTo>
                    <a:pt x="942" y="336"/>
                  </a:lnTo>
                  <a:lnTo>
                    <a:pt x="942" y="355"/>
                  </a:lnTo>
                  <a:lnTo>
                    <a:pt x="942" y="365"/>
                  </a:lnTo>
                  <a:lnTo>
                    <a:pt x="941" y="373"/>
                  </a:lnTo>
                  <a:lnTo>
                    <a:pt x="938" y="381"/>
                  </a:lnTo>
                  <a:lnTo>
                    <a:pt x="936" y="389"/>
                  </a:lnTo>
                  <a:lnTo>
                    <a:pt x="933" y="396"/>
                  </a:lnTo>
                  <a:lnTo>
                    <a:pt x="929" y="401"/>
                  </a:lnTo>
                  <a:lnTo>
                    <a:pt x="924" y="407"/>
                  </a:lnTo>
                  <a:lnTo>
                    <a:pt x="918" y="412"/>
                  </a:lnTo>
                  <a:lnTo>
                    <a:pt x="906" y="420"/>
                  </a:lnTo>
                  <a:lnTo>
                    <a:pt x="893" y="425"/>
                  </a:lnTo>
                  <a:lnTo>
                    <a:pt x="878" y="431"/>
                  </a:lnTo>
                  <a:lnTo>
                    <a:pt x="862" y="433"/>
                  </a:lnTo>
                  <a:lnTo>
                    <a:pt x="828" y="437"/>
                  </a:lnTo>
                  <a:lnTo>
                    <a:pt x="793" y="441"/>
                  </a:lnTo>
                  <a:lnTo>
                    <a:pt x="776" y="444"/>
                  </a:lnTo>
                  <a:lnTo>
                    <a:pt x="760" y="447"/>
                  </a:lnTo>
                  <a:lnTo>
                    <a:pt x="745" y="452"/>
                  </a:lnTo>
                  <a:lnTo>
                    <a:pt x="732" y="457"/>
                  </a:lnTo>
                  <a:lnTo>
                    <a:pt x="715" y="471"/>
                  </a:lnTo>
                  <a:lnTo>
                    <a:pt x="692" y="489"/>
                  </a:lnTo>
                  <a:lnTo>
                    <a:pt x="679" y="497"/>
                  </a:lnTo>
                  <a:lnTo>
                    <a:pt x="665" y="505"/>
                  </a:lnTo>
                  <a:lnTo>
                    <a:pt x="660" y="508"/>
                  </a:lnTo>
                  <a:lnTo>
                    <a:pt x="653" y="509"/>
                  </a:lnTo>
                  <a:lnTo>
                    <a:pt x="648" y="511"/>
                  </a:lnTo>
                  <a:lnTo>
                    <a:pt x="641" y="512"/>
                  </a:lnTo>
                  <a:lnTo>
                    <a:pt x="635" y="511"/>
                  </a:lnTo>
                  <a:lnTo>
                    <a:pt x="627" y="509"/>
                  </a:lnTo>
                  <a:lnTo>
                    <a:pt x="621" y="508"/>
                  </a:lnTo>
                  <a:lnTo>
                    <a:pt x="615" y="504"/>
                  </a:lnTo>
                  <a:lnTo>
                    <a:pt x="611" y="500"/>
                  </a:lnTo>
                  <a:lnTo>
                    <a:pt x="605" y="496"/>
                  </a:lnTo>
                  <a:lnTo>
                    <a:pt x="601" y="491"/>
                  </a:lnTo>
                  <a:lnTo>
                    <a:pt x="597" y="484"/>
                  </a:lnTo>
                  <a:lnTo>
                    <a:pt x="591" y="471"/>
                  </a:lnTo>
                  <a:lnTo>
                    <a:pt x="587" y="456"/>
                  </a:lnTo>
                  <a:lnTo>
                    <a:pt x="583" y="440"/>
                  </a:lnTo>
                  <a:lnTo>
                    <a:pt x="579" y="424"/>
                  </a:lnTo>
                  <a:lnTo>
                    <a:pt x="572" y="392"/>
                  </a:lnTo>
                  <a:lnTo>
                    <a:pt x="564" y="364"/>
                  </a:lnTo>
                  <a:lnTo>
                    <a:pt x="559" y="353"/>
                  </a:lnTo>
                  <a:lnTo>
                    <a:pt x="552" y="344"/>
                  </a:lnTo>
                  <a:lnTo>
                    <a:pt x="548" y="341"/>
                  </a:lnTo>
                  <a:lnTo>
                    <a:pt x="544" y="339"/>
                  </a:lnTo>
                  <a:lnTo>
                    <a:pt x="539" y="337"/>
                  </a:lnTo>
                  <a:lnTo>
                    <a:pt x="533" y="337"/>
                  </a:lnTo>
                  <a:lnTo>
                    <a:pt x="525" y="337"/>
                  </a:lnTo>
                  <a:lnTo>
                    <a:pt x="519" y="339"/>
                  </a:lnTo>
                  <a:lnTo>
                    <a:pt x="513" y="341"/>
                  </a:lnTo>
                  <a:lnTo>
                    <a:pt x="508" y="344"/>
                  </a:lnTo>
                  <a:lnTo>
                    <a:pt x="497" y="351"/>
                  </a:lnTo>
                  <a:lnTo>
                    <a:pt x="489" y="360"/>
                  </a:lnTo>
                  <a:lnTo>
                    <a:pt x="481" y="369"/>
                  </a:lnTo>
                  <a:lnTo>
                    <a:pt x="473" y="377"/>
                  </a:lnTo>
                  <a:lnTo>
                    <a:pt x="465" y="385"/>
                  </a:lnTo>
                  <a:lnTo>
                    <a:pt x="455" y="391"/>
                  </a:lnTo>
                  <a:lnTo>
                    <a:pt x="416" y="403"/>
                  </a:lnTo>
                  <a:lnTo>
                    <a:pt x="380" y="416"/>
                  </a:lnTo>
                  <a:lnTo>
                    <a:pt x="363" y="423"/>
                  </a:lnTo>
                  <a:lnTo>
                    <a:pt x="347" y="431"/>
                  </a:lnTo>
                  <a:lnTo>
                    <a:pt x="332" y="439"/>
                  </a:lnTo>
                  <a:lnTo>
                    <a:pt x="316" y="447"/>
                  </a:lnTo>
                  <a:lnTo>
                    <a:pt x="301" y="456"/>
                  </a:lnTo>
                  <a:lnTo>
                    <a:pt x="288" y="467"/>
                  </a:lnTo>
                  <a:lnTo>
                    <a:pt x="275" y="477"/>
                  </a:lnTo>
                  <a:lnTo>
                    <a:pt x="261" y="489"/>
                  </a:lnTo>
                  <a:lnTo>
                    <a:pt x="249" y="503"/>
                  </a:lnTo>
                  <a:lnTo>
                    <a:pt x="237" y="516"/>
                  </a:lnTo>
                  <a:lnTo>
                    <a:pt x="225" y="532"/>
                  </a:lnTo>
                  <a:lnTo>
                    <a:pt x="213" y="548"/>
                  </a:lnTo>
                  <a:lnTo>
                    <a:pt x="203" y="564"/>
                  </a:lnTo>
                  <a:lnTo>
                    <a:pt x="189" y="579"/>
                  </a:lnTo>
                  <a:lnTo>
                    <a:pt x="175" y="592"/>
                  </a:lnTo>
                  <a:lnTo>
                    <a:pt x="160" y="604"/>
                  </a:lnTo>
                  <a:lnTo>
                    <a:pt x="128" y="628"/>
                  </a:lnTo>
                  <a:lnTo>
                    <a:pt x="93" y="656"/>
                  </a:lnTo>
                  <a:lnTo>
                    <a:pt x="91" y="664"/>
                  </a:lnTo>
                  <a:lnTo>
                    <a:pt x="89" y="672"/>
                  </a:lnTo>
                  <a:lnTo>
                    <a:pt x="89" y="680"/>
                  </a:lnTo>
                  <a:lnTo>
                    <a:pt x="89" y="688"/>
                  </a:lnTo>
                  <a:lnTo>
                    <a:pt x="91" y="697"/>
                  </a:lnTo>
                  <a:lnTo>
                    <a:pt x="89" y="704"/>
                  </a:lnTo>
                  <a:lnTo>
                    <a:pt x="88" y="708"/>
                  </a:lnTo>
                  <a:lnTo>
                    <a:pt x="87" y="710"/>
                  </a:lnTo>
                  <a:lnTo>
                    <a:pt x="84" y="714"/>
                  </a:lnTo>
                  <a:lnTo>
                    <a:pt x="81" y="716"/>
                  </a:lnTo>
                  <a:lnTo>
                    <a:pt x="72" y="722"/>
                  </a:lnTo>
                  <a:lnTo>
                    <a:pt x="64" y="726"/>
                  </a:lnTo>
                  <a:lnTo>
                    <a:pt x="56" y="730"/>
                  </a:lnTo>
                  <a:lnTo>
                    <a:pt x="50" y="734"/>
                  </a:lnTo>
                  <a:lnTo>
                    <a:pt x="36" y="738"/>
                  </a:lnTo>
                  <a:lnTo>
                    <a:pt x="24" y="744"/>
                  </a:lnTo>
                  <a:lnTo>
                    <a:pt x="20" y="748"/>
                  </a:lnTo>
                  <a:lnTo>
                    <a:pt x="15" y="752"/>
                  </a:lnTo>
                  <a:lnTo>
                    <a:pt x="12" y="757"/>
                  </a:lnTo>
                  <a:lnTo>
                    <a:pt x="8" y="765"/>
                  </a:lnTo>
                  <a:lnTo>
                    <a:pt x="7" y="773"/>
                  </a:lnTo>
                  <a:lnTo>
                    <a:pt x="4" y="784"/>
                  </a:lnTo>
                  <a:lnTo>
                    <a:pt x="4" y="797"/>
                  </a:lnTo>
                  <a:lnTo>
                    <a:pt x="3" y="813"/>
                  </a:lnTo>
                  <a:lnTo>
                    <a:pt x="3" y="826"/>
                  </a:lnTo>
                  <a:lnTo>
                    <a:pt x="2" y="842"/>
                  </a:lnTo>
                  <a:lnTo>
                    <a:pt x="0" y="849"/>
                  </a:lnTo>
                  <a:lnTo>
                    <a:pt x="0" y="856"/>
                  </a:lnTo>
                  <a:lnTo>
                    <a:pt x="2" y="862"/>
                  </a:lnTo>
                  <a:lnTo>
                    <a:pt x="3" y="866"/>
                  </a:lnTo>
                  <a:lnTo>
                    <a:pt x="11" y="869"/>
                  </a:lnTo>
                  <a:lnTo>
                    <a:pt x="22" y="869"/>
                  </a:lnTo>
                  <a:lnTo>
                    <a:pt x="34" y="870"/>
                  </a:lnTo>
                  <a:lnTo>
                    <a:pt x="47" y="870"/>
                  </a:lnTo>
                  <a:lnTo>
                    <a:pt x="72" y="870"/>
                  </a:lnTo>
                  <a:lnTo>
                    <a:pt x="93" y="873"/>
                  </a:lnTo>
                  <a:lnTo>
                    <a:pt x="99" y="876"/>
                  </a:lnTo>
                  <a:lnTo>
                    <a:pt x="103" y="878"/>
                  </a:lnTo>
                  <a:lnTo>
                    <a:pt x="105" y="882"/>
                  </a:lnTo>
                  <a:lnTo>
                    <a:pt x="108" y="886"/>
                  </a:lnTo>
                  <a:lnTo>
                    <a:pt x="111" y="897"/>
                  </a:lnTo>
                  <a:lnTo>
                    <a:pt x="111" y="908"/>
                  </a:lnTo>
                  <a:lnTo>
                    <a:pt x="108" y="933"/>
                  </a:lnTo>
                  <a:lnTo>
                    <a:pt x="105" y="957"/>
                  </a:lnTo>
                  <a:lnTo>
                    <a:pt x="107" y="964"/>
                  </a:lnTo>
                  <a:lnTo>
                    <a:pt x="109" y="969"/>
                  </a:lnTo>
                  <a:lnTo>
                    <a:pt x="113" y="974"/>
                  </a:lnTo>
                  <a:lnTo>
                    <a:pt x="117" y="978"/>
                  </a:lnTo>
                  <a:lnTo>
                    <a:pt x="121" y="981"/>
                  </a:lnTo>
                  <a:lnTo>
                    <a:pt x="127" y="985"/>
                  </a:lnTo>
                  <a:lnTo>
                    <a:pt x="133" y="986"/>
                  </a:lnTo>
                  <a:lnTo>
                    <a:pt x="140" y="989"/>
                  </a:lnTo>
                  <a:lnTo>
                    <a:pt x="153" y="992"/>
                  </a:lnTo>
                  <a:lnTo>
                    <a:pt x="168" y="993"/>
                  </a:lnTo>
                  <a:lnTo>
                    <a:pt x="181" y="993"/>
                  </a:lnTo>
                  <a:lnTo>
                    <a:pt x="196" y="993"/>
                  </a:lnTo>
                  <a:lnTo>
                    <a:pt x="304" y="1084"/>
                  </a:lnTo>
                  <a:lnTo>
                    <a:pt x="305" y="1101"/>
                  </a:lnTo>
                  <a:lnTo>
                    <a:pt x="307" y="1114"/>
                  </a:lnTo>
                  <a:lnTo>
                    <a:pt x="309" y="1126"/>
                  </a:lnTo>
                  <a:lnTo>
                    <a:pt x="313" y="1136"/>
                  </a:lnTo>
                  <a:lnTo>
                    <a:pt x="319" y="1144"/>
                  </a:lnTo>
                  <a:lnTo>
                    <a:pt x="325" y="1149"/>
                  </a:lnTo>
                  <a:lnTo>
                    <a:pt x="332" y="1154"/>
                  </a:lnTo>
                  <a:lnTo>
                    <a:pt x="340" y="1157"/>
                  </a:lnTo>
                  <a:lnTo>
                    <a:pt x="380" y="1164"/>
                  </a:lnTo>
                  <a:lnTo>
                    <a:pt x="431" y="1168"/>
                  </a:lnTo>
                  <a:lnTo>
                    <a:pt x="441" y="1170"/>
                  </a:lnTo>
                  <a:lnTo>
                    <a:pt x="451" y="1174"/>
                  </a:lnTo>
                  <a:lnTo>
                    <a:pt x="457" y="1181"/>
                  </a:lnTo>
                  <a:lnTo>
                    <a:pt x="464" y="1189"/>
                  </a:lnTo>
                  <a:lnTo>
                    <a:pt x="469" y="1198"/>
                  </a:lnTo>
                  <a:lnTo>
                    <a:pt x="475" y="1209"/>
                  </a:lnTo>
                  <a:lnTo>
                    <a:pt x="477" y="1219"/>
                  </a:lnTo>
                  <a:lnTo>
                    <a:pt x="481" y="1230"/>
                  </a:lnTo>
                  <a:lnTo>
                    <a:pt x="487" y="1251"/>
                  </a:lnTo>
                  <a:lnTo>
                    <a:pt x="493" y="1270"/>
                  </a:lnTo>
                  <a:lnTo>
                    <a:pt x="496" y="1278"/>
                  </a:lnTo>
                  <a:lnTo>
                    <a:pt x="500" y="1283"/>
                  </a:lnTo>
                  <a:lnTo>
                    <a:pt x="504" y="1287"/>
                  </a:lnTo>
                  <a:lnTo>
                    <a:pt x="509" y="1289"/>
                  </a:lnTo>
                  <a:lnTo>
                    <a:pt x="517" y="1287"/>
                  </a:lnTo>
                  <a:lnTo>
                    <a:pt x="524" y="1285"/>
                  </a:lnTo>
                  <a:lnTo>
                    <a:pt x="528" y="1282"/>
                  </a:lnTo>
                  <a:lnTo>
                    <a:pt x="532" y="1279"/>
                  </a:lnTo>
                  <a:lnTo>
                    <a:pt x="536" y="1275"/>
                  </a:lnTo>
                  <a:lnTo>
                    <a:pt x="540" y="1273"/>
                  </a:lnTo>
                  <a:lnTo>
                    <a:pt x="545" y="1271"/>
                  </a:lnTo>
                  <a:lnTo>
                    <a:pt x="552" y="1270"/>
                  </a:lnTo>
                  <a:lnTo>
                    <a:pt x="552" y="1277"/>
                  </a:lnTo>
                  <a:lnTo>
                    <a:pt x="556" y="1283"/>
                  </a:lnTo>
                  <a:lnTo>
                    <a:pt x="560" y="1290"/>
                  </a:lnTo>
                  <a:lnTo>
                    <a:pt x="565" y="1295"/>
                  </a:lnTo>
                  <a:lnTo>
                    <a:pt x="572" y="1299"/>
                  </a:lnTo>
                  <a:lnTo>
                    <a:pt x="579" y="1303"/>
                  </a:lnTo>
                  <a:lnTo>
                    <a:pt x="587" y="1306"/>
                  </a:lnTo>
                  <a:lnTo>
                    <a:pt x="593" y="1306"/>
                  </a:lnTo>
                  <a:lnTo>
                    <a:pt x="603" y="1305"/>
                  </a:lnTo>
                  <a:lnTo>
                    <a:pt x="611" y="1302"/>
                  </a:lnTo>
                  <a:lnTo>
                    <a:pt x="619" y="1298"/>
                  </a:lnTo>
                  <a:lnTo>
                    <a:pt x="625" y="1293"/>
                  </a:lnTo>
                  <a:lnTo>
                    <a:pt x="637" y="1281"/>
                  </a:lnTo>
                  <a:lnTo>
                    <a:pt x="648" y="1270"/>
                  </a:lnTo>
                  <a:lnTo>
                    <a:pt x="640" y="1251"/>
                  </a:lnTo>
                  <a:lnTo>
                    <a:pt x="629" y="1234"/>
                  </a:lnTo>
                  <a:lnTo>
                    <a:pt x="617" y="1218"/>
                  </a:lnTo>
                  <a:lnTo>
                    <a:pt x="604" y="1202"/>
                  </a:lnTo>
                  <a:lnTo>
                    <a:pt x="589" y="1189"/>
                  </a:lnTo>
                  <a:lnTo>
                    <a:pt x="575" y="1176"/>
                  </a:lnTo>
                  <a:lnTo>
                    <a:pt x="559" y="1164"/>
                  </a:lnTo>
                  <a:lnTo>
                    <a:pt x="544" y="1153"/>
                  </a:lnTo>
                  <a:lnTo>
                    <a:pt x="491" y="1121"/>
                  </a:lnTo>
                  <a:lnTo>
                    <a:pt x="467" y="1108"/>
                  </a:lnTo>
                  <a:lnTo>
                    <a:pt x="468" y="1097"/>
                  </a:lnTo>
                  <a:lnTo>
                    <a:pt x="469" y="1085"/>
                  </a:lnTo>
                  <a:lnTo>
                    <a:pt x="473" y="1070"/>
                  </a:lnTo>
                  <a:lnTo>
                    <a:pt x="479" y="1054"/>
                  </a:lnTo>
                  <a:lnTo>
                    <a:pt x="485" y="1037"/>
                  </a:lnTo>
                  <a:lnTo>
                    <a:pt x="492" y="1018"/>
                  </a:lnTo>
                  <a:lnTo>
                    <a:pt x="500" y="1001"/>
                  </a:lnTo>
                  <a:lnTo>
                    <a:pt x="509" y="982"/>
                  </a:lnTo>
                  <a:lnTo>
                    <a:pt x="520" y="965"/>
                  </a:lnTo>
                  <a:lnTo>
                    <a:pt x="532" y="950"/>
                  </a:lnTo>
                  <a:lnTo>
                    <a:pt x="543" y="936"/>
                  </a:lnTo>
                  <a:lnTo>
                    <a:pt x="556" y="924"/>
                  </a:lnTo>
                  <a:lnTo>
                    <a:pt x="563" y="918"/>
                  </a:lnTo>
                  <a:lnTo>
                    <a:pt x="569" y="913"/>
                  </a:lnTo>
                  <a:lnTo>
                    <a:pt x="576" y="909"/>
                  </a:lnTo>
                  <a:lnTo>
                    <a:pt x="583" y="906"/>
                  </a:lnTo>
                  <a:lnTo>
                    <a:pt x="589" y="904"/>
                  </a:lnTo>
                  <a:lnTo>
                    <a:pt x="597" y="902"/>
                  </a:lnTo>
                  <a:lnTo>
                    <a:pt x="604" y="902"/>
                  </a:lnTo>
                  <a:lnTo>
                    <a:pt x="612" y="902"/>
                  </a:lnTo>
                  <a:lnTo>
                    <a:pt x="601" y="926"/>
                  </a:lnTo>
                  <a:lnTo>
                    <a:pt x="592" y="949"/>
                  </a:lnTo>
                  <a:lnTo>
                    <a:pt x="587" y="970"/>
                  </a:lnTo>
                  <a:lnTo>
                    <a:pt x="583" y="990"/>
                  </a:lnTo>
                  <a:lnTo>
                    <a:pt x="580" y="1009"/>
                  </a:lnTo>
                  <a:lnTo>
                    <a:pt x="580" y="1026"/>
                  </a:lnTo>
                  <a:lnTo>
                    <a:pt x="581" y="1044"/>
                  </a:lnTo>
                  <a:lnTo>
                    <a:pt x="585" y="1058"/>
                  </a:lnTo>
                  <a:lnTo>
                    <a:pt x="589" y="1073"/>
                  </a:lnTo>
                  <a:lnTo>
                    <a:pt x="596" y="1088"/>
                  </a:lnTo>
                  <a:lnTo>
                    <a:pt x="603" y="1101"/>
                  </a:lnTo>
                  <a:lnTo>
                    <a:pt x="611" y="1113"/>
                  </a:lnTo>
                  <a:lnTo>
                    <a:pt x="620" y="1124"/>
                  </a:lnTo>
                  <a:lnTo>
                    <a:pt x="631" y="1136"/>
                  </a:lnTo>
                  <a:lnTo>
                    <a:pt x="641" y="1145"/>
                  </a:lnTo>
                  <a:lnTo>
                    <a:pt x="653" y="1156"/>
                  </a:lnTo>
                  <a:lnTo>
                    <a:pt x="677" y="1173"/>
                  </a:lnTo>
                  <a:lnTo>
                    <a:pt x="703" y="1189"/>
                  </a:lnTo>
                  <a:lnTo>
                    <a:pt x="728" y="1205"/>
                  </a:lnTo>
                  <a:lnTo>
                    <a:pt x="752" y="1218"/>
                  </a:lnTo>
                  <a:lnTo>
                    <a:pt x="773" y="1233"/>
                  </a:lnTo>
                  <a:lnTo>
                    <a:pt x="792" y="1246"/>
                  </a:lnTo>
                  <a:lnTo>
                    <a:pt x="800" y="1254"/>
                  </a:lnTo>
                  <a:lnTo>
                    <a:pt x="807" y="1261"/>
                  </a:lnTo>
                  <a:lnTo>
                    <a:pt x="812" y="1269"/>
                  </a:lnTo>
                  <a:lnTo>
                    <a:pt x="816" y="1277"/>
                  </a:lnTo>
                  <a:lnTo>
                    <a:pt x="829" y="1310"/>
                  </a:lnTo>
                  <a:lnTo>
                    <a:pt x="838" y="1341"/>
                  </a:lnTo>
                  <a:lnTo>
                    <a:pt x="845" y="1370"/>
                  </a:lnTo>
                  <a:lnTo>
                    <a:pt x="849" y="1398"/>
                  </a:lnTo>
                  <a:lnTo>
                    <a:pt x="853" y="1451"/>
                  </a:lnTo>
                  <a:lnTo>
                    <a:pt x="856" y="1505"/>
                  </a:lnTo>
                  <a:lnTo>
                    <a:pt x="857" y="1533"/>
                  </a:lnTo>
                  <a:lnTo>
                    <a:pt x="860" y="1563"/>
                  </a:lnTo>
                  <a:lnTo>
                    <a:pt x="864" y="1595"/>
                  </a:lnTo>
                  <a:lnTo>
                    <a:pt x="870" y="1630"/>
                  </a:lnTo>
                  <a:lnTo>
                    <a:pt x="880" y="1669"/>
                  </a:lnTo>
                  <a:lnTo>
                    <a:pt x="893" y="1710"/>
                  </a:lnTo>
                  <a:lnTo>
                    <a:pt x="909" y="1755"/>
                  </a:lnTo>
                  <a:lnTo>
                    <a:pt x="930" y="1806"/>
                  </a:lnTo>
                  <a:lnTo>
                    <a:pt x="945" y="1836"/>
                  </a:lnTo>
                  <a:lnTo>
                    <a:pt x="960" y="1871"/>
                  </a:lnTo>
                  <a:lnTo>
                    <a:pt x="974" y="1911"/>
                  </a:lnTo>
                  <a:lnTo>
                    <a:pt x="990" y="1952"/>
                  </a:lnTo>
                  <a:lnTo>
                    <a:pt x="1005" y="1998"/>
                  </a:lnTo>
                  <a:lnTo>
                    <a:pt x="1020" y="2042"/>
                  </a:lnTo>
                  <a:lnTo>
                    <a:pt x="1033" y="2087"/>
                  </a:lnTo>
                  <a:lnTo>
                    <a:pt x="1045" y="2131"/>
                  </a:lnTo>
                  <a:lnTo>
                    <a:pt x="1052" y="2156"/>
                  </a:lnTo>
                  <a:lnTo>
                    <a:pt x="1058" y="2179"/>
                  </a:lnTo>
                  <a:lnTo>
                    <a:pt x="1062" y="2200"/>
                  </a:lnTo>
                  <a:lnTo>
                    <a:pt x="1065" y="2220"/>
                  </a:lnTo>
                  <a:lnTo>
                    <a:pt x="1068" y="2239"/>
                  </a:lnTo>
                  <a:lnTo>
                    <a:pt x="1068" y="2256"/>
                  </a:lnTo>
                  <a:lnTo>
                    <a:pt x="1068" y="2272"/>
                  </a:lnTo>
                  <a:lnTo>
                    <a:pt x="1068" y="2287"/>
                  </a:lnTo>
                  <a:lnTo>
                    <a:pt x="1064" y="2314"/>
                  </a:lnTo>
                  <a:lnTo>
                    <a:pt x="1058" y="2336"/>
                  </a:lnTo>
                  <a:lnTo>
                    <a:pt x="1053" y="2356"/>
                  </a:lnTo>
                  <a:lnTo>
                    <a:pt x="1046" y="2374"/>
                  </a:lnTo>
                  <a:lnTo>
                    <a:pt x="1041" y="2389"/>
                  </a:lnTo>
                  <a:lnTo>
                    <a:pt x="1038" y="2403"/>
                  </a:lnTo>
                  <a:lnTo>
                    <a:pt x="1038" y="2411"/>
                  </a:lnTo>
                  <a:lnTo>
                    <a:pt x="1038" y="2417"/>
                  </a:lnTo>
                  <a:lnTo>
                    <a:pt x="1040" y="2424"/>
                  </a:lnTo>
                  <a:lnTo>
                    <a:pt x="1041" y="2431"/>
                  </a:lnTo>
                  <a:lnTo>
                    <a:pt x="1045" y="2437"/>
                  </a:lnTo>
                  <a:lnTo>
                    <a:pt x="1050" y="2445"/>
                  </a:lnTo>
                  <a:lnTo>
                    <a:pt x="1056" y="2453"/>
                  </a:lnTo>
                  <a:lnTo>
                    <a:pt x="1064" y="2461"/>
                  </a:lnTo>
                  <a:lnTo>
                    <a:pt x="1084" y="2479"/>
                  </a:lnTo>
                  <a:lnTo>
                    <a:pt x="1112" y="2499"/>
                  </a:lnTo>
                  <a:lnTo>
                    <a:pt x="1120" y="2504"/>
                  </a:lnTo>
                  <a:lnTo>
                    <a:pt x="1126" y="2511"/>
                  </a:lnTo>
                  <a:lnTo>
                    <a:pt x="1133" y="2517"/>
                  </a:lnTo>
                  <a:lnTo>
                    <a:pt x="1138" y="2525"/>
                  </a:lnTo>
                  <a:lnTo>
                    <a:pt x="1144" y="2532"/>
                  </a:lnTo>
                  <a:lnTo>
                    <a:pt x="1146" y="2539"/>
                  </a:lnTo>
                  <a:lnTo>
                    <a:pt x="1150" y="2547"/>
                  </a:lnTo>
                  <a:lnTo>
                    <a:pt x="1153" y="2555"/>
                  </a:lnTo>
                  <a:lnTo>
                    <a:pt x="1160" y="2589"/>
                  </a:lnTo>
                  <a:lnTo>
                    <a:pt x="1166" y="2631"/>
                  </a:lnTo>
                  <a:lnTo>
                    <a:pt x="1172" y="2653"/>
                  </a:lnTo>
                  <a:lnTo>
                    <a:pt x="1178" y="2677"/>
                  </a:lnTo>
                  <a:lnTo>
                    <a:pt x="1184" y="2689"/>
                  </a:lnTo>
                  <a:lnTo>
                    <a:pt x="1189" y="2703"/>
                  </a:lnTo>
                  <a:lnTo>
                    <a:pt x="1196" y="2717"/>
                  </a:lnTo>
                  <a:lnTo>
                    <a:pt x="1204" y="2731"/>
                  </a:lnTo>
                  <a:lnTo>
                    <a:pt x="1213" y="2747"/>
                  </a:lnTo>
                  <a:lnTo>
                    <a:pt x="1222" y="2761"/>
                  </a:lnTo>
                  <a:lnTo>
                    <a:pt x="1234" y="2777"/>
                  </a:lnTo>
                  <a:lnTo>
                    <a:pt x="1248" y="2793"/>
                  </a:lnTo>
                  <a:lnTo>
                    <a:pt x="1262" y="2811"/>
                  </a:lnTo>
                  <a:lnTo>
                    <a:pt x="1278" y="2828"/>
                  </a:lnTo>
                  <a:lnTo>
                    <a:pt x="1296" y="2847"/>
                  </a:lnTo>
                  <a:lnTo>
                    <a:pt x="1316" y="2865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99" name="Freeform 95"/>
            <p:cNvSpPr>
              <a:spLocks/>
            </p:cNvSpPr>
            <p:nvPr/>
          </p:nvSpPr>
          <p:spPr bwMode="auto">
            <a:xfrm>
              <a:off x="4023047" y="3203575"/>
              <a:ext cx="41275" cy="46037"/>
            </a:xfrm>
            <a:custGeom>
              <a:avLst/>
              <a:gdLst/>
              <a:ahLst/>
              <a:cxnLst>
                <a:cxn ang="0">
                  <a:pos x="72" y="42"/>
                </a:cxn>
                <a:cxn ang="0">
                  <a:pos x="67" y="41"/>
                </a:cxn>
                <a:cxn ang="0">
                  <a:pos x="63" y="38"/>
                </a:cxn>
                <a:cxn ang="0">
                  <a:pos x="60" y="34"/>
                </a:cxn>
                <a:cxn ang="0">
                  <a:pos x="59" y="27"/>
                </a:cxn>
                <a:cxn ang="0">
                  <a:pos x="59" y="14"/>
                </a:cxn>
                <a:cxn ang="0">
                  <a:pos x="60" y="0"/>
                </a:cxn>
                <a:cxn ang="0">
                  <a:pos x="52" y="3"/>
                </a:cxn>
                <a:cxn ang="0">
                  <a:pos x="43" y="7"/>
                </a:cxn>
                <a:cxn ang="0">
                  <a:pos x="33" y="13"/>
                </a:cxn>
                <a:cxn ang="0">
                  <a:pos x="23" y="21"/>
                </a:cxn>
                <a:cxn ang="0">
                  <a:pos x="13" y="27"/>
                </a:cxn>
                <a:cxn ang="0">
                  <a:pos x="7" y="37"/>
                </a:cxn>
                <a:cxn ang="0">
                  <a:pos x="4" y="41"/>
                </a:cxn>
                <a:cxn ang="0">
                  <a:pos x="1" y="45"/>
                </a:cxn>
                <a:cxn ang="0">
                  <a:pos x="0" y="50"/>
                </a:cxn>
                <a:cxn ang="0">
                  <a:pos x="0" y="54"/>
                </a:cxn>
                <a:cxn ang="0">
                  <a:pos x="0" y="61"/>
                </a:cxn>
                <a:cxn ang="0">
                  <a:pos x="1" y="66"/>
                </a:cxn>
                <a:cxn ang="0">
                  <a:pos x="4" y="71"/>
                </a:cxn>
                <a:cxn ang="0">
                  <a:pos x="8" y="75"/>
                </a:cxn>
                <a:cxn ang="0">
                  <a:pos x="12" y="79"/>
                </a:cxn>
                <a:cxn ang="0">
                  <a:pos x="17" y="83"/>
                </a:cxn>
                <a:cxn ang="0">
                  <a:pos x="23" y="86"/>
                </a:cxn>
                <a:cxn ang="0">
                  <a:pos x="28" y="89"/>
                </a:cxn>
                <a:cxn ang="0">
                  <a:pos x="41" y="93"/>
                </a:cxn>
                <a:cxn ang="0">
                  <a:pos x="56" y="95"/>
                </a:cxn>
                <a:cxn ang="0">
                  <a:pos x="71" y="95"/>
                </a:cxn>
                <a:cxn ang="0">
                  <a:pos x="84" y="97"/>
                </a:cxn>
                <a:cxn ang="0">
                  <a:pos x="84" y="61"/>
                </a:cxn>
                <a:cxn ang="0">
                  <a:pos x="79" y="51"/>
                </a:cxn>
                <a:cxn ang="0">
                  <a:pos x="72" y="42"/>
                </a:cxn>
              </a:cxnLst>
              <a:rect l="0" t="0" r="r" b="b"/>
              <a:pathLst>
                <a:path w="84" h="97">
                  <a:moveTo>
                    <a:pt x="72" y="42"/>
                  </a:moveTo>
                  <a:lnTo>
                    <a:pt x="67" y="41"/>
                  </a:lnTo>
                  <a:lnTo>
                    <a:pt x="63" y="38"/>
                  </a:lnTo>
                  <a:lnTo>
                    <a:pt x="60" y="34"/>
                  </a:lnTo>
                  <a:lnTo>
                    <a:pt x="59" y="27"/>
                  </a:lnTo>
                  <a:lnTo>
                    <a:pt x="59" y="14"/>
                  </a:lnTo>
                  <a:lnTo>
                    <a:pt x="60" y="0"/>
                  </a:lnTo>
                  <a:lnTo>
                    <a:pt x="52" y="3"/>
                  </a:lnTo>
                  <a:lnTo>
                    <a:pt x="43" y="7"/>
                  </a:lnTo>
                  <a:lnTo>
                    <a:pt x="33" y="13"/>
                  </a:lnTo>
                  <a:lnTo>
                    <a:pt x="23" y="21"/>
                  </a:lnTo>
                  <a:lnTo>
                    <a:pt x="13" y="27"/>
                  </a:lnTo>
                  <a:lnTo>
                    <a:pt x="7" y="37"/>
                  </a:lnTo>
                  <a:lnTo>
                    <a:pt x="4" y="41"/>
                  </a:lnTo>
                  <a:lnTo>
                    <a:pt x="1" y="45"/>
                  </a:lnTo>
                  <a:lnTo>
                    <a:pt x="0" y="50"/>
                  </a:lnTo>
                  <a:lnTo>
                    <a:pt x="0" y="54"/>
                  </a:lnTo>
                  <a:lnTo>
                    <a:pt x="0" y="61"/>
                  </a:lnTo>
                  <a:lnTo>
                    <a:pt x="1" y="66"/>
                  </a:lnTo>
                  <a:lnTo>
                    <a:pt x="4" y="71"/>
                  </a:lnTo>
                  <a:lnTo>
                    <a:pt x="8" y="75"/>
                  </a:lnTo>
                  <a:lnTo>
                    <a:pt x="12" y="79"/>
                  </a:lnTo>
                  <a:lnTo>
                    <a:pt x="17" y="83"/>
                  </a:lnTo>
                  <a:lnTo>
                    <a:pt x="23" y="86"/>
                  </a:lnTo>
                  <a:lnTo>
                    <a:pt x="28" y="89"/>
                  </a:lnTo>
                  <a:lnTo>
                    <a:pt x="41" y="93"/>
                  </a:lnTo>
                  <a:lnTo>
                    <a:pt x="56" y="95"/>
                  </a:lnTo>
                  <a:lnTo>
                    <a:pt x="71" y="95"/>
                  </a:lnTo>
                  <a:lnTo>
                    <a:pt x="84" y="97"/>
                  </a:lnTo>
                  <a:lnTo>
                    <a:pt x="84" y="61"/>
                  </a:lnTo>
                  <a:lnTo>
                    <a:pt x="79" y="51"/>
                  </a:lnTo>
                  <a:lnTo>
                    <a:pt x="72" y="4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00" name="Freeform 96"/>
            <p:cNvSpPr>
              <a:spLocks/>
            </p:cNvSpPr>
            <p:nvPr/>
          </p:nvSpPr>
          <p:spPr bwMode="auto">
            <a:xfrm>
              <a:off x="6018534" y="2468563"/>
              <a:ext cx="28575" cy="39687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30" y="0"/>
                </a:cxn>
                <a:cxn ang="0">
                  <a:pos x="19" y="0"/>
                </a:cxn>
                <a:cxn ang="0">
                  <a:pos x="14" y="1"/>
                </a:cxn>
                <a:cxn ang="0">
                  <a:pos x="7" y="4"/>
                </a:cxn>
                <a:cxn ang="0">
                  <a:pos x="4" y="7"/>
                </a:cxn>
                <a:cxn ang="0">
                  <a:pos x="3" y="9"/>
                </a:cxn>
                <a:cxn ang="0">
                  <a:pos x="2" y="13"/>
                </a:cxn>
                <a:cxn ang="0">
                  <a:pos x="0" y="17"/>
                </a:cxn>
                <a:cxn ang="0">
                  <a:pos x="2" y="25"/>
                </a:cxn>
                <a:cxn ang="0">
                  <a:pos x="4" y="36"/>
                </a:cxn>
                <a:cxn ang="0">
                  <a:pos x="7" y="47"/>
                </a:cxn>
                <a:cxn ang="0">
                  <a:pos x="12" y="57"/>
                </a:cxn>
                <a:cxn ang="0">
                  <a:pos x="19" y="68"/>
                </a:cxn>
                <a:cxn ang="0">
                  <a:pos x="26" y="76"/>
                </a:cxn>
                <a:cxn ang="0">
                  <a:pos x="30" y="80"/>
                </a:cxn>
                <a:cxn ang="0">
                  <a:pos x="34" y="81"/>
                </a:cxn>
                <a:cxn ang="0">
                  <a:pos x="38" y="84"/>
                </a:cxn>
                <a:cxn ang="0">
                  <a:pos x="43" y="84"/>
                </a:cxn>
                <a:cxn ang="0">
                  <a:pos x="47" y="83"/>
                </a:cxn>
                <a:cxn ang="0">
                  <a:pos x="51" y="80"/>
                </a:cxn>
                <a:cxn ang="0">
                  <a:pos x="54" y="76"/>
                </a:cxn>
                <a:cxn ang="0">
                  <a:pos x="56" y="71"/>
                </a:cxn>
                <a:cxn ang="0">
                  <a:pos x="59" y="61"/>
                </a:cxn>
                <a:cxn ang="0">
                  <a:pos x="60" y="53"/>
                </a:cxn>
                <a:cxn ang="0">
                  <a:pos x="60" y="43"/>
                </a:cxn>
                <a:cxn ang="0">
                  <a:pos x="56" y="33"/>
                </a:cxn>
                <a:cxn ang="0">
                  <a:pos x="54" y="27"/>
                </a:cxn>
                <a:cxn ang="0">
                  <a:pos x="48" y="17"/>
                </a:cxn>
                <a:cxn ang="0">
                  <a:pos x="48" y="0"/>
                </a:cxn>
              </a:cxnLst>
              <a:rect l="0" t="0" r="r" b="b"/>
              <a:pathLst>
                <a:path w="60" h="84">
                  <a:moveTo>
                    <a:pt x="48" y="0"/>
                  </a:moveTo>
                  <a:lnTo>
                    <a:pt x="30" y="0"/>
                  </a:lnTo>
                  <a:lnTo>
                    <a:pt x="19" y="0"/>
                  </a:lnTo>
                  <a:lnTo>
                    <a:pt x="14" y="1"/>
                  </a:lnTo>
                  <a:lnTo>
                    <a:pt x="7" y="4"/>
                  </a:lnTo>
                  <a:lnTo>
                    <a:pt x="4" y="7"/>
                  </a:lnTo>
                  <a:lnTo>
                    <a:pt x="3" y="9"/>
                  </a:lnTo>
                  <a:lnTo>
                    <a:pt x="2" y="13"/>
                  </a:lnTo>
                  <a:lnTo>
                    <a:pt x="0" y="17"/>
                  </a:lnTo>
                  <a:lnTo>
                    <a:pt x="2" y="25"/>
                  </a:lnTo>
                  <a:lnTo>
                    <a:pt x="4" y="36"/>
                  </a:lnTo>
                  <a:lnTo>
                    <a:pt x="7" y="47"/>
                  </a:lnTo>
                  <a:lnTo>
                    <a:pt x="12" y="57"/>
                  </a:lnTo>
                  <a:lnTo>
                    <a:pt x="19" y="68"/>
                  </a:lnTo>
                  <a:lnTo>
                    <a:pt x="26" y="76"/>
                  </a:lnTo>
                  <a:lnTo>
                    <a:pt x="30" y="80"/>
                  </a:lnTo>
                  <a:lnTo>
                    <a:pt x="34" y="81"/>
                  </a:lnTo>
                  <a:lnTo>
                    <a:pt x="38" y="84"/>
                  </a:lnTo>
                  <a:lnTo>
                    <a:pt x="43" y="84"/>
                  </a:lnTo>
                  <a:lnTo>
                    <a:pt x="47" y="83"/>
                  </a:lnTo>
                  <a:lnTo>
                    <a:pt x="51" y="80"/>
                  </a:lnTo>
                  <a:lnTo>
                    <a:pt x="54" y="76"/>
                  </a:lnTo>
                  <a:lnTo>
                    <a:pt x="56" y="71"/>
                  </a:lnTo>
                  <a:lnTo>
                    <a:pt x="59" y="61"/>
                  </a:lnTo>
                  <a:lnTo>
                    <a:pt x="60" y="53"/>
                  </a:lnTo>
                  <a:lnTo>
                    <a:pt x="60" y="43"/>
                  </a:lnTo>
                  <a:lnTo>
                    <a:pt x="56" y="33"/>
                  </a:lnTo>
                  <a:lnTo>
                    <a:pt x="54" y="27"/>
                  </a:lnTo>
                  <a:lnTo>
                    <a:pt x="48" y="17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01" name="Freeform 97"/>
            <p:cNvSpPr>
              <a:spLocks/>
            </p:cNvSpPr>
            <p:nvPr/>
          </p:nvSpPr>
          <p:spPr bwMode="auto">
            <a:xfrm>
              <a:off x="5775647" y="2414588"/>
              <a:ext cx="34925" cy="53975"/>
            </a:xfrm>
            <a:custGeom>
              <a:avLst/>
              <a:gdLst/>
              <a:ahLst/>
              <a:cxnLst>
                <a:cxn ang="0">
                  <a:pos x="60" y="49"/>
                </a:cxn>
                <a:cxn ang="0">
                  <a:pos x="58" y="42"/>
                </a:cxn>
                <a:cxn ang="0">
                  <a:pos x="55" y="30"/>
                </a:cxn>
                <a:cxn ang="0">
                  <a:pos x="51" y="26"/>
                </a:cxn>
                <a:cxn ang="0">
                  <a:pos x="46" y="21"/>
                </a:cxn>
                <a:cxn ang="0">
                  <a:pos x="39" y="17"/>
                </a:cxn>
                <a:cxn ang="0">
                  <a:pos x="32" y="13"/>
                </a:cxn>
                <a:cxn ang="0">
                  <a:pos x="16" y="6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8"/>
                </a:cxn>
                <a:cxn ang="0">
                  <a:pos x="2" y="28"/>
                </a:cxn>
                <a:cxn ang="0">
                  <a:pos x="7" y="40"/>
                </a:cxn>
                <a:cxn ang="0">
                  <a:pos x="15" y="54"/>
                </a:cxn>
                <a:cxn ang="0">
                  <a:pos x="23" y="70"/>
                </a:cxn>
                <a:cxn ang="0">
                  <a:pos x="32" y="85"/>
                </a:cxn>
                <a:cxn ang="0">
                  <a:pos x="42" y="97"/>
                </a:cxn>
                <a:cxn ang="0">
                  <a:pos x="46" y="102"/>
                </a:cxn>
                <a:cxn ang="0">
                  <a:pos x="48" y="105"/>
                </a:cxn>
                <a:cxn ang="0">
                  <a:pos x="52" y="108"/>
                </a:cxn>
                <a:cxn ang="0">
                  <a:pos x="55" y="109"/>
                </a:cxn>
                <a:cxn ang="0">
                  <a:pos x="60" y="108"/>
                </a:cxn>
                <a:cxn ang="0">
                  <a:pos x="66" y="106"/>
                </a:cxn>
                <a:cxn ang="0">
                  <a:pos x="68" y="102"/>
                </a:cxn>
                <a:cxn ang="0">
                  <a:pos x="71" y="98"/>
                </a:cxn>
                <a:cxn ang="0">
                  <a:pos x="72" y="90"/>
                </a:cxn>
                <a:cxn ang="0">
                  <a:pos x="72" y="85"/>
                </a:cxn>
                <a:cxn ang="0">
                  <a:pos x="72" y="77"/>
                </a:cxn>
                <a:cxn ang="0">
                  <a:pos x="70" y="64"/>
                </a:cxn>
                <a:cxn ang="0">
                  <a:pos x="67" y="58"/>
                </a:cxn>
                <a:cxn ang="0">
                  <a:pos x="66" y="53"/>
                </a:cxn>
                <a:cxn ang="0">
                  <a:pos x="63" y="50"/>
                </a:cxn>
                <a:cxn ang="0">
                  <a:pos x="60" y="49"/>
                </a:cxn>
              </a:cxnLst>
              <a:rect l="0" t="0" r="r" b="b"/>
              <a:pathLst>
                <a:path w="72" h="109">
                  <a:moveTo>
                    <a:pt x="60" y="49"/>
                  </a:moveTo>
                  <a:lnTo>
                    <a:pt x="58" y="42"/>
                  </a:lnTo>
                  <a:lnTo>
                    <a:pt x="55" y="30"/>
                  </a:lnTo>
                  <a:lnTo>
                    <a:pt x="51" y="26"/>
                  </a:lnTo>
                  <a:lnTo>
                    <a:pt x="46" y="21"/>
                  </a:lnTo>
                  <a:lnTo>
                    <a:pt x="39" y="17"/>
                  </a:lnTo>
                  <a:lnTo>
                    <a:pt x="32" y="13"/>
                  </a:lnTo>
                  <a:lnTo>
                    <a:pt x="16" y="6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8"/>
                  </a:lnTo>
                  <a:lnTo>
                    <a:pt x="2" y="28"/>
                  </a:lnTo>
                  <a:lnTo>
                    <a:pt x="7" y="40"/>
                  </a:lnTo>
                  <a:lnTo>
                    <a:pt x="15" y="54"/>
                  </a:lnTo>
                  <a:lnTo>
                    <a:pt x="23" y="70"/>
                  </a:lnTo>
                  <a:lnTo>
                    <a:pt x="32" y="85"/>
                  </a:lnTo>
                  <a:lnTo>
                    <a:pt x="42" y="97"/>
                  </a:lnTo>
                  <a:lnTo>
                    <a:pt x="46" y="102"/>
                  </a:lnTo>
                  <a:lnTo>
                    <a:pt x="48" y="105"/>
                  </a:lnTo>
                  <a:lnTo>
                    <a:pt x="52" y="108"/>
                  </a:lnTo>
                  <a:lnTo>
                    <a:pt x="55" y="109"/>
                  </a:lnTo>
                  <a:lnTo>
                    <a:pt x="60" y="108"/>
                  </a:lnTo>
                  <a:lnTo>
                    <a:pt x="66" y="106"/>
                  </a:lnTo>
                  <a:lnTo>
                    <a:pt x="68" y="102"/>
                  </a:lnTo>
                  <a:lnTo>
                    <a:pt x="71" y="98"/>
                  </a:lnTo>
                  <a:lnTo>
                    <a:pt x="72" y="90"/>
                  </a:lnTo>
                  <a:lnTo>
                    <a:pt x="72" y="85"/>
                  </a:lnTo>
                  <a:lnTo>
                    <a:pt x="72" y="77"/>
                  </a:lnTo>
                  <a:lnTo>
                    <a:pt x="70" y="64"/>
                  </a:lnTo>
                  <a:lnTo>
                    <a:pt x="67" y="58"/>
                  </a:lnTo>
                  <a:lnTo>
                    <a:pt x="66" y="53"/>
                  </a:lnTo>
                  <a:lnTo>
                    <a:pt x="63" y="50"/>
                  </a:lnTo>
                  <a:lnTo>
                    <a:pt x="60" y="4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02" name="Freeform 98"/>
            <p:cNvSpPr>
              <a:spLocks/>
            </p:cNvSpPr>
            <p:nvPr/>
          </p:nvSpPr>
          <p:spPr bwMode="auto">
            <a:xfrm>
              <a:off x="1419547" y="2835275"/>
              <a:ext cx="604838" cy="765175"/>
            </a:xfrm>
            <a:custGeom>
              <a:avLst/>
              <a:gdLst/>
              <a:ahLst/>
              <a:cxnLst>
                <a:cxn ang="0">
                  <a:pos x="705" y="1555"/>
                </a:cxn>
                <a:cxn ang="0">
                  <a:pos x="669" y="1494"/>
                </a:cxn>
                <a:cxn ang="0">
                  <a:pos x="618" y="1478"/>
                </a:cxn>
                <a:cxn ang="0">
                  <a:pos x="524" y="1471"/>
                </a:cxn>
                <a:cxn ang="0">
                  <a:pos x="472" y="1437"/>
                </a:cxn>
                <a:cxn ang="0">
                  <a:pos x="388" y="1336"/>
                </a:cxn>
                <a:cxn ang="0">
                  <a:pos x="319" y="1270"/>
                </a:cxn>
                <a:cxn ang="0">
                  <a:pos x="307" y="1333"/>
                </a:cxn>
                <a:cxn ang="0">
                  <a:pos x="252" y="1332"/>
                </a:cxn>
                <a:cxn ang="0">
                  <a:pos x="159" y="1297"/>
                </a:cxn>
                <a:cxn ang="0">
                  <a:pos x="120" y="1253"/>
                </a:cxn>
                <a:cxn ang="0">
                  <a:pos x="101" y="1166"/>
                </a:cxn>
                <a:cxn ang="0">
                  <a:pos x="59" y="1060"/>
                </a:cxn>
                <a:cxn ang="0">
                  <a:pos x="13" y="948"/>
                </a:cxn>
                <a:cxn ang="0">
                  <a:pos x="0" y="856"/>
                </a:cxn>
                <a:cxn ang="0">
                  <a:pos x="223" y="842"/>
                </a:cxn>
                <a:cxn ang="0">
                  <a:pos x="427" y="813"/>
                </a:cxn>
                <a:cxn ang="0">
                  <a:pos x="456" y="792"/>
                </a:cxn>
                <a:cxn ang="0">
                  <a:pos x="481" y="717"/>
                </a:cxn>
                <a:cxn ang="0">
                  <a:pos x="485" y="571"/>
                </a:cxn>
                <a:cxn ang="0">
                  <a:pos x="562" y="524"/>
                </a:cxn>
                <a:cxn ang="0">
                  <a:pos x="601" y="488"/>
                </a:cxn>
                <a:cxn ang="0">
                  <a:pos x="614" y="392"/>
                </a:cxn>
                <a:cxn ang="0">
                  <a:pos x="665" y="377"/>
                </a:cxn>
                <a:cxn ang="0">
                  <a:pos x="684" y="333"/>
                </a:cxn>
                <a:cxn ang="0">
                  <a:pos x="700" y="264"/>
                </a:cxn>
                <a:cxn ang="0">
                  <a:pos x="742" y="237"/>
                </a:cxn>
                <a:cxn ang="0">
                  <a:pos x="766" y="187"/>
                </a:cxn>
                <a:cxn ang="0">
                  <a:pos x="814" y="183"/>
                </a:cxn>
                <a:cxn ang="0">
                  <a:pos x="886" y="146"/>
                </a:cxn>
                <a:cxn ang="0">
                  <a:pos x="938" y="72"/>
                </a:cxn>
                <a:cxn ang="0">
                  <a:pos x="1025" y="35"/>
                </a:cxn>
                <a:cxn ang="0">
                  <a:pos x="1108" y="115"/>
                </a:cxn>
                <a:cxn ang="0">
                  <a:pos x="1132" y="168"/>
                </a:cxn>
                <a:cxn ang="0">
                  <a:pos x="1132" y="235"/>
                </a:cxn>
                <a:cxn ang="0">
                  <a:pos x="1146" y="260"/>
                </a:cxn>
                <a:cxn ang="0">
                  <a:pos x="1201" y="271"/>
                </a:cxn>
                <a:cxn ang="0">
                  <a:pos x="1247" y="423"/>
                </a:cxn>
                <a:cxn ang="0">
                  <a:pos x="1237" y="509"/>
                </a:cxn>
                <a:cxn ang="0">
                  <a:pos x="1213" y="552"/>
                </a:cxn>
                <a:cxn ang="0">
                  <a:pos x="1168" y="589"/>
                </a:cxn>
                <a:cxn ang="0">
                  <a:pos x="1054" y="728"/>
                </a:cxn>
                <a:cxn ang="0">
                  <a:pos x="1028" y="801"/>
                </a:cxn>
                <a:cxn ang="0">
                  <a:pos x="1028" y="888"/>
                </a:cxn>
                <a:cxn ang="0">
                  <a:pos x="1029" y="1042"/>
                </a:cxn>
                <a:cxn ang="0">
                  <a:pos x="978" y="1072"/>
                </a:cxn>
                <a:cxn ang="0">
                  <a:pos x="938" y="1042"/>
                </a:cxn>
                <a:cxn ang="0">
                  <a:pos x="897" y="1113"/>
                </a:cxn>
                <a:cxn ang="0">
                  <a:pos x="844" y="1230"/>
                </a:cxn>
                <a:cxn ang="0">
                  <a:pos x="838" y="1294"/>
                </a:cxn>
                <a:cxn ang="0">
                  <a:pos x="861" y="1316"/>
                </a:cxn>
                <a:cxn ang="0">
                  <a:pos x="873" y="1337"/>
                </a:cxn>
                <a:cxn ang="0">
                  <a:pos x="860" y="1367"/>
                </a:cxn>
                <a:cxn ang="0">
                  <a:pos x="828" y="1391"/>
                </a:cxn>
                <a:cxn ang="0">
                  <a:pos x="814" y="1443"/>
                </a:cxn>
                <a:cxn ang="0">
                  <a:pos x="728" y="1578"/>
                </a:cxn>
              </a:cxnLst>
              <a:rect l="0" t="0" r="r" b="b"/>
              <a:pathLst>
                <a:path w="1247" h="1578">
                  <a:moveTo>
                    <a:pt x="722" y="1571"/>
                  </a:moveTo>
                  <a:lnTo>
                    <a:pt x="718" y="1569"/>
                  </a:lnTo>
                  <a:lnTo>
                    <a:pt x="713" y="1565"/>
                  </a:lnTo>
                  <a:lnTo>
                    <a:pt x="709" y="1561"/>
                  </a:lnTo>
                  <a:lnTo>
                    <a:pt x="705" y="1555"/>
                  </a:lnTo>
                  <a:lnTo>
                    <a:pt x="697" y="1543"/>
                  </a:lnTo>
                  <a:lnTo>
                    <a:pt x="690" y="1530"/>
                  </a:lnTo>
                  <a:lnTo>
                    <a:pt x="682" y="1517"/>
                  </a:lnTo>
                  <a:lnTo>
                    <a:pt x="676" y="1503"/>
                  </a:lnTo>
                  <a:lnTo>
                    <a:pt x="669" y="1494"/>
                  </a:lnTo>
                  <a:lnTo>
                    <a:pt x="662" y="1487"/>
                  </a:lnTo>
                  <a:lnTo>
                    <a:pt x="650" y="1483"/>
                  </a:lnTo>
                  <a:lnTo>
                    <a:pt x="640" y="1481"/>
                  </a:lnTo>
                  <a:lnTo>
                    <a:pt x="629" y="1479"/>
                  </a:lnTo>
                  <a:lnTo>
                    <a:pt x="618" y="1478"/>
                  </a:lnTo>
                  <a:lnTo>
                    <a:pt x="596" y="1477"/>
                  </a:lnTo>
                  <a:lnTo>
                    <a:pt x="576" y="1477"/>
                  </a:lnTo>
                  <a:lnTo>
                    <a:pt x="554" y="1477"/>
                  </a:lnTo>
                  <a:lnTo>
                    <a:pt x="534" y="1474"/>
                  </a:lnTo>
                  <a:lnTo>
                    <a:pt x="524" y="1471"/>
                  </a:lnTo>
                  <a:lnTo>
                    <a:pt x="513" y="1467"/>
                  </a:lnTo>
                  <a:lnTo>
                    <a:pt x="504" y="1463"/>
                  </a:lnTo>
                  <a:lnTo>
                    <a:pt x="493" y="1457"/>
                  </a:lnTo>
                  <a:lnTo>
                    <a:pt x="482" y="1447"/>
                  </a:lnTo>
                  <a:lnTo>
                    <a:pt x="472" y="1437"/>
                  </a:lnTo>
                  <a:lnTo>
                    <a:pt x="461" y="1426"/>
                  </a:lnTo>
                  <a:lnTo>
                    <a:pt x="450" y="1414"/>
                  </a:lnTo>
                  <a:lnTo>
                    <a:pt x="429" y="1389"/>
                  </a:lnTo>
                  <a:lnTo>
                    <a:pt x="408" y="1362"/>
                  </a:lnTo>
                  <a:lnTo>
                    <a:pt x="388" y="1336"/>
                  </a:lnTo>
                  <a:lnTo>
                    <a:pt x="365" y="1312"/>
                  </a:lnTo>
                  <a:lnTo>
                    <a:pt x="355" y="1300"/>
                  </a:lnTo>
                  <a:lnTo>
                    <a:pt x="343" y="1289"/>
                  </a:lnTo>
                  <a:lnTo>
                    <a:pt x="331" y="1280"/>
                  </a:lnTo>
                  <a:lnTo>
                    <a:pt x="319" y="1270"/>
                  </a:lnTo>
                  <a:lnTo>
                    <a:pt x="315" y="1292"/>
                  </a:lnTo>
                  <a:lnTo>
                    <a:pt x="312" y="1313"/>
                  </a:lnTo>
                  <a:lnTo>
                    <a:pt x="311" y="1322"/>
                  </a:lnTo>
                  <a:lnTo>
                    <a:pt x="308" y="1330"/>
                  </a:lnTo>
                  <a:lnTo>
                    <a:pt x="307" y="1333"/>
                  </a:lnTo>
                  <a:lnTo>
                    <a:pt x="305" y="1336"/>
                  </a:lnTo>
                  <a:lnTo>
                    <a:pt x="303" y="1337"/>
                  </a:lnTo>
                  <a:lnTo>
                    <a:pt x="301" y="1337"/>
                  </a:lnTo>
                  <a:lnTo>
                    <a:pt x="279" y="1336"/>
                  </a:lnTo>
                  <a:lnTo>
                    <a:pt x="252" y="1332"/>
                  </a:lnTo>
                  <a:lnTo>
                    <a:pt x="224" y="1325"/>
                  </a:lnTo>
                  <a:lnTo>
                    <a:pt x="197" y="1316"/>
                  </a:lnTo>
                  <a:lnTo>
                    <a:pt x="184" y="1309"/>
                  </a:lnTo>
                  <a:lnTo>
                    <a:pt x="171" y="1304"/>
                  </a:lnTo>
                  <a:lnTo>
                    <a:pt x="159" y="1297"/>
                  </a:lnTo>
                  <a:lnTo>
                    <a:pt x="148" y="1289"/>
                  </a:lnTo>
                  <a:lnTo>
                    <a:pt x="139" y="1281"/>
                  </a:lnTo>
                  <a:lnTo>
                    <a:pt x="131" y="1272"/>
                  </a:lnTo>
                  <a:lnTo>
                    <a:pt x="124" y="1262"/>
                  </a:lnTo>
                  <a:lnTo>
                    <a:pt x="120" y="1253"/>
                  </a:lnTo>
                  <a:lnTo>
                    <a:pt x="115" y="1236"/>
                  </a:lnTo>
                  <a:lnTo>
                    <a:pt x="111" y="1217"/>
                  </a:lnTo>
                  <a:lnTo>
                    <a:pt x="107" y="1201"/>
                  </a:lnTo>
                  <a:lnTo>
                    <a:pt x="104" y="1184"/>
                  </a:lnTo>
                  <a:lnTo>
                    <a:pt x="101" y="1166"/>
                  </a:lnTo>
                  <a:lnTo>
                    <a:pt x="97" y="1149"/>
                  </a:lnTo>
                  <a:lnTo>
                    <a:pt x="92" y="1132"/>
                  </a:lnTo>
                  <a:lnTo>
                    <a:pt x="84" y="1114"/>
                  </a:lnTo>
                  <a:lnTo>
                    <a:pt x="72" y="1088"/>
                  </a:lnTo>
                  <a:lnTo>
                    <a:pt x="59" y="1060"/>
                  </a:lnTo>
                  <a:lnTo>
                    <a:pt x="44" y="1030"/>
                  </a:lnTo>
                  <a:lnTo>
                    <a:pt x="31" y="998"/>
                  </a:lnTo>
                  <a:lnTo>
                    <a:pt x="24" y="982"/>
                  </a:lnTo>
                  <a:lnTo>
                    <a:pt x="19" y="965"/>
                  </a:lnTo>
                  <a:lnTo>
                    <a:pt x="13" y="948"/>
                  </a:lnTo>
                  <a:lnTo>
                    <a:pt x="8" y="929"/>
                  </a:lnTo>
                  <a:lnTo>
                    <a:pt x="5" y="912"/>
                  </a:lnTo>
                  <a:lnTo>
                    <a:pt x="1" y="893"/>
                  </a:lnTo>
                  <a:lnTo>
                    <a:pt x="0" y="874"/>
                  </a:lnTo>
                  <a:lnTo>
                    <a:pt x="0" y="856"/>
                  </a:lnTo>
                  <a:lnTo>
                    <a:pt x="37" y="854"/>
                  </a:lnTo>
                  <a:lnTo>
                    <a:pt x="75" y="853"/>
                  </a:lnTo>
                  <a:lnTo>
                    <a:pt x="113" y="852"/>
                  </a:lnTo>
                  <a:lnTo>
                    <a:pt x="151" y="849"/>
                  </a:lnTo>
                  <a:lnTo>
                    <a:pt x="223" y="842"/>
                  </a:lnTo>
                  <a:lnTo>
                    <a:pt x="288" y="834"/>
                  </a:lnTo>
                  <a:lnTo>
                    <a:pt x="344" y="826"/>
                  </a:lnTo>
                  <a:lnTo>
                    <a:pt x="388" y="820"/>
                  </a:lnTo>
                  <a:lnTo>
                    <a:pt x="417" y="814"/>
                  </a:lnTo>
                  <a:lnTo>
                    <a:pt x="427" y="813"/>
                  </a:lnTo>
                  <a:lnTo>
                    <a:pt x="432" y="812"/>
                  </a:lnTo>
                  <a:lnTo>
                    <a:pt x="437" y="810"/>
                  </a:lnTo>
                  <a:lnTo>
                    <a:pt x="442" y="806"/>
                  </a:lnTo>
                  <a:lnTo>
                    <a:pt x="449" y="800"/>
                  </a:lnTo>
                  <a:lnTo>
                    <a:pt x="456" y="792"/>
                  </a:lnTo>
                  <a:lnTo>
                    <a:pt x="461" y="782"/>
                  </a:lnTo>
                  <a:lnTo>
                    <a:pt x="466" y="770"/>
                  </a:lnTo>
                  <a:lnTo>
                    <a:pt x="472" y="756"/>
                  </a:lnTo>
                  <a:lnTo>
                    <a:pt x="477" y="737"/>
                  </a:lnTo>
                  <a:lnTo>
                    <a:pt x="481" y="717"/>
                  </a:lnTo>
                  <a:lnTo>
                    <a:pt x="484" y="695"/>
                  </a:lnTo>
                  <a:lnTo>
                    <a:pt x="486" y="668"/>
                  </a:lnTo>
                  <a:lnTo>
                    <a:pt x="488" y="639"/>
                  </a:lnTo>
                  <a:lnTo>
                    <a:pt x="486" y="607"/>
                  </a:lnTo>
                  <a:lnTo>
                    <a:pt x="485" y="571"/>
                  </a:lnTo>
                  <a:lnTo>
                    <a:pt x="481" y="531"/>
                  </a:lnTo>
                  <a:lnTo>
                    <a:pt x="513" y="531"/>
                  </a:lnTo>
                  <a:lnTo>
                    <a:pt x="540" y="529"/>
                  </a:lnTo>
                  <a:lnTo>
                    <a:pt x="552" y="527"/>
                  </a:lnTo>
                  <a:lnTo>
                    <a:pt x="562" y="524"/>
                  </a:lnTo>
                  <a:lnTo>
                    <a:pt x="573" y="520"/>
                  </a:lnTo>
                  <a:lnTo>
                    <a:pt x="581" y="515"/>
                  </a:lnTo>
                  <a:lnTo>
                    <a:pt x="589" y="508"/>
                  </a:lnTo>
                  <a:lnTo>
                    <a:pt x="596" y="499"/>
                  </a:lnTo>
                  <a:lnTo>
                    <a:pt x="601" y="488"/>
                  </a:lnTo>
                  <a:lnTo>
                    <a:pt x="606" y="475"/>
                  </a:lnTo>
                  <a:lnTo>
                    <a:pt x="609" y="459"/>
                  </a:lnTo>
                  <a:lnTo>
                    <a:pt x="612" y="439"/>
                  </a:lnTo>
                  <a:lnTo>
                    <a:pt x="613" y="417"/>
                  </a:lnTo>
                  <a:lnTo>
                    <a:pt x="614" y="392"/>
                  </a:lnTo>
                  <a:lnTo>
                    <a:pt x="630" y="391"/>
                  </a:lnTo>
                  <a:lnTo>
                    <a:pt x="646" y="388"/>
                  </a:lnTo>
                  <a:lnTo>
                    <a:pt x="653" y="385"/>
                  </a:lnTo>
                  <a:lnTo>
                    <a:pt x="660" y="381"/>
                  </a:lnTo>
                  <a:lnTo>
                    <a:pt x="665" y="377"/>
                  </a:lnTo>
                  <a:lnTo>
                    <a:pt x="670" y="372"/>
                  </a:lnTo>
                  <a:lnTo>
                    <a:pt x="674" y="364"/>
                  </a:lnTo>
                  <a:lnTo>
                    <a:pt x="678" y="356"/>
                  </a:lnTo>
                  <a:lnTo>
                    <a:pt x="681" y="345"/>
                  </a:lnTo>
                  <a:lnTo>
                    <a:pt x="684" y="333"/>
                  </a:lnTo>
                  <a:lnTo>
                    <a:pt x="685" y="320"/>
                  </a:lnTo>
                  <a:lnTo>
                    <a:pt x="686" y="304"/>
                  </a:lnTo>
                  <a:lnTo>
                    <a:pt x="686" y="285"/>
                  </a:lnTo>
                  <a:lnTo>
                    <a:pt x="686" y="265"/>
                  </a:lnTo>
                  <a:lnTo>
                    <a:pt x="700" y="264"/>
                  </a:lnTo>
                  <a:lnTo>
                    <a:pt x="712" y="261"/>
                  </a:lnTo>
                  <a:lnTo>
                    <a:pt x="721" y="257"/>
                  </a:lnTo>
                  <a:lnTo>
                    <a:pt x="730" y="251"/>
                  </a:lnTo>
                  <a:lnTo>
                    <a:pt x="737" y="244"/>
                  </a:lnTo>
                  <a:lnTo>
                    <a:pt x="742" y="237"/>
                  </a:lnTo>
                  <a:lnTo>
                    <a:pt x="748" y="229"/>
                  </a:lnTo>
                  <a:lnTo>
                    <a:pt x="752" y="221"/>
                  </a:lnTo>
                  <a:lnTo>
                    <a:pt x="758" y="205"/>
                  </a:lnTo>
                  <a:lnTo>
                    <a:pt x="764" y="192"/>
                  </a:lnTo>
                  <a:lnTo>
                    <a:pt x="766" y="187"/>
                  </a:lnTo>
                  <a:lnTo>
                    <a:pt x="769" y="183"/>
                  </a:lnTo>
                  <a:lnTo>
                    <a:pt x="772" y="181"/>
                  </a:lnTo>
                  <a:lnTo>
                    <a:pt x="777" y="181"/>
                  </a:lnTo>
                  <a:lnTo>
                    <a:pt x="796" y="183"/>
                  </a:lnTo>
                  <a:lnTo>
                    <a:pt x="814" y="183"/>
                  </a:lnTo>
                  <a:lnTo>
                    <a:pt x="830" y="179"/>
                  </a:lnTo>
                  <a:lnTo>
                    <a:pt x="846" y="174"/>
                  </a:lnTo>
                  <a:lnTo>
                    <a:pt x="861" y="167"/>
                  </a:lnTo>
                  <a:lnTo>
                    <a:pt x="874" y="158"/>
                  </a:lnTo>
                  <a:lnTo>
                    <a:pt x="886" y="146"/>
                  </a:lnTo>
                  <a:lnTo>
                    <a:pt x="898" y="134"/>
                  </a:lnTo>
                  <a:lnTo>
                    <a:pt x="909" y="120"/>
                  </a:lnTo>
                  <a:lnTo>
                    <a:pt x="920" y="104"/>
                  </a:lnTo>
                  <a:lnTo>
                    <a:pt x="929" y="88"/>
                  </a:lnTo>
                  <a:lnTo>
                    <a:pt x="938" y="72"/>
                  </a:lnTo>
                  <a:lnTo>
                    <a:pt x="957" y="36"/>
                  </a:lnTo>
                  <a:lnTo>
                    <a:pt x="976" y="0"/>
                  </a:lnTo>
                  <a:lnTo>
                    <a:pt x="982" y="4"/>
                  </a:lnTo>
                  <a:lnTo>
                    <a:pt x="1000" y="16"/>
                  </a:lnTo>
                  <a:lnTo>
                    <a:pt x="1025" y="35"/>
                  </a:lnTo>
                  <a:lnTo>
                    <a:pt x="1053" y="59"/>
                  </a:lnTo>
                  <a:lnTo>
                    <a:pt x="1068" y="71"/>
                  </a:lnTo>
                  <a:lnTo>
                    <a:pt x="1082" y="86"/>
                  </a:lnTo>
                  <a:lnTo>
                    <a:pt x="1096" y="100"/>
                  </a:lnTo>
                  <a:lnTo>
                    <a:pt x="1108" y="115"/>
                  </a:lnTo>
                  <a:lnTo>
                    <a:pt x="1117" y="130"/>
                  </a:lnTo>
                  <a:lnTo>
                    <a:pt x="1125" y="146"/>
                  </a:lnTo>
                  <a:lnTo>
                    <a:pt x="1128" y="152"/>
                  </a:lnTo>
                  <a:lnTo>
                    <a:pt x="1130" y="160"/>
                  </a:lnTo>
                  <a:lnTo>
                    <a:pt x="1132" y="168"/>
                  </a:lnTo>
                  <a:lnTo>
                    <a:pt x="1132" y="175"/>
                  </a:lnTo>
                  <a:lnTo>
                    <a:pt x="1132" y="195"/>
                  </a:lnTo>
                  <a:lnTo>
                    <a:pt x="1132" y="209"/>
                  </a:lnTo>
                  <a:lnTo>
                    <a:pt x="1132" y="223"/>
                  </a:lnTo>
                  <a:lnTo>
                    <a:pt x="1132" y="235"/>
                  </a:lnTo>
                  <a:lnTo>
                    <a:pt x="1133" y="241"/>
                  </a:lnTo>
                  <a:lnTo>
                    <a:pt x="1134" y="247"/>
                  </a:lnTo>
                  <a:lnTo>
                    <a:pt x="1137" y="252"/>
                  </a:lnTo>
                  <a:lnTo>
                    <a:pt x="1141" y="256"/>
                  </a:lnTo>
                  <a:lnTo>
                    <a:pt x="1146" y="260"/>
                  </a:lnTo>
                  <a:lnTo>
                    <a:pt x="1152" y="263"/>
                  </a:lnTo>
                  <a:lnTo>
                    <a:pt x="1158" y="265"/>
                  </a:lnTo>
                  <a:lnTo>
                    <a:pt x="1165" y="267"/>
                  </a:lnTo>
                  <a:lnTo>
                    <a:pt x="1182" y="269"/>
                  </a:lnTo>
                  <a:lnTo>
                    <a:pt x="1201" y="271"/>
                  </a:lnTo>
                  <a:lnTo>
                    <a:pt x="1219" y="271"/>
                  </a:lnTo>
                  <a:lnTo>
                    <a:pt x="1239" y="271"/>
                  </a:lnTo>
                  <a:lnTo>
                    <a:pt x="1243" y="339"/>
                  </a:lnTo>
                  <a:lnTo>
                    <a:pt x="1246" y="397"/>
                  </a:lnTo>
                  <a:lnTo>
                    <a:pt x="1247" y="423"/>
                  </a:lnTo>
                  <a:lnTo>
                    <a:pt x="1247" y="447"/>
                  </a:lnTo>
                  <a:lnTo>
                    <a:pt x="1246" y="469"/>
                  </a:lnTo>
                  <a:lnTo>
                    <a:pt x="1242" y="491"/>
                  </a:lnTo>
                  <a:lnTo>
                    <a:pt x="1239" y="500"/>
                  </a:lnTo>
                  <a:lnTo>
                    <a:pt x="1237" y="509"/>
                  </a:lnTo>
                  <a:lnTo>
                    <a:pt x="1233" y="519"/>
                  </a:lnTo>
                  <a:lnTo>
                    <a:pt x="1229" y="528"/>
                  </a:lnTo>
                  <a:lnTo>
                    <a:pt x="1225" y="536"/>
                  </a:lnTo>
                  <a:lnTo>
                    <a:pt x="1218" y="544"/>
                  </a:lnTo>
                  <a:lnTo>
                    <a:pt x="1213" y="552"/>
                  </a:lnTo>
                  <a:lnTo>
                    <a:pt x="1205" y="560"/>
                  </a:lnTo>
                  <a:lnTo>
                    <a:pt x="1197" y="568"/>
                  </a:lnTo>
                  <a:lnTo>
                    <a:pt x="1189" y="575"/>
                  </a:lnTo>
                  <a:lnTo>
                    <a:pt x="1178" y="581"/>
                  </a:lnTo>
                  <a:lnTo>
                    <a:pt x="1168" y="589"/>
                  </a:lnTo>
                  <a:lnTo>
                    <a:pt x="1142" y="601"/>
                  </a:lnTo>
                  <a:lnTo>
                    <a:pt x="1114" y="615"/>
                  </a:lnTo>
                  <a:lnTo>
                    <a:pt x="1090" y="660"/>
                  </a:lnTo>
                  <a:lnTo>
                    <a:pt x="1070" y="697"/>
                  </a:lnTo>
                  <a:lnTo>
                    <a:pt x="1054" y="728"/>
                  </a:lnTo>
                  <a:lnTo>
                    <a:pt x="1042" y="755"/>
                  </a:lnTo>
                  <a:lnTo>
                    <a:pt x="1037" y="766"/>
                  </a:lnTo>
                  <a:lnTo>
                    <a:pt x="1033" y="778"/>
                  </a:lnTo>
                  <a:lnTo>
                    <a:pt x="1030" y="789"/>
                  </a:lnTo>
                  <a:lnTo>
                    <a:pt x="1028" y="801"/>
                  </a:lnTo>
                  <a:lnTo>
                    <a:pt x="1026" y="812"/>
                  </a:lnTo>
                  <a:lnTo>
                    <a:pt x="1026" y="824"/>
                  </a:lnTo>
                  <a:lnTo>
                    <a:pt x="1028" y="836"/>
                  </a:lnTo>
                  <a:lnTo>
                    <a:pt x="1029" y="849"/>
                  </a:lnTo>
                  <a:lnTo>
                    <a:pt x="1028" y="888"/>
                  </a:lnTo>
                  <a:lnTo>
                    <a:pt x="1025" y="937"/>
                  </a:lnTo>
                  <a:lnTo>
                    <a:pt x="1024" y="962"/>
                  </a:lnTo>
                  <a:lnTo>
                    <a:pt x="1024" y="990"/>
                  </a:lnTo>
                  <a:lnTo>
                    <a:pt x="1026" y="1017"/>
                  </a:lnTo>
                  <a:lnTo>
                    <a:pt x="1029" y="1042"/>
                  </a:lnTo>
                  <a:lnTo>
                    <a:pt x="1016" y="1052"/>
                  </a:lnTo>
                  <a:lnTo>
                    <a:pt x="1001" y="1061"/>
                  </a:lnTo>
                  <a:lnTo>
                    <a:pt x="994" y="1066"/>
                  </a:lnTo>
                  <a:lnTo>
                    <a:pt x="986" y="1069"/>
                  </a:lnTo>
                  <a:lnTo>
                    <a:pt x="978" y="1072"/>
                  </a:lnTo>
                  <a:lnTo>
                    <a:pt x="969" y="1072"/>
                  </a:lnTo>
                  <a:lnTo>
                    <a:pt x="962" y="1068"/>
                  </a:lnTo>
                  <a:lnTo>
                    <a:pt x="954" y="1060"/>
                  </a:lnTo>
                  <a:lnTo>
                    <a:pt x="945" y="1049"/>
                  </a:lnTo>
                  <a:lnTo>
                    <a:pt x="938" y="1042"/>
                  </a:lnTo>
                  <a:lnTo>
                    <a:pt x="909" y="1042"/>
                  </a:lnTo>
                  <a:lnTo>
                    <a:pt x="908" y="1062"/>
                  </a:lnTo>
                  <a:lnTo>
                    <a:pt x="906" y="1081"/>
                  </a:lnTo>
                  <a:lnTo>
                    <a:pt x="902" y="1097"/>
                  </a:lnTo>
                  <a:lnTo>
                    <a:pt x="897" y="1113"/>
                  </a:lnTo>
                  <a:lnTo>
                    <a:pt x="886" y="1140"/>
                  </a:lnTo>
                  <a:lnTo>
                    <a:pt x="873" y="1165"/>
                  </a:lnTo>
                  <a:lnTo>
                    <a:pt x="860" y="1189"/>
                  </a:lnTo>
                  <a:lnTo>
                    <a:pt x="848" y="1216"/>
                  </a:lnTo>
                  <a:lnTo>
                    <a:pt x="844" y="1230"/>
                  </a:lnTo>
                  <a:lnTo>
                    <a:pt x="840" y="1246"/>
                  </a:lnTo>
                  <a:lnTo>
                    <a:pt x="837" y="1264"/>
                  </a:lnTo>
                  <a:lnTo>
                    <a:pt x="837" y="1282"/>
                  </a:lnTo>
                  <a:lnTo>
                    <a:pt x="837" y="1289"/>
                  </a:lnTo>
                  <a:lnTo>
                    <a:pt x="838" y="1294"/>
                  </a:lnTo>
                  <a:lnTo>
                    <a:pt x="840" y="1298"/>
                  </a:lnTo>
                  <a:lnTo>
                    <a:pt x="842" y="1302"/>
                  </a:lnTo>
                  <a:lnTo>
                    <a:pt x="848" y="1308"/>
                  </a:lnTo>
                  <a:lnTo>
                    <a:pt x="854" y="1312"/>
                  </a:lnTo>
                  <a:lnTo>
                    <a:pt x="861" y="1316"/>
                  </a:lnTo>
                  <a:lnTo>
                    <a:pt x="868" y="1321"/>
                  </a:lnTo>
                  <a:lnTo>
                    <a:pt x="869" y="1324"/>
                  </a:lnTo>
                  <a:lnTo>
                    <a:pt x="872" y="1328"/>
                  </a:lnTo>
                  <a:lnTo>
                    <a:pt x="872" y="1332"/>
                  </a:lnTo>
                  <a:lnTo>
                    <a:pt x="873" y="1337"/>
                  </a:lnTo>
                  <a:lnTo>
                    <a:pt x="872" y="1345"/>
                  </a:lnTo>
                  <a:lnTo>
                    <a:pt x="870" y="1350"/>
                  </a:lnTo>
                  <a:lnTo>
                    <a:pt x="869" y="1355"/>
                  </a:lnTo>
                  <a:lnTo>
                    <a:pt x="866" y="1359"/>
                  </a:lnTo>
                  <a:lnTo>
                    <a:pt x="860" y="1367"/>
                  </a:lnTo>
                  <a:lnTo>
                    <a:pt x="850" y="1373"/>
                  </a:lnTo>
                  <a:lnTo>
                    <a:pt x="842" y="1378"/>
                  </a:lnTo>
                  <a:lnTo>
                    <a:pt x="834" y="1383"/>
                  </a:lnTo>
                  <a:lnTo>
                    <a:pt x="832" y="1387"/>
                  </a:lnTo>
                  <a:lnTo>
                    <a:pt x="828" y="1391"/>
                  </a:lnTo>
                  <a:lnTo>
                    <a:pt x="826" y="1397"/>
                  </a:lnTo>
                  <a:lnTo>
                    <a:pt x="825" y="1403"/>
                  </a:lnTo>
                  <a:lnTo>
                    <a:pt x="822" y="1418"/>
                  </a:lnTo>
                  <a:lnTo>
                    <a:pt x="818" y="1431"/>
                  </a:lnTo>
                  <a:lnTo>
                    <a:pt x="814" y="1443"/>
                  </a:lnTo>
                  <a:lnTo>
                    <a:pt x="809" y="1455"/>
                  </a:lnTo>
                  <a:lnTo>
                    <a:pt x="798" y="1478"/>
                  </a:lnTo>
                  <a:lnTo>
                    <a:pt x="785" y="1499"/>
                  </a:lnTo>
                  <a:lnTo>
                    <a:pt x="757" y="1538"/>
                  </a:lnTo>
                  <a:lnTo>
                    <a:pt x="728" y="1578"/>
                  </a:lnTo>
                  <a:lnTo>
                    <a:pt x="722" y="157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04" name="Freeform 100"/>
            <p:cNvSpPr>
              <a:spLocks/>
            </p:cNvSpPr>
            <p:nvPr/>
          </p:nvSpPr>
          <p:spPr bwMode="auto">
            <a:xfrm>
              <a:off x="1392559" y="4408488"/>
              <a:ext cx="309563" cy="223837"/>
            </a:xfrm>
            <a:custGeom>
              <a:avLst/>
              <a:gdLst/>
              <a:ahLst/>
              <a:cxnLst>
                <a:cxn ang="0">
                  <a:pos x="171" y="35"/>
                </a:cxn>
                <a:cxn ang="0">
                  <a:pos x="143" y="71"/>
                </a:cxn>
                <a:cxn ang="0">
                  <a:pos x="107" y="103"/>
                </a:cxn>
                <a:cxn ang="0">
                  <a:pos x="24" y="147"/>
                </a:cxn>
                <a:cxn ang="0">
                  <a:pos x="4" y="171"/>
                </a:cxn>
                <a:cxn ang="0">
                  <a:pos x="23" y="200"/>
                </a:cxn>
                <a:cxn ang="0">
                  <a:pos x="64" y="233"/>
                </a:cxn>
                <a:cxn ang="0">
                  <a:pos x="84" y="241"/>
                </a:cxn>
                <a:cxn ang="0">
                  <a:pos x="107" y="239"/>
                </a:cxn>
                <a:cxn ang="0">
                  <a:pos x="126" y="229"/>
                </a:cxn>
                <a:cxn ang="0">
                  <a:pos x="144" y="224"/>
                </a:cxn>
                <a:cxn ang="0">
                  <a:pos x="167" y="228"/>
                </a:cxn>
                <a:cxn ang="0">
                  <a:pos x="182" y="240"/>
                </a:cxn>
                <a:cxn ang="0">
                  <a:pos x="192" y="265"/>
                </a:cxn>
                <a:cxn ang="0">
                  <a:pos x="200" y="313"/>
                </a:cxn>
                <a:cxn ang="0">
                  <a:pos x="207" y="363"/>
                </a:cxn>
                <a:cxn ang="0">
                  <a:pos x="216" y="388"/>
                </a:cxn>
                <a:cxn ang="0">
                  <a:pos x="228" y="400"/>
                </a:cxn>
                <a:cxn ang="0">
                  <a:pos x="247" y="404"/>
                </a:cxn>
                <a:cxn ang="0">
                  <a:pos x="259" y="400"/>
                </a:cxn>
                <a:cxn ang="0">
                  <a:pos x="275" y="383"/>
                </a:cxn>
                <a:cxn ang="0">
                  <a:pos x="292" y="365"/>
                </a:cxn>
                <a:cxn ang="0">
                  <a:pos x="307" y="361"/>
                </a:cxn>
                <a:cxn ang="0">
                  <a:pos x="335" y="368"/>
                </a:cxn>
                <a:cxn ang="0">
                  <a:pos x="371" y="399"/>
                </a:cxn>
                <a:cxn ang="0">
                  <a:pos x="407" y="431"/>
                </a:cxn>
                <a:cxn ang="0">
                  <a:pos x="434" y="440"/>
                </a:cxn>
                <a:cxn ang="0">
                  <a:pos x="463" y="438"/>
                </a:cxn>
                <a:cxn ang="0">
                  <a:pos x="462" y="436"/>
                </a:cxn>
                <a:cxn ang="0">
                  <a:pos x="470" y="435"/>
                </a:cxn>
                <a:cxn ang="0">
                  <a:pos x="503" y="444"/>
                </a:cxn>
                <a:cxn ang="0">
                  <a:pos x="533" y="460"/>
                </a:cxn>
                <a:cxn ang="0">
                  <a:pos x="568" y="464"/>
                </a:cxn>
                <a:cxn ang="0">
                  <a:pos x="584" y="454"/>
                </a:cxn>
                <a:cxn ang="0">
                  <a:pos x="595" y="436"/>
                </a:cxn>
                <a:cxn ang="0">
                  <a:pos x="601" y="396"/>
                </a:cxn>
                <a:cxn ang="0">
                  <a:pos x="603" y="359"/>
                </a:cxn>
                <a:cxn ang="0">
                  <a:pos x="608" y="351"/>
                </a:cxn>
                <a:cxn ang="0">
                  <a:pos x="627" y="336"/>
                </a:cxn>
                <a:cxn ang="0">
                  <a:pos x="639" y="320"/>
                </a:cxn>
                <a:cxn ang="0">
                  <a:pos x="631" y="303"/>
                </a:cxn>
                <a:cxn ang="0">
                  <a:pos x="619" y="293"/>
                </a:cxn>
                <a:cxn ang="0">
                  <a:pos x="605" y="275"/>
                </a:cxn>
                <a:cxn ang="0">
                  <a:pos x="564" y="233"/>
                </a:cxn>
                <a:cxn ang="0">
                  <a:pos x="544" y="219"/>
                </a:cxn>
                <a:cxn ang="0">
                  <a:pos x="513" y="228"/>
                </a:cxn>
                <a:cxn ang="0">
                  <a:pos x="452" y="263"/>
                </a:cxn>
                <a:cxn ang="0">
                  <a:pos x="415" y="281"/>
                </a:cxn>
                <a:cxn ang="0">
                  <a:pos x="391" y="283"/>
                </a:cxn>
                <a:cxn ang="0">
                  <a:pos x="372" y="276"/>
                </a:cxn>
                <a:cxn ang="0">
                  <a:pos x="356" y="263"/>
                </a:cxn>
                <a:cxn ang="0">
                  <a:pos x="336" y="231"/>
                </a:cxn>
                <a:cxn ang="0">
                  <a:pos x="331" y="183"/>
                </a:cxn>
                <a:cxn ang="0">
                  <a:pos x="324" y="113"/>
                </a:cxn>
                <a:cxn ang="0">
                  <a:pos x="314" y="81"/>
                </a:cxn>
                <a:cxn ang="0">
                  <a:pos x="295" y="60"/>
                </a:cxn>
                <a:cxn ang="0">
                  <a:pos x="267" y="55"/>
                </a:cxn>
                <a:cxn ang="0">
                  <a:pos x="220" y="44"/>
                </a:cxn>
                <a:cxn ang="0">
                  <a:pos x="199" y="32"/>
                </a:cxn>
                <a:cxn ang="0">
                  <a:pos x="184" y="15"/>
                </a:cxn>
                <a:cxn ang="0">
                  <a:pos x="182" y="7"/>
                </a:cxn>
              </a:cxnLst>
              <a:rect l="0" t="0" r="r" b="b"/>
              <a:pathLst>
                <a:path w="639" h="464">
                  <a:moveTo>
                    <a:pt x="182" y="7"/>
                  </a:moveTo>
                  <a:lnTo>
                    <a:pt x="176" y="21"/>
                  </a:lnTo>
                  <a:lnTo>
                    <a:pt x="171" y="35"/>
                  </a:lnTo>
                  <a:lnTo>
                    <a:pt x="163" y="48"/>
                  </a:lnTo>
                  <a:lnTo>
                    <a:pt x="154" y="60"/>
                  </a:lnTo>
                  <a:lnTo>
                    <a:pt x="143" y="71"/>
                  </a:lnTo>
                  <a:lnTo>
                    <a:pt x="132" y="83"/>
                  </a:lnTo>
                  <a:lnTo>
                    <a:pt x="119" y="92"/>
                  </a:lnTo>
                  <a:lnTo>
                    <a:pt x="107" y="103"/>
                  </a:lnTo>
                  <a:lnTo>
                    <a:pt x="79" y="120"/>
                  </a:lnTo>
                  <a:lnTo>
                    <a:pt x="51" y="135"/>
                  </a:lnTo>
                  <a:lnTo>
                    <a:pt x="24" y="147"/>
                  </a:lnTo>
                  <a:lnTo>
                    <a:pt x="0" y="157"/>
                  </a:lnTo>
                  <a:lnTo>
                    <a:pt x="2" y="164"/>
                  </a:lnTo>
                  <a:lnTo>
                    <a:pt x="4" y="171"/>
                  </a:lnTo>
                  <a:lnTo>
                    <a:pt x="8" y="179"/>
                  </a:lnTo>
                  <a:lnTo>
                    <a:pt x="12" y="185"/>
                  </a:lnTo>
                  <a:lnTo>
                    <a:pt x="23" y="200"/>
                  </a:lnTo>
                  <a:lnTo>
                    <a:pt x="36" y="213"/>
                  </a:lnTo>
                  <a:lnTo>
                    <a:pt x="51" y="224"/>
                  </a:lnTo>
                  <a:lnTo>
                    <a:pt x="64" y="233"/>
                  </a:lnTo>
                  <a:lnTo>
                    <a:pt x="72" y="237"/>
                  </a:lnTo>
                  <a:lnTo>
                    <a:pt x="79" y="239"/>
                  </a:lnTo>
                  <a:lnTo>
                    <a:pt x="84" y="241"/>
                  </a:lnTo>
                  <a:lnTo>
                    <a:pt x="91" y="241"/>
                  </a:lnTo>
                  <a:lnTo>
                    <a:pt x="99" y="241"/>
                  </a:lnTo>
                  <a:lnTo>
                    <a:pt x="107" y="239"/>
                  </a:lnTo>
                  <a:lnTo>
                    <a:pt x="114" y="236"/>
                  </a:lnTo>
                  <a:lnTo>
                    <a:pt x="120" y="232"/>
                  </a:lnTo>
                  <a:lnTo>
                    <a:pt x="126" y="229"/>
                  </a:lnTo>
                  <a:lnTo>
                    <a:pt x="132" y="227"/>
                  </a:lnTo>
                  <a:lnTo>
                    <a:pt x="139" y="224"/>
                  </a:lnTo>
                  <a:lnTo>
                    <a:pt x="144" y="224"/>
                  </a:lnTo>
                  <a:lnTo>
                    <a:pt x="152" y="224"/>
                  </a:lnTo>
                  <a:lnTo>
                    <a:pt x="160" y="225"/>
                  </a:lnTo>
                  <a:lnTo>
                    <a:pt x="167" y="228"/>
                  </a:lnTo>
                  <a:lnTo>
                    <a:pt x="172" y="231"/>
                  </a:lnTo>
                  <a:lnTo>
                    <a:pt x="176" y="235"/>
                  </a:lnTo>
                  <a:lnTo>
                    <a:pt x="182" y="240"/>
                  </a:lnTo>
                  <a:lnTo>
                    <a:pt x="184" y="245"/>
                  </a:lnTo>
                  <a:lnTo>
                    <a:pt x="188" y="252"/>
                  </a:lnTo>
                  <a:lnTo>
                    <a:pt x="192" y="265"/>
                  </a:lnTo>
                  <a:lnTo>
                    <a:pt x="196" y="280"/>
                  </a:lnTo>
                  <a:lnTo>
                    <a:pt x="199" y="297"/>
                  </a:lnTo>
                  <a:lnTo>
                    <a:pt x="200" y="313"/>
                  </a:lnTo>
                  <a:lnTo>
                    <a:pt x="202" y="331"/>
                  </a:lnTo>
                  <a:lnTo>
                    <a:pt x="204" y="347"/>
                  </a:lnTo>
                  <a:lnTo>
                    <a:pt x="207" y="363"/>
                  </a:lnTo>
                  <a:lnTo>
                    <a:pt x="211" y="376"/>
                  </a:lnTo>
                  <a:lnTo>
                    <a:pt x="214" y="381"/>
                  </a:lnTo>
                  <a:lnTo>
                    <a:pt x="216" y="388"/>
                  </a:lnTo>
                  <a:lnTo>
                    <a:pt x="220" y="392"/>
                  </a:lnTo>
                  <a:lnTo>
                    <a:pt x="224" y="396"/>
                  </a:lnTo>
                  <a:lnTo>
                    <a:pt x="228" y="400"/>
                  </a:lnTo>
                  <a:lnTo>
                    <a:pt x="234" y="403"/>
                  </a:lnTo>
                  <a:lnTo>
                    <a:pt x="240" y="404"/>
                  </a:lnTo>
                  <a:lnTo>
                    <a:pt x="247" y="404"/>
                  </a:lnTo>
                  <a:lnTo>
                    <a:pt x="251" y="404"/>
                  </a:lnTo>
                  <a:lnTo>
                    <a:pt x="255" y="403"/>
                  </a:lnTo>
                  <a:lnTo>
                    <a:pt x="259" y="400"/>
                  </a:lnTo>
                  <a:lnTo>
                    <a:pt x="263" y="397"/>
                  </a:lnTo>
                  <a:lnTo>
                    <a:pt x="270" y="391"/>
                  </a:lnTo>
                  <a:lnTo>
                    <a:pt x="275" y="383"/>
                  </a:lnTo>
                  <a:lnTo>
                    <a:pt x="282" y="375"/>
                  </a:lnTo>
                  <a:lnTo>
                    <a:pt x="288" y="368"/>
                  </a:lnTo>
                  <a:lnTo>
                    <a:pt x="292" y="365"/>
                  </a:lnTo>
                  <a:lnTo>
                    <a:pt x="298" y="364"/>
                  </a:lnTo>
                  <a:lnTo>
                    <a:pt x="302" y="363"/>
                  </a:lnTo>
                  <a:lnTo>
                    <a:pt x="307" y="361"/>
                  </a:lnTo>
                  <a:lnTo>
                    <a:pt x="318" y="363"/>
                  </a:lnTo>
                  <a:lnTo>
                    <a:pt x="327" y="365"/>
                  </a:lnTo>
                  <a:lnTo>
                    <a:pt x="335" y="368"/>
                  </a:lnTo>
                  <a:lnTo>
                    <a:pt x="343" y="373"/>
                  </a:lnTo>
                  <a:lnTo>
                    <a:pt x="358" y="385"/>
                  </a:lnTo>
                  <a:lnTo>
                    <a:pt x="371" y="399"/>
                  </a:lnTo>
                  <a:lnTo>
                    <a:pt x="384" y="413"/>
                  </a:lnTo>
                  <a:lnTo>
                    <a:pt x="399" y="425"/>
                  </a:lnTo>
                  <a:lnTo>
                    <a:pt x="407" y="431"/>
                  </a:lnTo>
                  <a:lnTo>
                    <a:pt x="415" y="435"/>
                  </a:lnTo>
                  <a:lnTo>
                    <a:pt x="424" y="438"/>
                  </a:lnTo>
                  <a:lnTo>
                    <a:pt x="434" y="440"/>
                  </a:lnTo>
                  <a:lnTo>
                    <a:pt x="458" y="440"/>
                  </a:lnTo>
                  <a:lnTo>
                    <a:pt x="462" y="440"/>
                  </a:lnTo>
                  <a:lnTo>
                    <a:pt x="463" y="438"/>
                  </a:lnTo>
                  <a:lnTo>
                    <a:pt x="463" y="438"/>
                  </a:lnTo>
                  <a:lnTo>
                    <a:pt x="462" y="437"/>
                  </a:lnTo>
                  <a:lnTo>
                    <a:pt x="462" y="436"/>
                  </a:lnTo>
                  <a:lnTo>
                    <a:pt x="463" y="435"/>
                  </a:lnTo>
                  <a:lnTo>
                    <a:pt x="466" y="435"/>
                  </a:lnTo>
                  <a:lnTo>
                    <a:pt x="470" y="435"/>
                  </a:lnTo>
                  <a:lnTo>
                    <a:pt x="483" y="436"/>
                  </a:lnTo>
                  <a:lnTo>
                    <a:pt x="493" y="438"/>
                  </a:lnTo>
                  <a:lnTo>
                    <a:pt x="503" y="444"/>
                  </a:lnTo>
                  <a:lnTo>
                    <a:pt x="513" y="449"/>
                  </a:lnTo>
                  <a:lnTo>
                    <a:pt x="523" y="454"/>
                  </a:lnTo>
                  <a:lnTo>
                    <a:pt x="533" y="460"/>
                  </a:lnTo>
                  <a:lnTo>
                    <a:pt x="545" y="462"/>
                  </a:lnTo>
                  <a:lnTo>
                    <a:pt x="560" y="464"/>
                  </a:lnTo>
                  <a:lnTo>
                    <a:pt x="568" y="464"/>
                  </a:lnTo>
                  <a:lnTo>
                    <a:pt x="575" y="461"/>
                  </a:lnTo>
                  <a:lnTo>
                    <a:pt x="580" y="458"/>
                  </a:lnTo>
                  <a:lnTo>
                    <a:pt x="584" y="454"/>
                  </a:lnTo>
                  <a:lnTo>
                    <a:pt x="589" y="449"/>
                  </a:lnTo>
                  <a:lnTo>
                    <a:pt x="592" y="442"/>
                  </a:lnTo>
                  <a:lnTo>
                    <a:pt x="595" y="436"/>
                  </a:lnTo>
                  <a:lnTo>
                    <a:pt x="597" y="429"/>
                  </a:lnTo>
                  <a:lnTo>
                    <a:pt x="600" y="413"/>
                  </a:lnTo>
                  <a:lnTo>
                    <a:pt x="601" y="396"/>
                  </a:lnTo>
                  <a:lnTo>
                    <a:pt x="603" y="379"/>
                  </a:lnTo>
                  <a:lnTo>
                    <a:pt x="603" y="361"/>
                  </a:lnTo>
                  <a:lnTo>
                    <a:pt x="603" y="359"/>
                  </a:lnTo>
                  <a:lnTo>
                    <a:pt x="604" y="356"/>
                  </a:lnTo>
                  <a:lnTo>
                    <a:pt x="605" y="353"/>
                  </a:lnTo>
                  <a:lnTo>
                    <a:pt x="608" y="351"/>
                  </a:lnTo>
                  <a:lnTo>
                    <a:pt x="613" y="345"/>
                  </a:lnTo>
                  <a:lnTo>
                    <a:pt x="620" y="341"/>
                  </a:lnTo>
                  <a:lnTo>
                    <a:pt x="627" y="336"/>
                  </a:lnTo>
                  <a:lnTo>
                    <a:pt x="633" y="332"/>
                  </a:lnTo>
                  <a:lnTo>
                    <a:pt x="637" y="327"/>
                  </a:lnTo>
                  <a:lnTo>
                    <a:pt x="639" y="320"/>
                  </a:lnTo>
                  <a:lnTo>
                    <a:pt x="637" y="312"/>
                  </a:lnTo>
                  <a:lnTo>
                    <a:pt x="635" y="307"/>
                  </a:lnTo>
                  <a:lnTo>
                    <a:pt x="631" y="303"/>
                  </a:lnTo>
                  <a:lnTo>
                    <a:pt x="627" y="300"/>
                  </a:lnTo>
                  <a:lnTo>
                    <a:pt x="623" y="296"/>
                  </a:lnTo>
                  <a:lnTo>
                    <a:pt x="619" y="293"/>
                  </a:lnTo>
                  <a:lnTo>
                    <a:pt x="616" y="289"/>
                  </a:lnTo>
                  <a:lnTo>
                    <a:pt x="615" y="284"/>
                  </a:lnTo>
                  <a:lnTo>
                    <a:pt x="605" y="275"/>
                  </a:lnTo>
                  <a:lnTo>
                    <a:pt x="584" y="255"/>
                  </a:lnTo>
                  <a:lnTo>
                    <a:pt x="573" y="244"/>
                  </a:lnTo>
                  <a:lnTo>
                    <a:pt x="564" y="233"/>
                  </a:lnTo>
                  <a:lnTo>
                    <a:pt x="557" y="224"/>
                  </a:lnTo>
                  <a:lnTo>
                    <a:pt x="555" y="217"/>
                  </a:lnTo>
                  <a:lnTo>
                    <a:pt x="544" y="219"/>
                  </a:lnTo>
                  <a:lnTo>
                    <a:pt x="533" y="220"/>
                  </a:lnTo>
                  <a:lnTo>
                    <a:pt x="523" y="224"/>
                  </a:lnTo>
                  <a:lnTo>
                    <a:pt x="513" y="228"/>
                  </a:lnTo>
                  <a:lnTo>
                    <a:pt x="492" y="239"/>
                  </a:lnTo>
                  <a:lnTo>
                    <a:pt x="472" y="251"/>
                  </a:lnTo>
                  <a:lnTo>
                    <a:pt x="452" y="263"/>
                  </a:lnTo>
                  <a:lnTo>
                    <a:pt x="432" y="273"/>
                  </a:lnTo>
                  <a:lnTo>
                    <a:pt x="423" y="277"/>
                  </a:lnTo>
                  <a:lnTo>
                    <a:pt x="415" y="281"/>
                  </a:lnTo>
                  <a:lnTo>
                    <a:pt x="406" y="283"/>
                  </a:lnTo>
                  <a:lnTo>
                    <a:pt x="398" y="284"/>
                  </a:lnTo>
                  <a:lnTo>
                    <a:pt x="391" y="283"/>
                  </a:lnTo>
                  <a:lnTo>
                    <a:pt x="384" y="281"/>
                  </a:lnTo>
                  <a:lnTo>
                    <a:pt x="379" y="280"/>
                  </a:lnTo>
                  <a:lnTo>
                    <a:pt x="372" y="276"/>
                  </a:lnTo>
                  <a:lnTo>
                    <a:pt x="367" y="272"/>
                  </a:lnTo>
                  <a:lnTo>
                    <a:pt x="362" y="268"/>
                  </a:lnTo>
                  <a:lnTo>
                    <a:pt x="356" y="263"/>
                  </a:lnTo>
                  <a:lnTo>
                    <a:pt x="351" y="257"/>
                  </a:lnTo>
                  <a:lnTo>
                    <a:pt x="343" y="244"/>
                  </a:lnTo>
                  <a:lnTo>
                    <a:pt x="336" y="231"/>
                  </a:lnTo>
                  <a:lnTo>
                    <a:pt x="334" y="215"/>
                  </a:lnTo>
                  <a:lnTo>
                    <a:pt x="332" y="199"/>
                  </a:lnTo>
                  <a:lnTo>
                    <a:pt x="331" y="183"/>
                  </a:lnTo>
                  <a:lnTo>
                    <a:pt x="331" y="161"/>
                  </a:lnTo>
                  <a:lnTo>
                    <a:pt x="328" y="137"/>
                  </a:lnTo>
                  <a:lnTo>
                    <a:pt x="324" y="113"/>
                  </a:lnTo>
                  <a:lnTo>
                    <a:pt x="322" y="101"/>
                  </a:lnTo>
                  <a:lnTo>
                    <a:pt x="319" y="91"/>
                  </a:lnTo>
                  <a:lnTo>
                    <a:pt x="314" y="81"/>
                  </a:lnTo>
                  <a:lnTo>
                    <a:pt x="308" y="72"/>
                  </a:lnTo>
                  <a:lnTo>
                    <a:pt x="303" y="65"/>
                  </a:lnTo>
                  <a:lnTo>
                    <a:pt x="295" y="60"/>
                  </a:lnTo>
                  <a:lnTo>
                    <a:pt x="287" y="56"/>
                  </a:lnTo>
                  <a:lnTo>
                    <a:pt x="278" y="55"/>
                  </a:lnTo>
                  <a:lnTo>
                    <a:pt x="267" y="55"/>
                  </a:lnTo>
                  <a:lnTo>
                    <a:pt x="252" y="52"/>
                  </a:lnTo>
                  <a:lnTo>
                    <a:pt x="236" y="49"/>
                  </a:lnTo>
                  <a:lnTo>
                    <a:pt x="220" y="44"/>
                  </a:lnTo>
                  <a:lnTo>
                    <a:pt x="212" y="40"/>
                  </a:lnTo>
                  <a:lnTo>
                    <a:pt x="206" y="36"/>
                  </a:lnTo>
                  <a:lnTo>
                    <a:pt x="199" y="32"/>
                  </a:lnTo>
                  <a:lnTo>
                    <a:pt x="192" y="27"/>
                  </a:lnTo>
                  <a:lnTo>
                    <a:pt x="188" y="21"/>
                  </a:lnTo>
                  <a:lnTo>
                    <a:pt x="184" y="15"/>
                  </a:lnTo>
                  <a:lnTo>
                    <a:pt x="182" y="8"/>
                  </a:lnTo>
                  <a:lnTo>
                    <a:pt x="182" y="0"/>
                  </a:lnTo>
                  <a:lnTo>
                    <a:pt x="182" y="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05" name="Freeform 101"/>
            <p:cNvSpPr>
              <a:spLocks/>
            </p:cNvSpPr>
            <p:nvPr/>
          </p:nvSpPr>
          <p:spPr bwMode="auto">
            <a:xfrm>
              <a:off x="4018284" y="5746750"/>
              <a:ext cx="423863" cy="419100"/>
            </a:xfrm>
            <a:custGeom>
              <a:avLst/>
              <a:gdLst/>
              <a:ahLst/>
              <a:cxnLst>
                <a:cxn ang="0">
                  <a:pos x="3" y="528"/>
                </a:cxn>
                <a:cxn ang="0">
                  <a:pos x="28" y="565"/>
                </a:cxn>
                <a:cxn ang="0">
                  <a:pos x="111" y="603"/>
                </a:cxn>
                <a:cxn ang="0">
                  <a:pos x="116" y="657"/>
                </a:cxn>
                <a:cxn ang="0">
                  <a:pos x="129" y="713"/>
                </a:cxn>
                <a:cxn ang="0">
                  <a:pos x="181" y="735"/>
                </a:cxn>
                <a:cxn ang="0">
                  <a:pos x="244" y="759"/>
                </a:cxn>
                <a:cxn ang="0">
                  <a:pos x="275" y="782"/>
                </a:cxn>
                <a:cxn ang="0">
                  <a:pos x="315" y="773"/>
                </a:cxn>
                <a:cxn ang="0">
                  <a:pos x="369" y="719"/>
                </a:cxn>
                <a:cxn ang="0">
                  <a:pos x="397" y="749"/>
                </a:cxn>
                <a:cxn ang="0">
                  <a:pos x="400" y="801"/>
                </a:cxn>
                <a:cxn ang="0">
                  <a:pos x="433" y="841"/>
                </a:cxn>
                <a:cxn ang="0">
                  <a:pos x="510" y="862"/>
                </a:cxn>
                <a:cxn ang="0">
                  <a:pos x="565" y="842"/>
                </a:cxn>
                <a:cxn ang="0">
                  <a:pos x="592" y="802"/>
                </a:cxn>
                <a:cxn ang="0">
                  <a:pos x="613" y="777"/>
                </a:cxn>
                <a:cxn ang="0">
                  <a:pos x="692" y="759"/>
                </a:cxn>
                <a:cxn ang="0">
                  <a:pos x="770" y="746"/>
                </a:cxn>
                <a:cxn ang="0">
                  <a:pos x="844" y="674"/>
                </a:cxn>
                <a:cxn ang="0">
                  <a:pos x="813" y="609"/>
                </a:cxn>
                <a:cxn ang="0">
                  <a:pos x="826" y="568"/>
                </a:cxn>
                <a:cxn ang="0">
                  <a:pos x="877" y="541"/>
                </a:cxn>
                <a:cxn ang="0">
                  <a:pos x="842" y="488"/>
                </a:cxn>
                <a:cxn ang="0">
                  <a:pos x="769" y="422"/>
                </a:cxn>
                <a:cxn ang="0">
                  <a:pos x="746" y="353"/>
                </a:cxn>
                <a:cxn ang="0">
                  <a:pos x="722" y="293"/>
                </a:cxn>
                <a:cxn ang="0">
                  <a:pos x="678" y="325"/>
                </a:cxn>
                <a:cxn ang="0">
                  <a:pos x="652" y="330"/>
                </a:cxn>
                <a:cxn ang="0">
                  <a:pos x="597" y="309"/>
                </a:cxn>
                <a:cxn ang="0">
                  <a:pos x="590" y="282"/>
                </a:cxn>
                <a:cxn ang="0">
                  <a:pos x="598" y="222"/>
                </a:cxn>
                <a:cxn ang="0">
                  <a:pos x="584" y="205"/>
                </a:cxn>
                <a:cxn ang="0">
                  <a:pos x="594" y="165"/>
                </a:cxn>
                <a:cxn ang="0">
                  <a:pos x="637" y="122"/>
                </a:cxn>
                <a:cxn ang="0">
                  <a:pos x="666" y="78"/>
                </a:cxn>
                <a:cxn ang="0">
                  <a:pos x="649" y="53"/>
                </a:cxn>
                <a:cxn ang="0">
                  <a:pos x="557" y="30"/>
                </a:cxn>
                <a:cxn ang="0">
                  <a:pos x="480" y="9"/>
                </a:cxn>
                <a:cxn ang="0">
                  <a:pos x="430" y="10"/>
                </a:cxn>
                <a:cxn ang="0">
                  <a:pos x="399" y="37"/>
                </a:cxn>
                <a:cxn ang="0">
                  <a:pos x="400" y="70"/>
                </a:cxn>
                <a:cxn ang="0">
                  <a:pos x="422" y="113"/>
                </a:cxn>
                <a:cxn ang="0">
                  <a:pos x="417" y="164"/>
                </a:cxn>
                <a:cxn ang="0">
                  <a:pos x="367" y="188"/>
                </a:cxn>
                <a:cxn ang="0">
                  <a:pos x="243" y="209"/>
                </a:cxn>
                <a:cxn ang="0">
                  <a:pos x="168" y="249"/>
                </a:cxn>
                <a:cxn ang="0">
                  <a:pos x="17" y="328"/>
                </a:cxn>
                <a:cxn ang="0">
                  <a:pos x="0" y="349"/>
                </a:cxn>
                <a:cxn ang="0">
                  <a:pos x="23" y="378"/>
                </a:cxn>
                <a:cxn ang="0">
                  <a:pos x="69" y="409"/>
                </a:cxn>
                <a:cxn ang="0">
                  <a:pos x="68" y="444"/>
                </a:cxn>
                <a:cxn ang="0">
                  <a:pos x="45" y="461"/>
                </a:cxn>
                <a:cxn ang="0">
                  <a:pos x="9" y="482"/>
                </a:cxn>
              </a:cxnLst>
              <a:rect l="0" t="0" r="r" b="b"/>
              <a:pathLst>
                <a:path w="878" h="863">
                  <a:moveTo>
                    <a:pt x="12" y="482"/>
                  </a:moveTo>
                  <a:lnTo>
                    <a:pt x="5" y="494"/>
                  </a:lnTo>
                  <a:lnTo>
                    <a:pt x="0" y="506"/>
                  </a:lnTo>
                  <a:lnTo>
                    <a:pt x="0" y="518"/>
                  </a:lnTo>
                  <a:lnTo>
                    <a:pt x="3" y="528"/>
                  </a:lnTo>
                  <a:lnTo>
                    <a:pt x="5" y="537"/>
                  </a:lnTo>
                  <a:lnTo>
                    <a:pt x="9" y="545"/>
                  </a:lnTo>
                  <a:lnTo>
                    <a:pt x="15" y="553"/>
                  </a:lnTo>
                  <a:lnTo>
                    <a:pt x="21" y="558"/>
                  </a:lnTo>
                  <a:lnTo>
                    <a:pt x="28" y="565"/>
                  </a:lnTo>
                  <a:lnTo>
                    <a:pt x="35" y="569"/>
                  </a:lnTo>
                  <a:lnTo>
                    <a:pt x="68" y="584"/>
                  </a:lnTo>
                  <a:lnTo>
                    <a:pt x="103" y="595"/>
                  </a:lnTo>
                  <a:lnTo>
                    <a:pt x="107" y="599"/>
                  </a:lnTo>
                  <a:lnTo>
                    <a:pt x="111" y="603"/>
                  </a:lnTo>
                  <a:lnTo>
                    <a:pt x="115" y="607"/>
                  </a:lnTo>
                  <a:lnTo>
                    <a:pt x="116" y="613"/>
                  </a:lnTo>
                  <a:lnTo>
                    <a:pt x="119" y="623"/>
                  </a:lnTo>
                  <a:lnTo>
                    <a:pt x="120" y="634"/>
                  </a:lnTo>
                  <a:lnTo>
                    <a:pt x="116" y="657"/>
                  </a:lnTo>
                  <a:lnTo>
                    <a:pt x="115" y="681"/>
                  </a:lnTo>
                  <a:lnTo>
                    <a:pt x="116" y="690"/>
                  </a:lnTo>
                  <a:lnTo>
                    <a:pt x="119" y="698"/>
                  </a:lnTo>
                  <a:lnTo>
                    <a:pt x="124" y="706"/>
                  </a:lnTo>
                  <a:lnTo>
                    <a:pt x="129" y="713"/>
                  </a:lnTo>
                  <a:lnTo>
                    <a:pt x="136" y="718"/>
                  </a:lnTo>
                  <a:lnTo>
                    <a:pt x="144" y="723"/>
                  </a:lnTo>
                  <a:lnTo>
                    <a:pt x="152" y="727"/>
                  </a:lnTo>
                  <a:lnTo>
                    <a:pt x="161" y="731"/>
                  </a:lnTo>
                  <a:lnTo>
                    <a:pt x="181" y="735"/>
                  </a:lnTo>
                  <a:lnTo>
                    <a:pt x="201" y="739"/>
                  </a:lnTo>
                  <a:lnTo>
                    <a:pt x="221" y="741"/>
                  </a:lnTo>
                  <a:lnTo>
                    <a:pt x="240" y="741"/>
                  </a:lnTo>
                  <a:lnTo>
                    <a:pt x="241" y="751"/>
                  </a:lnTo>
                  <a:lnTo>
                    <a:pt x="244" y="759"/>
                  </a:lnTo>
                  <a:lnTo>
                    <a:pt x="248" y="767"/>
                  </a:lnTo>
                  <a:lnTo>
                    <a:pt x="252" y="773"/>
                  </a:lnTo>
                  <a:lnTo>
                    <a:pt x="259" y="777"/>
                  </a:lnTo>
                  <a:lnTo>
                    <a:pt x="267" y="781"/>
                  </a:lnTo>
                  <a:lnTo>
                    <a:pt x="275" y="782"/>
                  </a:lnTo>
                  <a:lnTo>
                    <a:pt x="283" y="783"/>
                  </a:lnTo>
                  <a:lnTo>
                    <a:pt x="292" y="782"/>
                  </a:lnTo>
                  <a:lnTo>
                    <a:pt x="301" y="779"/>
                  </a:lnTo>
                  <a:lnTo>
                    <a:pt x="308" y="777"/>
                  </a:lnTo>
                  <a:lnTo>
                    <a:pt x="315" y="773"/>
                  </a:lnTo>
                  <a:lnTo>
                    <a:pt x="327" y="762"/>
                  </a:lnTo>
                  <a:lnTo>
                    <a:pt x="337" y="749"/>
                  </a:lnTo>
                  <a:lnTo>
                    <a:pt x="349" y="735"/>
                  </a:lnTo>
                  <a:lnTo>
                    <a:pt x="361" y="725"/>
                  </a:lnTo>
                  <a:lnTo>
                    <a:pt x="369" y="719"/>
                  </a:lnTo>
                  <a:lnTo>
                    <a:pt x="377" y="715"/>
                  </a:lnTo>
                  <a:lnTo>
                    <a:pt x="387" y="713"/>
                  </a:lnTo>
                  <a:lnTo>
                    <a:pt x="397" y="710"/>
                  </a:lnTo>
                  <a:lnTo>
                    <a:pt x="397" y="731"/>
                  </a:lnTo>
                  <a:lnTo>
                    <a:pt x="397" y="749"/>
                  </a:lnTo>
                  <a:lnTo>
                    <a:pt x="397" y="766"/>
                  </a:lnTo>
                  <a:lnTo>
                    <a:pt x="397" y="783"/>
                  </a:lnTo>
                  <a:lnTo>
                    <a:pt x="397" y="789"/>
                  </a:lnTo>
                  <a:lnTo>
                    <a:pt x="399" y="795"/>
                  </a:lnTo>
                  <a:lnTo>
                    <a:pt x="400" y="801"/>
                  </a:lnTo>
                  <a:lnTo>
                    <a:pt x="403" y="806"/>
                  </a:lnTo>
                  <a:lnTo>
                    <a:pt x="409" y="815"/>
                  </a:lnTo>
                  <a:lnTo>
                    <a:pt x="417" y="825"/>
                  </a:lnTo>
                  <a:lnTo>
                    <a:pt x="425" y="833"/>
                  </a:lnTo>
                  <a:lnTo>
                    <a:pt x="433" y="841"/>
                  </a:lnTo>
                  <a:lnTo>
                    <a:pt x="440" y="850"/>
                  </a:lnTo>
                  <a:lnTo>
                    <a:pt x="445" y="861"/>
                  </a:lnTo>
                  <a:lnTo>
                    <a:pt x="461" y="863"/>
                  </a:lnTo>
                  <a:lnTo>
                    <a:pt x="498" y="863"/>
                  </a:lnTo>
                  <a:lnTo>
                    <a:pt x="510" y="862"/>
                  </a:lnTo>
                  <a:lnTo>
                    <a:pt x="521" y="861"/>
                  </a:lnTo>
                  <a:lnTo>
                    <a:pt x="533" y="857"/>
                  </a:lnTo>
                  <a:lnTo>
                    <a:pt x="544" y="854"/>
                  </a:lnTo>
                  <a:lnTo>
                    <a:pt x="556" y="849"/>
                  </a:lnTo>
                  <a:lnTo>
                    <a:pt x="565" y="842"/>
                  </a:lnTo>
                  <a:lnTo>
                    <a:pt x="576" y="834"/>
                  </a:lnTo>
                  <a:lnTo>
                    <a:pt x="584" y="825"/>
                  </a:lnTo>
                  <a:lnTo>
                    <a:pt x="585" y="817"/>
                  </a:lnTo>
                  <a:lnTo>
                    <a:pt x="588" y="809"/>
                  </a:lnTo>
                  <a:lnTo>
                    <a:pt x="592" y="802"/>
                  </a:lnTo>
                  <a:lnTo>
                    <a:pt x="594" y="795"/>
                  </a:lnTo>
                  <a:lnTo>
                    <a:pt x="598" y="790"/>
                  </a:lnTo>
                  <a:lnTo>
                    <a:pt x="602" y="785"/>
                  </a:lnTo>
                  <a:lnTo>
                    <a:pt x="608" y="781"/>
                  </a:lnTo>
                  <a:lnTo>
                    <a:pt x="613" y="777"/>
                  </a:lnTo>
                  <a:lnTo>
                    <a:pt x="624" y="770"/>
                  </a:lnTo>
                  <a:lnTo>
                    <a:pt x="637" y="766"/>
                  </a:lnTo>
                  <a:lnTo>
                    <a:pt x="649" y="763"/>
                  </a:lnTo>
                  <a:lnTo>
                    <a:pt x="664" y="761"/>
                  </a:lnTo>
                  <a:lnTo>
                    <a:pt x="692" y="759"/>
                  </a:lnTo>
                  <a:lnTo>
                    <a:pt x="721" y="758"/>
                  </a:lnTo>
                  <a:lnTo>
                    <a:pt x="734" y="757"/>
                  </a:lnTo>
                  <a:lnTo>
                    <a:pt x="748" y="754"/>
                  </a:lnTo>
                  <a:lnTo>
                    <a:pt x="760" y="751"/>
                  </a:lnTo>
                  <a:lnTo>
                    <a:pt x="770" y="746"/>
                  </a:lnTo>
                  <a:lnTo>
                    <a:pt x="793" y="733"/>
                  </a:lnTo>
                  <a:lnTo>
                    <a:pt x="814" y="717"/>
                  </a:lnTo>
                  <a:lnTo>
                    <a:pt x="836" y="701"/>
                  </a:lnTo>
                  <a:lnTo>
                    <a:pt x="854" y="686"/>
                  </a:lnTo>
                  <a:lnTo>
                    <a:pt x="844" y="674"/>
                  </a:lnTo>
                  <a:lnTo>
                    <a:pt x="829" y="657"/>
                  </a:lnTo>
                  <a:lnTo>
                    <a:pt x="822" y="646"/>
                  </a:lnTo>
                  <a:lnTo>
                    <a:pt x="817" y="634"/>
                  </a:lnTo>
                  <a:lnTo>
                    <a:pt x="814" y="621"/>
                  </a:lnTo>
                  <a:lnTo>
                    <a:pt x="813" y="609"/>
                  </a:lnTo>
                  <a:lnTo>
                    <a:pt x="813" y="599"/>
                  </a:lnTo>
                  <a:lnTo>
                    <a:pt x="814" y="590"/>
                  </a:lnTo>
                  <a:lnTo>
                    <a:pt x="817" y="582"/>
                  </a:lnTo>
                  <a:lnTo>
                    <a:pt x="821" y="574"/>
                  </a:lnTo>
                  <a:lnTo>
                    <a:pt x="826" y="568"/>
                  </a:lnTo>
                  <a:lnTo>
                    <a:pt x="833" y="562"/>
                  </a:lnTo>
                  <a:lnTo>
                    <a:pt x="840" y="557"/>
                  </a:lnTo>
                  <a:lnTo>
                    <a:pt x="849" y="554"/>
                  </a:lnTo>
                  <a:lnTo>
                    <a:pt x="878" y="554"/>
                  </a:lnTo>
                  <a:lnTo>
                    <a:pt x="877" y="541"/>
                  </a:lnTo>
                  <a:lnTo>
                    <a:pt x="874" y="529"/>
                  </a:lnTo>
                  <a:lnTo>
                    <a:pt x="868" y="518"/>
                  </a:lnTo>
                  <a:lnTo>
                    <a:pt x="861" y="508"/>
                  </a:lnTo>
                  <a:lnTo>
                    <a:pt x="852" y="497"/>
                  </a:lnTo>
                  <a:lnTo>
                    <a:pt x="842" y="488"/>
                  </a:lnTo>
                  <a:lnTo>
                    <a:pt x="832" y="478"/>
                  </a:lnTo>
                  <a:lnTo>
                    <a:pt x="820" y="470"/>
                  </a:lnTo>
                  <a:lnTo>
                    <a:pt x="797" y="452"/>
                  </a:lnTo>
                  <a:lnTo>
                    <a:pt x="777" y="432"/>
                  </a:lnTo>
                  <a:lnTo>
                    <a:pt x="769" y="422"/>
                  </a:lnTo>
                  <a:lnTo>
                    <a:pt x="761" y="410"/>
                  </a:lnTo>
                  <a:lnTo>
                    <a:pt x="756" y="398"/>
                  </a:lnTo>
                  <a:lnTo>
                    <a:pt x="752" y="385"/>
                  </a:lnTo>
                  <a:lnTo>
                    <a:pt x="750" y="368"/>
                  </a:lnTo>
                  <a:lnTo>
                    <a:pt x="746" y="353"/>
                  </a:lnTo>
                  <a:lnTo>
                    <a:pt x="742" y="338"/>
                  </a:lnTo>
                  <a:lnTo>
                    <a:pt x="738" y="325"/>
                  </a:lnTo>
                  <a:lnTo>
                    <a:pt x="734" y="313"/>
                  </a:lnTo>
                  <a:lnTo>
                    <a:pt x="729" y="302"/>
                  </a:lnTo>
                  <a:lnTo>
                    <a:pt x="722" y="293"/>
                  </a:lnTo>
                  <a:lnTo>
                    <a:pt x="716" y="284"/>
                  </a:lnTo>
                  <a:lnTo>
                    <a:pt x="706" y="296"/>
                  </a:lnTo>
                  <a:lnTo>
                    <a:pt x="693" y="312"/>
                  </a:lnTo>
                  <a:lnTo>
                    <a:pt x="686" y="320"/>
                  </a:lnTo>
                  <a:lnTo>
                    <a:pt x="678" y="325"/>
                  </a:lnTo>
                  <a:lnTo>
                    <a:pt x="674" y="328"/>
                  </a:lnTo>
                  <a:lnTo>
                    <a:pt x="670" y="330"/>
                  </a:lnTo>
                  <a:lnTo>
                    <a:pt x="666" y="330"/>
                  </a:lnTo>
                  <a:lnTo>
                    <a:pt x="662" y="332"/>
                  </a:lnTo>
                  <a:lnTo>
                    <a:pt x="652" y="330"/>
                  </a:lnTo>
                  <a:lnTo>
                    <a:pt x="641" y="328"/>
                  </a:lnTo>
                  <a:lnTo>
                    <a:pt x="629" y="325"/>
                  </a:lnTo>
                  <a:lnTo>
                    <a:pt x="617" y="320"/>
                  </a:lnTo>
                  <a:lnTo>
                    <a:pt x="606" y="314"/>
                  </a:lnTo>
                  <a:lnTo>
                    <a:pt x="597" y="309"/>
                  </a:lnTo>
                  <a:lnTo>
                    <a:pt x="594" y="305"/>
                  </a:lnTo>
                  <a:lnTo>
                    <a:pt x="592" y="302"/>
                  </a:lnTo>
                  <a:lnTo>
                    <a:pt x="590" y="298"/>
                  </a:lnTo>
                  <a:lnTo>
                    <a:pt x="590" y="296"/>
                  </a:lnTo>
                  <a:lnTo>
                    <a:pt x="590" y="282"/>
                  </a:lnTo>
                  <a:lnTo>
                    <a:pt x="593" y="272"/>
                  </a:lnTo>
                  <a:lnTo>
                    <a:pt x="597" y="260"/>
                  </a:lnTo>
                  <a:lnTo>
                    <a:pt x="602" y="246"/>
                  </a:lnTo>
                  <a:lnTo>
                    <a:pt x="602" y="222"/>
                  </a:lnTo>
                  <a:lnTo>
                    <a:pt x="598" y="222"/>
                  </a:lnTo>
                  <a:lnTo>
                    <a:pt x="593" y="218"/>
                  </a:lnTo>
                  <a:lnTo>
                    <a:pt x="589" y="216"/>
                  </a:lnTo>
                  <a:lnTo>
                    <a:pt x="586" y="213"/>
                  </a:lnTo>
                  <a:lnTo>
                    <a:pt x="585" y="209"/>
                  </a:lnTo>
                  <a:lnTo>
                    <a:pt x="584" y="205"/>
                  </a:lnTo>
                  <a:lnTo>
                    <a:pt x="584" y="196"/>
                  </a:lnTo>
                  <a:lnTo>
                    <a:pt x="585" y="188"/>
                  </a:lnTo>
                  <a:lnTo>
                    <a:pt x="588" y="180"/>
                  </a:lnTo>
                  <a:lnTo>
                    <a:pt x="590" y="172"/>
                  </a:lnTo>
                  <a:lnTo>
                    <a:pt x="594" y="165"/>
                  </a:lnTo>
                  <a:lnTo>
                    <a:pt x="600" y="157"/>
                  </a:lnTo>
                  <a:lnTo>
                    <a:pt x="604" y="150"/>
                  </a:lnTo>
                  <a:lnTo>
                    <a:pt x="610" y="145"/>
                  </a:lnTo>
                  <a:lnTo>
                    <a:pt x="622" y="133"/>
                  </a:lnTo>
                  <a:lnTo>
                    <a:pt x="637" y="122"/>
                  </a:lnTo>
                  <a:lnTo>
                    <a:pt x="652" y="112"/>
                  </a:lnTo>
                  <a:lnTo>
                    <a:pt x="668" y="102"/>
                  </a:lnTo>
                  <a:lnTo>
                    <a:pt x="669" y="94"/>
                  </a:lnTo>
                  <a:lnTo>
                    <a:pt x="668" y="86"/>
                  </a:lnTo>
                  <a:lnTo>
                    <a:pt x="666" y="78"/>
                  </a:lnTo>
                  <a:lnTo>
                    <a:pt x="665" y="73"/>
                  </a:lnTo>
                  <a:lnTo>
                    <a:pt x="662" y="66"/>
                  </a:lnTo>
                  <a:lnTo>
                    <a:pt x="658" y="62"/>
                  </a:lnTo>
                  <a:lnTo>
                    <a:pt x="654" y="57"/>
                  </a:lnTo>
                  <a:lnTo>
                    <a:pt x="649" y="53"/>
                  </a:lnTo>
                  <a:lnTo>
                    <a:pt x="637" y="46"/>
                  </a:lnTo>
                  <a:lnTo>
                    <a:pt x="624" y="42"/>
                  </a:lnTo>
                  <a:lnTo>
                    <a:pt x="608" y="38"/>
                  </a:lnTo>
                  <a:lnTo>
                    <a:pt x="592" y="36"/>
                  </a:lnTo>
                  <a:lnTo>
                    <a:pt x="557" y="30"/>
                  </a:lnTo>
                  <a:lnTo>
                    <a:pt x="522" y="25"/>
                  </a:lnTo>
                  <a:lnTo>
                    <a:pt x="506" y="21"/>
                  </a:lnTo>
                  <a:lnTo>
                    <a:pt x="492" y="16"/>
                  </a:lnTo>
                  <a:lnTo>
                    <a:pt x="485" y="13"/>
                  </a:lnTo>
                  <a:lnTo>
                    <a:pt x="480" y="9"/>
                  </a:lnTo>
                  <a:lnTo>
                    <a:pt x="474" y="5"/>
                  </a:lnTo>
                  <a:lnTo>
                    <a:pt x="469" y="0"/>
                  </a:lnTo>
                  <a:lnTo>
                    <a:pt x="456" y="3"/>
                  </a:lnTo>
                  <a:lnTo>
                    <a:pt x="442" y="6"/>
                  </a:lnTo>
                  <a:lnTo>
                    <a:pt x="430" y="10"/>
                  </a:lnTo>
                  <a:lnTo>
                    <a:pt x="420" y="14"/>
                  </a:lnTo>
                  <a:lnTo>
                    <a:pt x="410" y="21"/>
                  </a:lnTo>
                  <a:lnTo>
                    <a:pt x="404" y="29"/>
                  </a:lnTo>
                  <a:lnTo>
                    <a:pt x="401" y="33"/>
                  </a:lnTo>
                  <a:lnTo>
                    <a:pt x="399" y="37"/>
                  </a:lnTo>
                  <a:lnTo>
                    <a:pt x="397" y="42"/>
                  </a:lnTo>
                  <a:lnTo>
                    <a:pt x="397" y="48"/>
                  </a:lnTo>
                  <a:lnTo>
                    <a:pt x="397" y="57"/>
                  </a:lnTo>
                  <a:lnTo>
                    <a:pt x="399" y="64"/>
                  </a:lnTo>
                  <a:lnTo>
                    <a:pt x="400" y="70"/>
                  </a:lnTo>
                  <a:lnTo>
                    <a:pt x="401" y="77"/>
                  </a:lnTo>
                  <a:lnTo>
                    <a:pt x="407" y="86"/>
                  </a:lnTo>
                  <a:lnTo>
                    <a:pt x="412" y="96"/>
                  </a:lnTo>
                  <a:lnTo>
                    <a:pt x="417" y="104"/>
                  </a:lnTo>
                  <a:lnTo>
                    <a:pt x="422" y="113"/>
                  </a:lnTo>
                  <a:lnTo>
                    <a:pt x="426" y="125"/>
                  </a:lnTo>
                  <a:lnTo>
                    <a:pt x="428" y="138"/>
                  </a:lnTo>
                  <a:lnTo>
                    <a:pt x="426" y="148"/>
                  </a:lnTo>
                  <a:lnTo>
                    <a:pt x="422" y="157"/>
                  </a:lnTo>
                  <a:lnTo>
                    <a:pt x="417" y="164"/>
                  </a:lnTo>
                  <a:lnTo>
                    <a:pt x="409" y="170"/>
                  </a:lnTo>
                  <a:lnTo>
                    <a:pt x="400" y="176"/>
                  </a:lnTo>
                  <a:lnTo>
                    <a:pt x="391" y="180"/>
                  </a:lnTo>
                  <a:lnTo>
                    <a:pt x="379" y="184"/>
                  </a:lnTo>
                  <a:lnTo>
                    <a:pt x="367" y="188"/>
                  </a:lnTo>
                  <a:lnTo>
                    <a:pt x="313" y="197"/>
                  </a:lnTo>
                  <a:lnTo>
                    <a:pt x="265" y="205"/>
                  </a:lnTo>
                  <a:lnTo>
                    <a:pt x="256" y="205"/>
                  </a:lnTo>
                  <a:lnTo>
                    <a:pt x="249" y="206"/>
                  </a:lnTo>
                  <a:lnTo>
                    <a:pt x="243" y="209"/>
                  </a:lnTo>
                  <a:lnTo>
                    <a:pt x="237" y="212"/>
                  </a:lnTo>
                  <a:lnTo>
                    <a:pt x="225" y="220"/>
                  </a:lnTo>
                  <a:lnTo>
                    <a:pt x="211" y="229"/>
                  </a:lnTo>
                  <a:lnTo>
                    <a:pt x="195" y="236"/>
                  </a:lnTo>
                  <a:lnTo>
                    <a:pt x="168" y="249"/>
                  </a:lnTo>
                  <a:lnTo>
                    <a:pt x="133" y="264"/>
                  </a:lnTo>
                  <a:lnTo>
                    <a:pt x="96" y="282"/>
                  </a:lnTo>
                  <a:lnTo>
                    <a:pt x="60" y="301"/>
                  </a:lnTo>
                  <a:lnTo>
                    <a:pt x="29" y="320"/>
                  </a:lnTo>
                  <a:lnTo>
                    <a:pt x="17" y="328"/>
                  </a:lnTo>
                  <a:lnTo>
                    <a:pt x="8" y="336"/>
                  </a:lnTo>
                  <a:lnTo>
                    <a:pt x="4" y="340"/>
                  </a:lnTo>
                  <a:lnTo>
                    <a:pt x="1" y="344"/>
                  </a:lnTo>
                  <a:lnTo>
                    <a:pt x="0" y="346"/>
                  </a:lnTo>
                  <a:lnTo>
                    <a:pt x="0" y="349"/>
                  </a:lnTo>
                  <a:lnTo>
                    <a:pt x="0" y="356"/>
                  </a:lnTo>
                  <a:lnTo>
                    <a:pt x="3" y="361"/>
                  </a:lnTo>
                  <a:lnTo>
                    <a:pt x="7" y="366"/>
                  </a:lnTo>
                  <a:lnTo>
                    <a:pt x="11" y="370"/>
                  </a:lnTo>
                  <a:lnTo>
                    <a:pt x="23" y="378"/>
                  </a:lnTo>
                  <a:lnTo>
                    <a:pt x="36" y="385"/>
                  </a:lnTo>
                  <a:lnTo>
                    <a:pt x="49" y="393"/>
                  </a:lnTo>
                  <a:lnTo>
                    <a:pt x="60" y="400"/>
                  </a:lnTo>
                  <a:lnTo>
                    <a:pt x="65" y="405"/>
                  </a:lnTo>
                  <a:lnTo>
                    <a:pt x="69" y="409"/>
                  </a:lnTo>
                  <a:lnTo>
                    <a:pt x="71" y="416"/>
                  </a:lnTo>
                  <a:lnTo>
                    <a:pt x="72" y="421"/>
                  </a:lnTo>
                  <a:lnTo>
                    <a:pt x="72" y="430"/>
                  </a:lnTo>
                  <a:lnTo>
                    <a:pt x="69" y="437"/>
                  </a:lnTo>
                  <a:lnTo>
                    <a:pt x="68" y="444"/>
                  </a:lnTo>
                  <a:lnTo>
                    <a:pt x="64" y="448"/>
                  </a:lnTo>
                  <a:lnTo>
                    <a:pt x="60" y="452"/>
                  </a:lnTo>
                  <a:lnTo>
                    <a:pt x="56" y="456"/>
                  </a:lnTo>
                  <a:lnTo>
                    <a:pt x="51" y="458"/>
                  </a:lnTo>
                  <a:lnTo>
                    <a:pt x="45" y="461"/>
                  </a:lnTo>
                  <a:lnTo>
                    <a:pt x="35" y="466"/>
                  </a:lnTo>
                  <a:lnTo>
                    <a:pt x="24" y="472"/>
                  </a:lnTo>
                  <a:lnTo>
                    <a:pt x="19" y="474"/>
                  </a:lnTo>
                  <a:lnTo>
                    <a:pt x="13" y="478"/>
                  </a:lnTo>
                  <a:lnTo>
                    <a:pt x="9" y="482"/>
                  </a:lnTo>
                  <a:lnTo>
                    <a:pt x="5" y="488"/>
                  </a:lnTo>
                  <a:lnTo>
                    <a:pt x="12" y="48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06" name="Freeform 102"/>
            <p:cNvSpPr>
              <a:spLocks/>
            </p:cNvSpPr>
            <p:nvPr/>
          </p:nvSpPr>
          <p:spPr bwMode="auto">
            <a:xfrm>
              <a:off x="5064447" y="4889500"/>
              <a:ext cx="1154113" cy="1057275"/>
            </a:xfrm>
            <a:custGeom>
              <a:avLst/>
              <a:gdLst/>
              <a:ahLst/>
              <a:cxnLst>
                <a:cxn ang="0">
                  <a:pos x="1542" y="1965"/>
                </a:cxn>
                <a:cxn ang="0">
                  <a:pos x="1480" y="1897"/>
                </a:cxn>
                <a:cxn ang="0">
                  <a:pos x="1516" y="1777"/>
                </a:cxn>
                <a:cxn ang="0">
                  <a:pos x="1491" y="1702"/>
                </a:cxn>
                <a:cxn ang="0">
                  <a:pos x="1612" y="1678"/>
                </a:cxn>
                <a:cxn ang="0">
                  <a:pos x="1703" y="1608"/>
                </a:cxn>
                <a:cxn ang="0">
                  <a:pos x="1814" y="1576"/>
                </a:cxn>
                <a:cxn ang="0">
                  <a:pos x="1898" y="1450"/>
                </a:cxn>
                <a:cxn ang="0">
                  <a:pos x="1968" y="1340"/>
                </a:cxn>
                <a:cxn ang="0">
                  <a:pos x="2107" y="1235"/>
                </a:cxn>
                <a:cxn ang="0">
                  <a:pos x="2184" y="1138"/>
                </a:cxn>
                <a:cxn ang="0">
                  <a:pos x="2131" y="1033"/>
                </a:cxn>
                <a:cxn ang="0">
                  <a:pos x="2085" y="934"/>
                </a:cxn>
                <a:cxn ang="0">
                  <a:pos x="2176" y="819"/>
                </a:cxn>
                <a:cxn ang="0">
                  <a:pos x="2293" y="633"/>
                </a:cxn>
                <a:cxn ang="0">
                  <a:pos x="2377" y="530"/>
                </a:cxn>
                <a:cxn ang="0">
                  <a:pos x="2305" y="446"/>
                </a:cxn>
                <a:cxn ang="0">
                  <a:pos x="2185" y="417"/>
                </a:cxn>
                <a:cxn ang="0">
                  <a:pos x="2064" y="181"/>
                </a:cxn>
                <a:cxn ang="0">
                  <a:pos x="2039" y="92"/>
                </a:cxn>
                <a:cxn ang="0">
                  <a:pos x="2055" y="1"/>
                </a:cxn>
                <a:cxn ang="0">
                  <a:pos x="1963" y="88"/>
                </a:cxn>
                <a:cxn ang="0">
                  <a:pos x="1866" y="224"/>
                </a:cxn>
                <a:cxn ang="0">
                  <a:pos x="1810" y="269"/>
                </a:cxn>
                <a:cxn ang="0">
                  <a:pos x="1731" y="269"/>
                </a:cxn>
                <a:cxn ang="0">
                  <a:pos x="1667" y="236"/>
                </a:cxn>
                <a:cxn ang="0">
                  <a:pos x="1564" y="260"/>
                </a:cxn>
                <a:cxn ang="0">
                  <a:pos x="1491" y="242"/>
                </a:cxn>
                <a:cxn ang="0">
                  <a:pos x="1396" y="320"/>
                </a:cxn>
                <a:cxn ang="0">
                  <a:pos x="1319" y="345"/>
                </a:cxn>
                <a:cxn ang="0">
                  <a:pos x="1290" y="416"/>
                </a:cxn>
                <a:cxn ang="0">
                  <a:pos x="1190" y="477"/>
                </a:cxn>
                <a:cxn ang="0">
                  <a:pos x="1227" y="560"/>
                </a:cxn>
                <a:cxn ang="0">
                  <a:pos x="1234" y="711"/>
                </a:cxn>
                <a:cxn ang="0">
                  <a:pos x="1289" y="819"/>
                </a:cxn>
                <a:cxn ang="0">
                  <a:pos x="1335" y="954"/>
                </a:cxn>
                <a:cxn ang="0">
                  <a:pos x="1306" y="1290"/>
                </a:cxn>
                <a:cxn ang="0">
                  <a:pos x="1174" y="1470"/>
                </a:cxn>
                <a:cxn ang="0">
                  <a:pos x="1059" y="1604"/>
                </a:cxn>
                <a:cxn ang="0">
                  <a:pos x="1017" y="1726"/>
                </a:cxn>
                <a:cxn ang="0">
                  <a:pos x="903" y="1808"/>
                </a:cxn>
                <a:cxn ang="0">
                  <a:pos x="863" y="1907"/>
                </a:cxn>
                <a:cxn ang="0">
                  <a:pos x="819" y="1949"/>
                </a:cxn>
                <a:cxn ang="0">
                  <a:pos x="806" y="1904"/>
                </a:cxn>
                <a:cxn ang="0">
                  <a:pos x="715" y="1872"/>
                </a:cxn>
                <a:cxn ang="0">
                  <a:pos x="653" y="1781"/>
                </a:cxn>
                <a:cxn ang="0">
                  <a:pos x="543" y="1716"/>
                </a:cxn>
                <a:cxn ang="0">
                  <a:pos x="440" y="1684"/>
                </a:cxn>
                <a:cxn ang="0">
                  <a:pos x="266" y="1611"/>
                </a:cxn>
                <a:cxn ang="0">
                  <a:pos x="222" y="1534"/>
                </a:cxn>
                <a:cxn ang="0">
                  <a:pos x="172" y="1496"/>
                </a:cxn>
                <a:cxn ang="0">
                  <a:pos x="68" y="1628"/>
                </a:cxn>
                <a:cxn ang="0">
                  <a:pos x="13" y="1658"/>
                </a:cxn>
                <a:cxn ang="0">
                  <a:pos x="5" y="1724"/>
                </a:cxn>
                <a:cxn ang="0">
                  <a:pos x="25" y="1804"/>
                </a:cxn>
                <a:cxn ang="0">
                  <a:pos x="547" y="1945"/>
                </a:cxn>
                <a:cxn ang="0">
                  <a:pos x="637" y="2075"/>
                </a:cxn>
                <a:cxn ang="0">
                  <a:pos x="722" y="2172"/>
                </a:cxn>
                <a:cxn ang="0">
                  <a:pos x="873" y="2167"/>
                </a:cxn>
                <a:cxn ang="0">
                  <a:pos x="1074" y="2059"/>
                </a:cxn>
                <a:cxn ang="0">
                  <a:pos x="1249" y="2039"/>
                </a:cxn>
                <a:cxn ang="0">
                  <a:pos x="1420" y="2091"/>
                </a:cxn>
              </a:cxnLst>
              <a:rect l="0" t="0" r="r" b="b"/>
              <a:pathLst>
                <a:path w="2377" h="2180">
                  <a:moveTo>
                    <a:pt x="1456" y="2079"/>
                  </a:moveTo>
                  <a:lnTo>
                    <a:pt x="1456" y="2084"/>
                  </a:lnTo>
                  <a:lnTo>
                    <a:pt x="1459" y="2071"/>
                  </a:lnTo>
                  <a:lnTo>
                    <a:pt x="1464" y="2059"/>
                  </a:lnTo>
                  <a:lnTo>
                    <a:pt x="1470" y="2048"/>
                  </a:lnTo>
                  <a:lnTo>
                    <a:pt x="1476" y="2037"/>
                  </a:lnTo>
                  <a:lnTo>
                    <a:pt x="1492" y="2019"/>
                  </a:lnTo>
                  <a:lnTo>
                    <a:pt x="1510" y="2000"/>
                  </a:lnTo>
                  <a:lnTo>
                    <a:pt x="1527" y="1983"/>
                  </a:lnTo>
                  <a:lnTo>
                    <a:pt x="1542" y="1965"/>
                  </a:lnTo>
                  <a:lnTo>
                    <a:pt x="1548" y="1955"/>
                  </a:lnTo>
                  <a:lnTo>
                    <a:pt x="1554" y="1944"/>
                  </a:lnTo>
                  <a:lnTo>
                    <a:pt x="1556" y="1933"/>
                  </a:lnTo>
                  <a:lnTo>
                    <a:pt x="1559" y="1921"/>
                  </a:lnTo>
                  <a:lnTo>
                    <a:pt x="1538" y="1917"/>
                  </a:lnTo>
                  <a:lnTo>
                    <a:pt x="1507" y="1911"/>
                  </a:lnTo>
                  <a:lnTo>
                    <a:pt x="1499" y="1908"/>
                  </a:lnTo>
                  <a:lnTo>
                    <a:pt x="1492" y="1905"/>
                  </a:lnTo>
                  <a:lnTo>
                    <a:pt x="1486" y="1901"/>
                  </a:lnTo>
                  <a:lnTo>
                    <a:pt x="1480" y="1897"/>
                  </a:lnTo>
                  <a:lnTo>
                    <a:pt x="1475" y="1893"/>
                  </a:lnTo>
                  <a:lnTo>
                    <a:pt x="1471" y="1887"/>
                  </a:lnTo>
                  <a:lnTo>
                    <a:pt x="1470" y="1881"/>
                  </a:lnTo>
                  <a:lnTo>
                    <a:pt x="1468" y="1873"/>
                  </a:lnTo>
                  <a:lnTo>
                    <a:pt x="1470" y="1859"/>
                  </a:lnTo>
                  <a:lnTo>
                    <a:pt x="1474" y="1845"/>
                  </a:lnTo>
                  <a:lnTo>
                    <a:pt x="1479" y="1832"/>
                  </a:lnTo>
                  <a:lnTo>
                    <a:pt x="1486" y="1820"/>
                  </a:lnTo>
                  <a:lnTo>
                    <a:pt x="1502" y="1799"/>
                  </a:lnTo>
                  <a:lnTo>
                    <a:pt x="1516" y="1777"/>
                  </a:lnTo>
                  <a:lnTo>
                    <a:pt x="1506" y="1768"/>
                  </a:lnTo>
                  <a:lnTo>
                    <a:pt x="1494" y="1756"/>
                  </a:lnTo>
                  <a:lnTo>
                    <a:pt x="1488" y="1750"/>
                  </a:lnTo>
                  <a:lnTo>
                    <a:pt x="1484" y="1743"/>
                  </a:lnTo>
                  <a:lnTo>
                    <a:pt x="1482" y="1734"/>
                  </a:lnTo>
                  <a:lnTo>
                    <a:pt x="1480" y="1723"/>
                  </a:lnTo>
                  <a:lnTo>
                    <a:pt x="1482" y="1716"/>
                  </a:lnTo>
                  <a:lnTo>
                    <a:pt x="1483" y="1711"/>
                  </a:lnTo>
                  <a:lnTo>
                    <a:pt x="1487" y="1706"/>
                  </a:lnTo>
                  <a:lnTo>
                    <a:pt x="1491" y="1702"/>
                  </a:lnTo>
                  <a:lnTo>
                    <a:pt x="1498" y="1698"/>
                  </a:lnTo>
                  <a:lnTo>
                    <a:pt x="1504" y="1694"/>
                  </a:lnTo>
                  <a:lnTo>
                    <a:pt x="1511" y="1691"/>
                  </a:lnTo>
                  <a:lnTo>
                    <a:pt x="1520" y="1688"/>
                  </a:lnTo>
                  <a:lnTo>
                    <a:pt x="1538" y="1684"/>
                  </a:lnTo>
                  <a:lnTo>
                    <a:pt x="1556" y="1683"/>
                  </a:lnTo>
                  <a:lnTo>
                    <a:pt x="1576" y="1682"/>
                  </a:lnTo>
                  <a:lnTo>
                    <a:pt x="1595" y="1680"/>
                  </a:lnTo>
                  <a:lnTo>
                    <a:pt x="1604" y="1680"/>
                  </a:lnTo>
                  <a:lnTo>
                    <a:pt x="1612" y="1678"/>
                  </a:lnTo>
                  <a:lnTo>
                    <a:pt x="1620" y="1674"/>
                  </a:lnTo>
                  <a:lnTo>
                    <a:pt x="1627" y="1670"/>
                  </a:lnTo>
                  <a:lnTo>
                    <a:pt x="1638" y="1658"/>
                  </a:lnTo>
                  <a:lnTo>
                    <a:pt x="1647" y="1644"/>
                  </a:lnTo>
                  <a:lnTo>
                    <a:pt x="1656" y="1631"/>
                  </a:lnTo>
                  <a:lnTo>
                    <a:pt x="1668" y="1620"/>
                  </a:lnTo>
                  <a:lnTo>
                    <a:pt x="1676" y="1615"/>
                  </a:lnTo>
                  <a:lnTo>
                    <a:pt x="1684" y="1612"/>
                  </a:lnTo>
                  <a:lnTo>
                    <a:pt x="1692" y="1610"/>
                  </a:lnTo>
                  <a:lnTo>
                    <a:pt x="1703" y="1608"/>
                  </a:lnTo>
                  <a:lnTo>
                    <a:pt x="1731" y="1610"/>
                  </a:lnTo>
                  <a:lnTo>
                    <a:pt x="1759" y="1608"/>
                  </a:lnTo>
                  <a:lnTo>
                    <a:pt x="1772" y="1607"/>
                  </a:lnTo>
                  <a:lnTo>
                    <a:pt x="1784" y="1603"/>
                  </a:lnTo>
                  <a:lnTo>
                    <a:pt x="1791" y="1602"/>
                  </a:lnTo>
                  <a:lnTo>
                    <a:pt x="1796" y="1598"/>
                  </a:lnTo>
                  <a:lnTo>
                    <a:pt x="1802" y="1595"/>
                  </a:lnTo>
                  <a:lnTo>
                    <a:pt x="1806" y="1591"/>
                  </a:lnTo>
                  <a:lnTo>
                    <a:pt x="1811" y="1583"/>
                  </a:lnTo>
                  <a:lnTo>
                    <a:pt x="1814" y="1576"/>
                  </a:lnTo>
                  <a:lnTo>
                    <a:pt x="1815" y="1568"/>
                  </a:lnTo>
                  <a:lnTo>
                    <a:pt x="1815" y="1559"/>
                  </a:lnTo>
                  <a:lnTo>
                    <a:pt x="1815" y="1551"/>
                  </a:lnTo>
                  <a:lnTo>
                    <a:pt x="1816" y="1542"/>
                  </a:lnTo>
                  <a:lnTo>
                    <a:pt x="1819" y="1534"/>
                  </a:lnTo>
                  <a:lnTo>
                    <a:pt x="1824" y="1524"/>
                  </a:lnTo>
                  <a:lnTo>
                    <a:pt x="1846" y="1503"/>
                  </a:lnTo>
                  <a:lnTo>
                    <a:pt x="1864" y="1486"/>
                  </a:lnTo>
                  <a:lnTo>
                    <a:pt x="1882" y="1467"/>
                  </a:lnTo>
                  <a:lnTo>
                    <a:pt x="1898" y="1450"/>
                  </a:lnTo>
                  <a:lnTo>
                    <a:pt x="1904" y="1440"/>
                  </a:lnTo>
                  <a:lnTo>
                    <a:pt x="1911" y="1430"/>
                  </a:lnTo>
                  <a:lnTo>
                    <a:pt x="1918" y="1419"/>
                  </a:lnTo>
                  <a:lnTo>
                    <a:pt x="1924" y="1407"/>
                  </a:lnTo>
                  <a:lnTo>
                    <a:pt x="1930" y="1394"/>
                  </a:lnTo>
                  <a:lnTo>
                    <a:pt x="1935" y="1378"/>
                  </a:lnTo>
                  <a:lnTo>
                    <a:pt x="1940" y="1362"/>
                  </a:lnTo>
                  <a:lnTo>
                    <a:pt x="1944" y="1343"/>
                  </a:lnTo>
                  <a:lnTo>
                    <a:pt x="1956" y="1343"/>
                  </a:lnTo>
                  <a:lnTo>
                    <a:pt x="1968" y="1340"/>
                  </a:lnTo>
                  <a:lnTo>
                    <a:pt x="1980" y="1338"/>
                  </a:lnTo>
                  <a:lnTo>
                    <a:pt x="1992" y="1332"/>
                  </a:lnTo>
                  <a:lnTo>
                    <a:pt x="2004" y="1327"/>
                  </a:lnTo>
                  <a:lnTo>
                    <a:pt x="2015" y="1320"/>
                  </a:lnTo>
                  <a:lnTo>
                    <a:pt x="2027" y="1314"/>
                  </a:lnTo>
                  <a:lnTo>
                    <a:pt x="2038" y="1306"/>
                  </a:lnTo>
                  <a:lnTo>
                    <a:pt x="2057" y="1288"/>
                  </a:lnTo>
                  <a:lnTo>
                    <a:pt x="2076" y="1270"/>
                  </a:lnTo>
                  <a:lnTo>
                    <a:pt x="2092" y="1252"/>
                  </a:lnTo>
                  <a:lnTo>
                    <a:pt x="2107" y="1235"/>
                  </a:lnTo>
                  <a:lnTo>
                    <a:pt x="2123" y="1222"/>
                  </a:lnTo>
                  <a:lnTo>
                    <a:pt x="2137" y="1211"/>
                  </a:lnTo>
                  <a:lnTo>
                    <a:pt x="2151" y="1199"/>
                  </a:lnTo>
                  <a:lnTo>
                    <a:pt x="2161" y="1186"/>
                  </a:lnTo>
                  <a:lnTo>
                    <a:pt x="2167" y="1179"/>
                  </a:lnTo>
                  <a:lnTo>
                    <a:pt x="2172" y="1173"/>
                  </a:lnTo>
                  <a:lnTo>
                    <a:pt x="2176" y="1165"/>
                  </a:lnTo>
                  <a:lnTo>
                    <a:pt x="2179" y="1157"/>
                  </a:lnTo>
                  <a:lnTo>
                    <a:pt x="2181" y="1147"/>
                  </a:lnTo>
                  <a:lnTo>
                    <a:pt x="2184" y="1138"/>
                  </a:lnTo>
                  <a:lnTo>
                    <a:pt x="2184" y="1127"/>
                  </a:lnTo>
                  <a:lnTo>
                    <a:pt x="2185" y="1115"/>
                  </a:lnTo>
                  <a:lnTo>
                    <a:pt x="2184" y="1101"/>
                  </a:lnTo>
                  <a:lnTo>
                    <a:pt x="2180" y="1087"/>
                  </a:lnTo>
                  <a:lnTo>
                    <a:pt x="2175" y="1075"/>
                  </a:lnTo>
                  <a:lnTo>
                    <a:pt x="2168" y="1065"/>
                  </a:lnTo>
                  <a:lnTo>
                    <a:pt x="2160" y="1055"/>
                  </a:lnTo>
                  <a:lnTo>
                    <a:pt x="2151" y="1047"/>
                  </a:lnTo>
                  <a:lnTo>
                    <a:pt x="2141" y="1039"/>
                  </a:lnTo>
                  <a:lnTo>
                    <a:pt x="2131" y="1033"/>
                  </a:lnTo>
                  <a:lnTo>
                    <a:pt x="2111" y="1018"/>
                  </a:lnTo>
                  <a:lnTo>
                    <a:pt x="2093" y="1002"/>
                  </a:lnTo>
                  <a:lnTo>
                    <a:pt x="2087" y="993"/>
                  </a:lnTo>
                  <a:lnTo>
                    <a:pt x="2081" y="982"/>
                  </a:lnTo>
                  <a:lnTo>
                    <a:pt x="2077" y="971"/>
                  </a:lnTo>
                  <a:lnTo>
                    <a:pt x="2076" y="958"/>
                  </a:lnTo>
                  <a:lnTo>
                    <a:pt x="2077" y="951"/>
                  </a:lnTo>
                  <a:lnTo>
                    <a:pt x="2079" y="945"/>
                  </a:lnTo>
                  <a:lnTo>
                    <a:pt x="2081" y="938"/>
                  </a:lnTo>
                  <a:lnTo>
                    <a:pt x="2085" y="934"/>
                  </a:lnTo>
                  <a:lnTo>
                    <a:pt x="2095" y="925"/>
                  </a:lnTo>
                  <a:lnTo>
                    <a:pt x="2105" y="918"/>
                  </a:lnTo>
                  <a:lnTo>
                    <a:pt x="2119" y="911"/>
                  </a:lnTo>
                  <a:lnTo>
                    <a:pt x="2129" y="905"/>
                  </a:lnTo>
                  <a:lnTo>
                    <a:pt x="2136" y="901"/>
                  </a:lnTo>
                  <a:lnTo>
                    <a:pt x="2140" y="897"/>
                  </a:lnTo>
                  <a:lnTo>
                    <a:pt x="2145" y="891"/>
                  </a:lnTo>
                  <a:lnTo>
                    <a:pt x="2149" y="886"/>
                  </a:lnTo>
                  <a:lnTo>
                    <a:pt x="2163" y="854"/>
                  </a:lnTo>
                  <a:lnTo>
                    <a:pt x="2176" y="819"/>
                  </a:lnTo>
                  <a:lnTo>
                    <a:pt x="2192" y="783"/>
                  </a:lnTo>
                  <a:lnTo>
                    <a:pt x="2208" y="746"/>
                  </a:lnTo>
                  <a:lnTo>
                    <a:pt x="2216" y="729"/>
                  </a:lnTo>
                  <a:lnTo>
                    <a:pt x="2225" y="711"/>
                  </a:lnTo>
                  <a:lnTo>
                    <a:pt x="2235" y="694"/>
                  </a:lnTo>
                  <a:lnTo>
                    <a:pt x="2245" y="679"/>
                  </a:lnTo>
                  <a:lnTo>
                    <a:pt x="2256" y="665"/>
                  </a:lnTo>
                  <a:lnTo>
                    <a:pt x="2268" y="653"/>
                  </a:lnTo>
                  <a:lnTo>
                    <a:pt x="2280" y="642"/>
                  </a:lnTo>
                  <a:lnTo>
                    <a:pt x="2293" y="633"/>
                  </a:lnTo>
                  <a:lnTo>
                    <a:pt x="2321" y="617"/>
                  </a:lnTo>
                  <a:lnTo>
                    <a:pt x="2349" y="600"/>
                  </a:lnTo>
                  <a:lnTo>
                    <a:pt x="2355" y="594"/>
                  </a:lnTo>
                  <a:lnTo>
                    <a:pt x="2360" y="589"/>
                  </a:lnTo>
                  <a:lnTo>
                    <a:pt x="2365" y="582"/>
                  </a:lnTo>
                  <a:lnTo>
                    <a:pt x="2369" y="574"/>
                  </a:lnTo>
                  <a:lnTo>
                    <a:pt x="2373" y="565"/>
                  </a:lnTo>
                  <a:lnTo>
                    <a:pt x="2376" y="556"/>
                  </a:lnTo>
                  <a:lnTo>
                    <a:pt x="2377" y="544"/>
                  </a:lnTo>
                  <a:lnTo>
                    <a:pt x="2377" y="530"/>
                  </a:lnTo>
                  <a:lnTo>
                    <a:pt x="2377" y="522"/>
                  </a:lnTo>
                  <a:lnTo>
                    <a:pt x="2376" y="514"/>
                  </a:lnTo>
                  <a:lnTo>
                    <a:pt x="2375" y="508"/>
                  </a:lnTo>
                  <a:lnTo>
                    <a:pt x="2372" y="501"/>
                  </a:lnTo>
                  <a:lnTo>
                    <a:pt x="2368" y="494"/>
                  </a:lnTo>
                  <a:lnTo>
                    <a:pt x="2364" y="489"/>
                  </a:lnTo>
                  <a:lnTo>
                    <a:pt x="2360" y="485"/>
                  </a:lnTo>
                  <a:lnTo>
                    <a:pt x="2355" y="480"/>
                  </a:lnTo>
                  <a:lnTo>
                    <a:pt x="2332" y="464"/>
                  </a:lnTo>
                  <a:lnTo>
                    <a:pt x="2305" y="446"/>
                  </a:lnTo>
                  <a:lnTo>
                    <a:pt x="2297" y="441"/>
                  </a:lnTo>
                  <a:lnTo>
                    <a:pt x="2291" y="436"/>
                  </a:lnTo>
                  <a:lnTo>
                    <a:pt x="2284" y="432"/>
                  </a:lnTo>
                  <a:lnTo>
                    <a:pt x="2276" y="429"/>
                  </a:lnTo>
                  <a:lnTo>
                    <a:pt x="2263" y="426"/>
                  </a:lnTo>
                  <a:lnTo>
                    <a:pt x="2249" y="425"/>
                  </a:lnTo>
                  <a:lnTo>
                    <a:pt x="2236" y="425"/>
                  </a:lnTo>
                  <a:lnTo>
                    <a:pt x="2221" y="424"/>
                  </a:lnTo>
                  <a:lnTo>
                    <a:pt x="2204" y="421"/>
                  </a:lnTo>
                  <a:lnTo>
                    <a:pt x="2185" y="417"/>
                  </a:lnTo>
                  <a:lnTo>
                    <a:pt x="2179" y="402"/>
                  </a:lnTo>
                  <a:lnTo>
                    <a:pt x="2163" y="369"/>
                  </a:lnTo>
                  <a:lnTo>
                    <a:pt x="2147" y="333"/>
                  </a:lnTo>
                  <a:lnTo>
                    <a:pt x="2137" y="308"/>
                  </a:lnTo>
                  <a:lnTo>
                    <a:pt x="2129" y="290"/>
                  </a:lnTo>
                  <a:lnTo>
                    <a:pt x="2123" y="274"/>
                  </a:lnTo>
                  <a:lnTo>
                    <a:pt x="2113" y="260"/>
                  </a:lnTo>
                  <a:lnTo>
                    <a:pt x="2105" y="245"/>
                  </a:lnTo>
                  <a:lnTo>
                    <a:pt x="2085" y="214"/>
                  </a:lnTo>
                  <a:lnTo>
                    <a:pt x="2064" y="181"/>
                  </a:lnTo>
                  <a:lnTo>
                    <a:pt x="2057" y="173"/>
                  </a:lnTo>
                  <a:lnTo>
                    <a:pt x="2047" y="164"/>
                  </a:lnTo>
                  <a:lnTo>
                    <a:pt x="2043" y="158"/>
                  </a:lnTo>
                  <a:lnTo>
                    <a:pt x="2039" y="152"/>
                  </a:lnTo>
                  <a:lnTo>
                    <a:pt x="2036" y="144"/>
                  </a:lnTo>
                  <a:lnTo>
                    <a:pt x="2035" y="133"/>
                  </a:lnTo>
                  <a:lnTo>
                    <a:pt x="2035" y="124"/>
                  </a:lnTo>
                  <a:lnTo>
                    <a:pt x="2035" y="113"/>
                  </a:lnTo>
                  <a:lnTo>
                    <a:pt x="2036" y="102"/>
                  </a:lnTo>
                  <a:lnTo>
                    <a:pt x="2039" y="92"/>
                  </a:lnTo>
                  <a:lnTo>
                    <a:pt x="2042" y="82"/>
                  </a:lnTo>
                  <a:lnTo>
                    <a:pt x="2047" y="74"/>
                  </a:lnTo>
                  <a:lnTo>
                    <a:pt x="2051" y="72"/>
                  </a:lnTo>
                  <a:lnTo>
                    <a:pt x="2055" y="69"/>
                  </a:lnTo>
                  <a:lnTo>
                    <a:pt x="2059" y="68"/>
                  </a:lnTo>
                  <a:lnTo>
                    <a:pt x="2064" y="68"/>
                  </a:lnTo>
                  <a:lnTo>
                    <a:pt x="2076" y="30"/>
                  </a:lnTo>
                  <a:lnTo>
                    <a:pt x="2076" y="1"/>
                  </a:lnTo>
                  <a:lnTo>
                    <a:pt x="2065" y="0"/>
                  </a:lnTo>
                  <a:lnTo>
                    <a:pt x="2055" y="1"/>
                  </a:lnTo>
                  <a:lnTo>
                    <a:pt x="2044" y="3"/>
                  </a:lnTo>
                  <a:lnTo>
                    <a:pt x="2036" y="5"/>
                  </a:lnTo>
                  <a:lnTo>
                    <a:pt x="2027" y="9"/>
                  </a:lnTo>
                  <a:lnTo>
                    <a:pt x="2019" y="13"/>
                  </a:lnTo>
                  <a:lnTo>
                    <a:pt x="2012" y="19"/>
                  </a:lnTo>
                  <a:lnTo>
                    <a:pt x="2006" y="24"/>
                  </a:lnTo>
                  <a:lnTo>
                    <a:pt x="1992" y="37"/>
                  </a:lnTo>
                  <a:lnTo>
                    <a:pt x="1982" y="53"/>
                  </a:lnTo>
                  <a:lnTo>
                    <a:pt x="1972" y="70"/>
                  </a:lnTo>
                  <a:lnTo>
                    <a:pt x="1963" y="88"/>
                  </a:lnTo>
                  <a:lnTo>
                    <a:pt x="1946" y="126"/>
                  </a:lnTo>
                  <a:lnTo>
                    <a:pt x="1927" y="162"/>
                  </a:lnTo>
                  <a:lnTo>
                    <a:pt x="1916" y="178"/>
                  </a:lnTo>
                  <a:lnTo>
                    <a:pt x="1903" y="192"/>
                  </a:lnTo>
                  <a:lnTo>
                    <a:pt x="1896" y="198"/>
                  </a:lnTo>
                  <a:lnTo>
                    <a:pt x="1888" y="204"/>
                  </a:lnTo>
                  <a:lnTo>
                    <a:pt x="1880" y="208"/>
                  </a:lnTo>
                  <a:lnTo>
                    <a:pt x="1872" y="212"/>
                  </a:lnTo>
                  <a:lnTo>
                    <a:pt x="1868" y="216"/>
                  </a:lnTo>
                  <a:lnTo>
                    <a:pt x="1866" y="224"/>
                  </a:lnTo>
                  <a:lnTo>
                    <a:pt x="1863" y="233"/>
                  </a:lnTo>
                  <a:lnTo>
                    <a:pt x="1859" y="244"/>
                  </a:lnTo>
                  <a:lnTo>
                    <a:pt x="1855" y="254"/>
                  </a:lnTo>
                  <a:lnTo>
                    <a:pt x="1847" y="264"/>
                  </a:lnTo>
                  <a:lnTo>
                    <a:pt x="1843" y="266"/>
                  </a:lnTo>
                  <a:lnTo>
                    <a:pt x="1838" y="269"/>
                  </a:lnTo>
                  <a:lnTo>
                    <a:pt x="1831" y="272"/>
                  </a:lnTo>
                  <a:lnTo>
                    <a:pt x="1824" y="272"/>
                  </a:lnTo>
                  <a:lnTo>
                    <a:pt x="1816" y="272"/>
                  </a:lnTo>
                  <a:lnTo>
                    <a:pt x="1810" y="269"/>
                  </a:lnTo>
                  <a:lnTo>
                    <a:pt x="1802" y="266"/>
                  </a:lnTo>
                  <a:lnTo>
                    <a:pt x="1795" y="262"/>
                  </a:lnTo>
                  <a:lnTo>
                    <a:pt x="1783" y="257"/>
                  </a:lnTo>
                  <a:lnTo>
                    <a:pt x="1776" y="254"/>
                  </a:lnTo>
                  <a:lnTo>
                    <a:pt x="1767" y="254"/>
                  </a:lnTo>
                  <a:lnTo>
                    <a:pt x="1759" y="257"/>
                  </a:lnTo>
                  <a:lnTo>
                    <a:pt x="1752" y="260"/>
                  </a:lnTo>
                  <a:lnTo>
                    <a:pt x="1746" y="262"/>
                  </a:lnTo>
                  <a:lnTo>
                    <a:pt x="1739" y="266"/>
                  </a:lnTo>
                  <a:lnTo>
                    <a:pt x="1731" y="269"/>
                  </a:lnTo>
                  <a:lnTo>
                    <a:pt x="1724" y="272"/>
                  </a:lnTo>
                  <a:lnTo>
                    <a:pt x="1715" y="272"/>
                  </a:lnTo>
                  <a:lnTo>
                    <a:pt x="1708" y="272"/>
                  </a:lnTo>
                  <a:lnTo>
                    <a:pt x="1702" y="270"/>
                  </a:lnTo>
                  <a:lnTo>
                    <a:pt x="1696" y="269"/>
                  </a:lnTo>
                  <a:lnTo>
                    <a:pt x="1691" y="266"/>
                  </a:lnTo>
                  <a:lnTo>
                    <a:pt x="1683" y="260"/>
                  </a:lnTo>
                  <a:lnTo>
                    <a:pt x="1676" y="252"/>
                  </a:lnTo>
                  <a:lnTo>
                    <a:pt x="1671" y="244"/>
                  </a:lnTo>
                  <a:lnTo>
                    <a:pt x="1667" y="236"/>
                  </a:lnTo>
                  <a:lnTo>
                    <a:pt x="1662" y="229"/>
                  </a:lnTo>
                  <a:lnTo>
                    <a:pt x="1655" y="224"/>
                  </a:lnTo>
                  <a:lnTo>
                    <a:pt x="1647" y="232"/>
                  </a:lnTo>
                  <a:lnTo>
                    <a:pt x="1639" y="240"/>
                  </a:lnTo>
                  <a:lnTo>
                    <a:pt x="1628" y="246"/>
                  </a:lnTo>
                  <a:lnTo>
                    <a:pt x="1616" y="250"/>
                  </a:lnTo>
                  <a:lnTo>
                    <a:pt x="1604" y="254"/>
                  </a:lnTo>
                  <a:lnTo>
                    <a:pt x="1592" y="257"/>
                  </a:lnTo>
                  <a:lnTo>
                    <a:pt x="1579" y="260"/>
                  </a:lnTo>
                  <a:lnTo>
                    <a:pt x="1564" y="260"/>
                  </a:lnTo>
                  <a:lnTo>
                    <a:pt x="1558" y="258"/>
                  </a:lnTo>
                  <a:lnTo>
                    <a:pt x="1548" y="254"/>
                  </a:lnTo>
                  <a:lnTo>
                    <a:pt x="1539" y="249"/>
                  </a:lnTo>
                  <a:lnTo>
                    <a:pt x="1530" y="242"/>
                  </a:lnTo>
                  <a:lnTo>
                    <a:pt x="1514" y="229"/>
                  </a:lnTo>
                  <a:lnTo>
                    <a:pt x="1504" y="224"/>
                  </a:lnTo>
                  <a:lnTo>
                    <a:pt x="1500" y="226"/>
                  </a:lnTo>
                  <a:lnTo>
                    <a:pt x="1496" y="230"/>
                  </a:lnTo>
                  <a:lnTo>
                    <a:pt x="1494" y="236"/>
                  </a:lnTo>
                  <a:lnTo>
                    <a:pt x="1491" y="242"/>
                  </a:lnTo>
                  <a:lnTo>
                    <a:pt x="1488" y="256"/>
                  </a:lnTo>
                  <a:lnTo>
                    <a:pt x="1486" y="272"/>
                  </a:lnTo>
                  <a:lnTo>
                    <a:pt x="1483" y="300"/>
                  </a:lnTo>
                  <a:lnTo>
                    <a:pt x="1480" y="314"/>
                  </a:lnTo>
                  <a:lnTo>
                    <a:pt x="1470" y="317"/>
                  </a:lnTo>
                  <a:lnTo>
                    <a:pt x="1460" y="320"/>
                  </a:lnTo>
                  <a:lnTo>
                    <a:pt x="1450" y="321"/>
                  </a:lnTo>
                  <a:lnTo>
                    <a:pt x="1439" y="321"/>
                  </a:lnTo>
                  <a:lnTo>
                    <a:pt x="1418" y="321"/>
                  </a:lnTo>
                  <a:lnTo>
                    <a:pt x="1396" y="320"/>
                  </a:lnTo>
                  <a:lnTo>
                    <a:pt x="1378" y="320"/>
                  </a:lnTo>
                  <a:lnTo>
                    <a:pt x="1362" y="320"/>
                  </a:lnTo>
                  <a:lnTo>
                    <a:pt x="1354" y="320"/>
                  </a:lnTo>
                  <a:lnTo>
                    <a:pt x="1347" y="321"/>
                  </a:lnTo>
                  <a:lnTo>
                    <a:pt x="1340" y="324"/>
                  </a:lnTo>
                  <a:lnTo>
                    <a:pt x="1336" y="326"/>
                  </a:lnTo>
                  <a:lnTo>
                    <a:pt x="1330" y="330"/>
                  </a:lnTo>
                  <a:lnTo>
                    <a:pt x="1326" y="336"/>
                  </a:lnTo>
                  <a:lnTo>
                    <a:pt x="1322" y="340"/>
                  </a:lnTo>
                  <a:lnTo>
                    <a:pt x="1319" y="345"/>
                  </a:lnTo>
                  <a:lnTo>
                    <a:pt x="1316" y="356"/>
                  </a:lnTo>
                  <a:lnTo>
                    <a:pt x="1316" y="365"/>
                  </a:lnTo>
                  <a:lnTo>
                    <a:pt x="1316" y="376"/>
                  </a:lnTo>
                  <a:lnTo>
                    <a:pt x="1315" y="385"/>
                  </a:lnTo>
                  <a:lnTo>
                    <a:pt x="1315" y="390"/>
                  </a:lnTo>
                  <a:lnTo>
                    <a:pt x="1312" y="396"/>
                  </a:lnTo>
                  <a:lnTo>
                    <a:pt x="1310" y="400"/>
                  </a:lnTo>
                  <a:lnTo>
                    <a:pt x="1306" y="405"/>
                  </a:lnTo>
                  <a:lnTo>
                    <a:pt x="1299" y="410"/>
                  </a:lnTo>
                  <a:lnTo>
                    <a:pt x="1290" y="416"/>
                  </a:lnTo>
                  <a:lnTo>
                    <a:pt x="1282" y="421"/>
                  </a:lnTo>
                  <a:lnTo>
                    <a:pt x="1273" y="425"/>
                  </a:lnTo>
                  <a:lnTo>
                    <a:pt x="1253" y="432"/>
                  </a:lnTo>
                  <a:lnTo>
                    <a:pt x="1233" y="440"/>
                  </a:lnTo>
                  <a:lnTo>
                    <a:pt x="1223" y="444"/>
                  </a:lnTo>
                  <a:lnTo>
                    <a:pt x="1214" y="448"/>
                  </a:lnTo>
                  <a:lnTo>
                    <a:pt x="1206" y="454"/>
                  </a:lnTo>
                  <a:lnTo>
                    <a:pt x="1199" y="461"/>
                  </a:lnTo>
                  <a:lnTo>
                    <a:pt x="1194" y="468"/>
                  </a:lnTo>
                  <a:lnTo>
                    <a:pt x="1190" y="477"/>
                  </a:lnTo>
                  <a:lnTo>
                    <a:pt x="1186" y="488"/>
                  </a:lnTo>
                  <a:lnTo>
                    <a:pt x="1186" y="501"/>
                  </a:lnTo>
                  <a:lnTo>
                    <a:pt x="1186" y="509"/>
                  </a:lnTo>
                  <a:lnTo>
                    <a:pt x="1189" y="518"/>
                  </a:lnTo>
                  <a:lnTo>
                    <a:pt x="1193" y="526"/>
                  </a:lnTo>
                  <a:lnTo>
                    <a:pt x="1198" y="534"/>
                  </a:lnTo>
                  <a:lnTo>
                    <a:pt x="1205" y="541"/>
                  </a:lnTo>
                  <a:lnTo>
                    <a:pt x="1211" y="548"/>
                  </a:lnTo>
                  <a:lnTo>
                    <a:pt x="1219" y="554"/>
                  </a:lnTo>
                  <a:lnTo>
                    <a:pt x="1227" y="560"/>
                  </a:lnTo>
                  <a:lnTo>
                    <a:pt x="1262" y="581"/>
                  </a:lnTo>
                  <a:lnTo>
                    <a:pt x="1289" y="597"/>
                  </a:lnTo>
                  <a:lnTo>
                    <a:pt x="1275" y="609"/>
                  </a:lnTo>
                  <a:lnTo>
                    <a:pt x="1265" y="619"/>
                  </a:lnTo>
                  <a:lnTo>
                    <a:pt x="1255" y="633"/>
                  </a:lnTo>
                  <a:lnTo>
                    <a:pt x="1247" y="645"/>
                  </a:lnTo>
                  <a:lnTo>
                    <a:pt x="1242" y="659"/>
                  </a:lnTo>
                  <a:lnTo>
                    <a:pt x="1237" y="675"/>
                  </a:lnTo>
                  <a:lnTo>
                    <a:pt x="1235" y="693"/>
                  </a:lnTo>
                  <a:lnTo>
                    <a:pt x="1234" y="711"/>
                  </a:lnTo>
                  <a:lnTo>
                    <a:pt x="1235" y="727"/>
                  </a:lnTo>
                  <a:lnTo>
                    <a:pt x="1238" y="745"/>
                  </a:lnTo>
                  <a:lnTo>
                    <a:pt x="1243" y="761"/>
                  </a:lnTo>
                  <a:lnTo>
                    <a:pt x="1250" y="777"/>
                  </a:lnTo>
                  <a:lnTo>
                    <a:pt x="1258" y="791"/>
                  </a:lnTo>
                  <a:lnTo>
                    <a:pt x="1267" y="803"/>
                  </a:lnTo>
                  <a:lnTo>
                    <a:pt x="1271" y="809"/>
                  </a:lnTo>
                  <a:lnTo>
                    <a:pt x="1277" y="814"/>
                  </a:lnTo>
                  <a:lnTo>
                    <a:pt x="1282" y="817"/>
                  </a:lnTo>
                  <a:lnTo>
                    <a:pt x="1289" y="819"/>
                  </a:lnTo>
                  <a:lnTo>
                    <a:pt x="1295" y="842"/>
                  </a:lnTo>
                  <a:lnTo>
                    <a:pt x="1300" y="865"/>
                  </a:lnTo>
                  <a:lnTo>
                    <a:pt x="1303" y="886"/>
                  </a:lnTo>
                  <a:lnTo>
                    <a:pt x="1307" y="906"/>
                  </a:lnTo>
                  <a:lnTo>
                    <a:pt x="1310" y="915"/>
                  </a:lnTo>
                  <a:lnTo>
                    <a:pt x="1312" y="923"/>
                  </a:lnTo>
                  <a:lnTo>
                    <a:pt x="1316" y="933"/>
                  </a:lnTo>
                  <a:lnTo>
                    <a:pt x="1322" y="941"/>
                  </a:lnTo>
                  <a:lnTo>
                    <a:pt x="1327" y="947"/>
                  </a:lnTo>
                  <a:lnTo>
                    <a:pt x="1335" y="954"/>
                  </a:lnTo>
                  <a:lnTo>
                    <a:pt x="1343" y="959"/>
                  </a:lnTo>
                  <a:lnTo>
                    <a:pt x="1354" y="965"/>
                  </a:lnTo>
                  <a:lnTo>
                    <a:pt x="1346" y="1009"/>
                  </a:lnTo>
                  <a:lnTo>
                    <a:pt x="1336" y="1061"/>
                  </a:lnTo>
                  <a:lnTo>
                    <a:pt x="1328" y="1114"/>
                  </a:lnTo>
                  <a:lnTo>
                    <a:pt x="1320" y="1166"/>
                  </a:lnTo>
                  <a:lnTo>
                    <a:pt x="1315" y="1212"/>
                  </a:lnTo>
                  <a:lnTo>
                    <a:pt x="1310" y="1251"/>
                  </a:lnTo>
                  <a:lnTo>
                    <a:pt x="1307" y="1278"/>
                  </a:lnTo>
                  <a:lnTo>
                    <a:pt x="1306" y="1290"/>
                  </a:lnTo>
                  <a:lnTo>
                    <a:pt x="1303" y="1296"/>
                  </a:lnTo>
                  <a:lnTo>
                    <a:pt x="1294" y="1314"/>
                  </a:lnTo>
                  <a:lnTo>
                    <a:pt x="1281" y="1336"/>
                  </a:lnTo>
                  <a:lnTo>
                    <a:pt x="1262" y="1364"/>
                  </a:lnTo>
                  <a:lnTo>
                    <a:pt x="1242" y="1394"/>
                  </a:lnTo>
                  <a:lnTo>
                    <a:pt x="1219" y="1422"/>
                  </a:lnTo>
                  <a:lnTo>
                    <a:pt x="1209" y="1436"/>
                  </a:lnTo>
                  <a:lnTo>
                    <a:pt x="1197" y="1448"/>
                  </a:lnTo>
                  <a:lnTo>
                    <a:pt x="1185" y="1460"/>
                  </a:lnTo>
                  <a:lnTo>
                    <a:pt x="1174" y="1470"/>
                  </a:lnTo>
                  <a:lnTo>
                    <a:pt x="1147" y="1491"/>
                  </a:lnTo>
                  <a:lnTo>
                    <a:pt x="1125" y="1512"/>
                  </a:lnTo>
                  <a:lnTo>
                    <a:pt x="1114" y="1523"/>
                  </a:lnTo>
                  <a:lnTo>
                    <a:pt x="1103" y="1534"/>
                  </a:lnTo>
                  <a:lnTo>
                    <a:pt x="1094" y="1546"/>
                  </a:lnTo>
                  <a:lnTo>
                    <a:pt x="1086" y="1556"/>
                  </a:lnTo>
                  <a:lnTo>
                    <a:pt x="1078" y="1568"/>
                  </a:lnTo>
                  <a:lnTo>
                    <a:pt x="1071" y="1580"/>
                  </a:lnTo>
                  <a:lnTo>
                    <a:pt x="1065" y="1592"/>
                  </a:lnTo>
                  <a:lnTo>
                    <a:pt x="1059" y="1604"/>
                  </a:lnTo>
                  <a:lnTo>
                    <a:pt x="1055" y="1618"/>
                  </a:lnTo>
                  <a:lnTo>
                    <a:pt x="1051" y="1630"/>
                  </a:lnTo>
                  <a:lnTo>
                    <a:pt x="1049" y="1643"/>
                  </a:lnTo>
                  <a:lnTo>
                    <a:pt x="1047" y="1656"/>
                  </a:lnTo>
                  <a:lnTo>
                    <a:pt x="1045" y="1668"/>
                  </a:lnTo>
                  <a:lnTo>
                    <a:pt x="1042" y="1679"/>
                  </a:lnTo>
                  <a:lnTo>
                    <a:pt x="1039" y="1688"/>
                  </a:lnTo>
                  <a:lnTo>
                    <a:pt x="1035" y="1698"/>
                  </a:lnTo>
                  <a:lnTo>
                    <a:pt x="1027" y="1714"/>
                  </a:lnTo>
                  <a:lnTo>
                    <a:pt x="1017" y="1726"/>
                  </a:lnTo>
                  <a:lnTo>
                    <a:pt x="1006" y="1738"/>
                  </a:lnTo>
                  <a:lnTo>
                    <a:pt x="994" y="1747"/>
                  </a:lnTo>
                  <a:lnTo>
                    <a:pt x="981" y="1754"/>
                  </a:lnTo>
                  <a:lnTo>
                    <a:pt x="969" y="1760"/>
                  </a:lnTo>
                  <a:lnTo>
                    <a:pt x="943" y="1772"/>
                  </a:lnTo>
                  <a:lnTo>
                    <a:pt x="922" y="1784"/>
                  </a:lnTo>
                  <a:lnTo>
                    <a:pt x="914" y="1791"/>
                  </a:lnTo>
                  <a:lnTo>
                    <a:pt x="909" y="1799"/>
                  </a:lnTo>
                  <a:lnTo>
                    <a:pt x="906" y="1803"/>
                  </a:lnTo>
                  <a:lnTo>
                    <a:pt x="903" y="1808"/>
                  </a:lnTo>
                  <a:lnTo>
                    <a:pt x="903" y="1813"/>
                  </a:lnTo>
                  <a:lnTo>
                    <a:pt x="902" y="1819"/>
                  </a:lnTo>
                  <a:lnTo>
                    <a:pt x="903" y="1828"/>
                  </a:lnTo>
                  <a:lnTo>
                    <a:pt x="905" y="1835"/>
                  </a:lnTo>
                  <a:lnTo>
                    <a:pt x="906" y="1843"/>
                  </a:lnTo>
                  <a:lnTo>
                    <a:pt x="909" y="1849"/>
                  </a:lnTo>
                  <a:lnTo>
                    <a:pt x="913" y="1863"/>
                  </a:lnTo>
                  <a:lnTo>
                    <a:pt x="914" y="1880"/>
                  </a:lnTo>
                  <a:lnTo>
                    <a:pt x="890" y="1895"/>
                  </a:lnTo>
                  <a:lnTo>
                    <a:pt x="863" y="1907"/>
                  </a:lnTo>
                  <a:lnTo>
                    <a:pt x="858" y="1911"/>
                  </a:lnTo>
                  <a:lnTo>
                    <a:pt x="851" y="1913"/>
                  </a:lnTo>
                  <a:lnTo>
                    <a:pt x="846" y="1919"/>
                  </a:lnTo>
                  <a:lnTo>
                    <a:pt x="842" y="1924"/>
                  </a:lnTo>
                  <a:lnTo>
                    <a:pt x="838" y="1929"/>
                  </a:lnTo>
                  <a:lnTo>
                    <a:pt x="834" y="1936"/>
                  </a:lnTo>
                  <a:lnTo>
                    <a:pt x="831" y="1943"/>
                  </a:lnTo>
                  <a:lnTo>
                    <a:pt x="830" y="1952"/>
                  </a:lnTo>
                  <a:lnTo>
                    <a:pt x="825" y="1951"/>
                  </a:lnTo>
                  <a:lnTo>
                    <a:pt x="819" y="1949"/>
                  </a:lnTo>
                  <a:lnTo>
                    <a:pt x="817" y="1947"/>
                  </a:lnTo>
                  <a:lnTo>
                    <a:pt x="814" y="1945"/>
                  </a:lnTo>
                  <a:lnTo>
                    <a:pt x="811" y="1940"/>
                  </a:lnTo>
                  <a:lnTo>
                    <a:pt x="811" y="1935"/>
                  </a:lnTo>
                  <a:lnTo>
                    <a:pt x="813" y="1928"/>
                  </a:lnTo>
                  <a:lnTo>
                    <a:pt x="813" y="1920"/>
                  </a:lnTo>
                  <a:lnTo>
                    <a:pt x="813" y="1916"/>
                  </a:lnTo>
                  <a:lnTo>
                    <a:pt x="811" y="1912"/>
                  </a:lnTo>
                  <a:lnTo>
                    <a:pt x="809" y="1908"/>
                  </a:lnTo>
                  <a:lnTo>
                    <a:pt x="806" y="1904"/>
                  </a:lnTo>
                  <a:lnTo>
                    <a:pt x="798" y="1888"/>
                  </a:lnTo>
                  <a:lnTo>
                    <a:pt x="790" y="1879"/>
                  </a:lnTo>
                  <a:lnTo>
                    <a:pt x="786" y="1875"/>
                  </a:lnTo>
                  <a:lnTo>
                    <a:pt x="782" y="1873"/>
                  </a:lnTo>
                  <a:lnTo>
                    <a:pt x="778" y="1871"/>
                  </a:lnTo>
                  <a:lnTo>
                    <a:pt x="774" y="1871"/>
                  </a:lnTo>
                  <a:lnTo>
                    <a:pt x="754" y="1871"/>
                  </a:lnTo>
                  <a:lnTo>
                    <a:pt x="727" y="1873"/>
                  </a:lnTo>
                  <a:lnTo>
                    <a:pt x="722" y="1873"/>
                  </a:lnTo>
                  <a:lnTo>
                    <a:pt x="715" y="1872"/>
                  </a:lnTo>
                  <a:lnTo>
                    <a:pt x="711" y="1869"/>
                  </a:lnTo>
                  <a:lnTo>
                    <a:pt x="707" y="1867"/>
                  </a:lnTo>
                  <a:lnTo>
                    <a:pt x="699" y="1860"/>
                  </a:lnTo>
                  <a:lnTo>
                    <a:pt x="695" y="1852"/>
                  </a:lnTo>
                  <a:lnTo>
                    <a:pt x="687" y="1832"/>
                  </a:lnTo>
                  <a:lnTo>
                    <a:pt x="679" y="1813"/>
                  </a:lnTo>
                  <a:lnTo>
                    <a:pt x="674" y="1804"/>
                  </a:lnTo>
                  <a:lnTo>
                    <a:pt x="667" y="1796"/>
                  </a:lnTo>
                  <a:lnTo>
                    <a:pt x="659" y="1788"/>
                  </a:lnTo>
                  <a:lnTo>
                    <a:pt x="653" y="1781"/>
                  </a:lnTo>
                  <a:lnTo>
                    <a:pt x="637" y="1771"/>
                  </a:lnTo>
                  <a:lnTo>
                    <a:pt x="619" y="1762"/>
                  </a:lnTo>
                  <a:lnTo>
                    <a:pt x="602" y="1752"/>
                  </a:lnTo>
                  <a:lnTo>
                    <a:pt x="586" y="1742"/>
                  </a:lnTo>
                  <a:lnTo>
                    <a:pt x="579" y="1736"/>
                  </a:lnTo>
                  <a:lnTo>
                    <a:pt x="571" y="1728"/>
                  </a:lnTo>
                  <a:lnTo>
                    <a:pt x="565" y="1720"/>
                  </a:lnTo>
                  <a:lnTo>
                    <a:pt x="559" y="1711"/>
                  </a:lnTo>
                  <a:lnTo>
                    <a:pt x="551" y="1715"/>
                  </a:lnTo>
                  <a:lnTo>
                    <a:pt x="543" y="1716"/>
                  </a:lnTo>
                  <a:lnTo>
                    <a:pt x="537" y="1716"/>
                  </a:lnTo>
                  <a:lnTo>
                    <a:pt x="530" y="1715"/>
                  </a:lnTo>
                  <a:lnTo>
                    <a:pt x="521" y="1712"/>
                  </a:lnTo>
                  <a:lnTo>
                    <a:pt x="512" y="1711"/>
                  </a:lnTo>
                  <a:lnTo>
                    <a:pt x="500" y="1711"/>
                  </a:lnTo>
                  <a:lnTo>
                    <a:pt x="489" y="1708"/>
                  </a:lnTo>
                  <a:lnTo>
                    <a:pt x="480" y="1707"/>
                  </a:lnTo>
                  <a:lnTo>
                    <a:pt x="470" y="1703"/>
                  </a:lnTo>
                  <a:lnTo>
                    <a:pt x="454" y="1695"/>
                  </a:lnTo>
                  <a:lnTo>
                    <a:pt x="440" y="1684"/>
                  </a:lnTo>
                  <a:lnTo>
                    <a:pt x="424" y="1672"/>
                  </a:lnTo>
                  <a:lnTo>
                    <a:pt x="408" y="1660"/>
                  </a:lnTo>
                  <a:lnTo>
                    <a:pt x="400" y="1655"/>
                  </a:lnTo>
                  <a:lnTo>
                    <a:pt x="389" y="1648"/>
                  </a:lnTo>
                  <a:lnTo>
                    <a:pt x="378" y="1643"/>
                  </a:lnTo>
                  <a:lnTo>
                    <a:pt x="366" y="1639"/>
                  </a:lnTo>
                  <a:lnTo>
                    <a:pt x="330" y="1628"/>
                  </a:lnTo>
                  <a:lnTo>
                    <a:pt x="297" y="1622"/>
                  </a:lnTo>
                  <a:lnTo>
                    <a:pt x="281" y="1616"/>
                  </a:lnTo>
                  <a:lnTo>
                    <a:pt x="266" y="1611"/>
                  </a:lnTo>
                  <a:lnTo>
                    <a:pt x="258" y="1607"/>
                  </a:lnTo>
                  <a:lnTo>
                    <a:pt x="253" y="1602"/>
                  </a:lnTo>
                  <a:lnTo>
                    <a:pt x="246" y="1596"/>
                  </a:lnTo>
                  <a:lnTo>
                    <a:pt x="240" y="1591"/>
                  </a:lnTo>
                  <a:lnTo>
                    <a:pt x="236" y="1586"/>
                  </a:lnTo>
                  <a:lnTo>
                    <a:pt x="233" y="1579"/>
                  </a:lnTo>
                  <a:lnTo>
                    <a:pt x="230" y="1572"/>
                  </a:lnTo>
                  <a:lnTo>
                    <a:pt x="229" y="1566"/>
                  </a:lnTo>
                  <a:lnTo>
                    <a:pt x="225" y="1550"/>
                  </a:lnTo>
                  <a:lnTo>
                    <a:pt x="222" y="1534"/>
                  </a:lnTo>
                  <a:lnTo>
                    <a:pt x="220" y="1526"/>
                  </a:lnTo>
                  <a:lnTo>
                    <a:pt x="218" y="1518"/>
                  </a:lnTo>
                  <a:lnTo>
                    <a:pt x="216" y="1511"/>
                  </a:lnTo>
                  <a:lnTo>
                    <a:pt x="212" y="1506"/>
                  </a:lnTo>
                  <a:lnTo>
                    <a:pt x="206" y="1500"/>
                  </a:lnTo>
                  <a:lnTo>
                    <a:pt x="201" y="1498"/>
                  </a:lnTo>
                  <a:lnTo>
                    <a:pt x="194" y="1495"/>
                  </a:lnTo>
                  <a:lnTo>
                    <a:pt x="186" y="1494"/>
                  </a:lnTo>
                  <a:lnTo>
                    <a:pt x="178" y="1495"/>
                  </a:lnTo>
                  <a:lnTo>
                    <a:pt x="172" y="1496"/>
                  </a:lnTo>
                  <a:lnTo>
                    <a:pt x="166" y="1499"/>
                  </a:lnTo>
                  <a:lnTo>
                    <a:pt x="160" y="1502"/>
                  </a:lnTo>
                  <a:lnTo>
                    <a:pt x="149" y="1510"/>
                  </a:lnTo>
                  <a:lnTo>
                    <a:pt x="140" y="1520"/>
                  </a:lnTo>
                  <a:lnTo>
                    <a:pt x="122" y="1548"/>
                  </a:lnTo>
                  <a:lnTo>
                    <a:pt x="105" y="1578"/>
                  </a:lnTo>
                  <a:lnTo>
                    <a:pt x="97" y="1592"/>
                  </a:lnTo>
                  <a:lnTo>
                    <a:pt x="88" y="1606"/>
                  </a:lnTo>
                  <a:lnTo>
                    <a:pt x="78" y="1619"/>
                  </a:lnTo>
                  <a:lnTo>
                    <a:pt x="68" y="1628"/>
                  </a:lnTo>
                  <a:lnTo>
                    <a:pt x="62" y="1634"/>
                  </a:lnTo>
                  <a:lnTo>
                    <a:pt x="57" y="1636"/>
                  </a:lnTo>
                  <a:lnTo>
                    <a:pt x="50" y="1639"/>
                  </a:lnTo>
                  <a:lnTo>
                    <a:pt x="44" y="1642"/>
                  </a:lnTo>
                  <a:lnTo>
                    <a:pt x="36" y="1642"/>
                  </a:lnTo>
                  <a:lnTo>
                    <a:pt x="28" y="1642"/>
                  </a:lnTo>
                  <a:lnTo>
                    <a:pt x="20" y="1640"/>
                  </a:lnTo>
                  <a:lnTo>
                    <a:pt x="12" y="1639"/>
                  </a:lnTo>
                  <a:lnTo>
                    <a:pt x="10" y="1648"/>
                  </a:lnTo>
                  <a:lnTo>
                    <a:pt x="13" y="1658"/>
                  </a:lnTo>
                  <a:lnTo>
                    <a:pt x="17" y="1667"/>
                  </a:lnTo>
                  <a:lnTo>
                    <a:pt x="21" y="1676"/>
                  </a:lnTo>
                  <a:lnTo>
                    <a:pt x="22" y="1686"/>
                  </a:lnTo>
                  <a:lnTo>
                    <a:pt x="24" y="1692"/>
                  </a:lnTo>
                  <a:lnTo>
                    <a:pt x="22" y="1696"/>
                  </a:lnTo>
                  <a:lnTo>
                    <a:pt x="20" y="1700"/>
                  </a:lnTo>
                  <a:lnTo>
                    <a:pt x="16" y="1703"/>
                  </a:lnTo>
                  <a:lnTo>
                    <a:pt x="12" y="1704"/>
                  </a:lnTo>
                  <a:lnTo>
                    <a:pt x="9" y="1714"/>
                  </a:lnTo>
                  <a:lnTo>
                    <a:pt x="5" y="1724"/>
                  </a:lnTo>
                  <a:lnTo>
                    <a:pt x="4" y="1731"/>
                  </a:lnTo>
                  <a:lnTo>
                    <a:pt x="1" y="1738"/>
                  </a:lnTo>
                  <a:lnTo>
                    <a:pt x="0" y="1744"/>
                  </a:lnTo>
                  <a:lnTo>
                    <a:pt x="0" y="1754"/>
                  </a:lnTo>
                  <a:lnTo>
                    <a:pt x="0" y="1760"/>
                  </a:lnTo>
                  <a:lnTo>
                    <a:pt x="1" y="1768"/>
                  </a:lnTo>
                  <a:lnTo>
                    <a:pt x="4" y="1775"/>
                  </a:lnTo>
                  <a:lnTo>
                    <a:pt x="6" y="1781"/>
                  </a:lnTo>
                  <a:lnTo>
                    <a:pt x="16" y="1793"/>
                  </a:lnTo>
                  <a:lnTo>
                    <a:pt x="25" y="1804"/>
                  </a:lnTo>
                  <a:lnTo>
                    <a:pt x="45" y="1823"/>
                  </a:lnTo>
                  <a:lnTo>
                    <a:pt x="60" y="1837"/>
                  </a:lnTo>
                  <a:lnTo>
                    <a:pt x="118" y="1851"/>
                  </a:lnTo>
                  <a:lnTo>
                    <a:pt x="178" y="1864"/>
                  </a:lnTo>
                  <a:lnTo>
                    <a:pt x="242" y="1876"/>
                  </a:lnTo>
                  <a:lnTo>
                    <a:pt x="306" y="1889"/>
                  </a:lnTo>
                  <a:lnTo>
                    <a:pt x="369" y="1903"/>
                  </a:lnTo>
                  <a:lnTo>
                    <a:pt x="432" y="1916"/>
                  </a:lnTo>
                  <a:lnTo>
                    <a:pt x="492" y="1931"/>
                  </a:lnTo>
                  <a:lnTo>
                    <a:pt x="547" y="1945"/>
                  </a:lnTo>
                  <a:lnTo>
                    <a:pt x="557" y="1949"/>
                  </a:lnTo>
                  <a:lnTo>
                    <a:pt x="565" y="1953"/>
                  </a:lnTo>
                  <a:lnTo>
                    <a:pt x="573" y="1959"/>
                  </a:lnTo>
                  <a:lnTo>
                    <a:pt x="579" y="1964"/>
                  </a:lnTo>
                  <a:lnTo>
                    <a:pt x="586" y="1971"/>
                  </a:lnTo>
                  <a:lnTo>
                    <a:pt x="591" y="1979"/>
                  </a:lnTo>
                  <a:lnTo>
                    <a:pt x="597" y="1987"/>
                  </a:lnTo>
                  <a:lnTo>
                    <a:pt x="602" y="1995"/>
                  </a:lnTo>
                  <a:lnTo>
                    <a:pt x="621" y="2033"/>
                  </a:lnTo>
                  <a:lnTo>
                    <a:pt x="637" y="2075"/>
                  </a:lnTo>
                  <a:lnTo>
                    <a:pt x="646" y="2095"/>
                  </a:lnTo>
                  <a:lnTo>
                    <a:pt x="657" y="2115"/>
                  </a:lnTo>
                  <a:lnTo>
                    <a:pt x="662" y="2124"/>
                  </a:lnTo>
                  <a:lnTo>
                    <a:pt x="669" y="2132"/>
                  </a:lnTo>
                  <a:lnTo>
                    <a:pt x="675" y="2140"/>
                  </a:lnTo>
                  <a:lnTo>
                    <a:pt x="683" y="2148"/>
                  </a:lnTo>
                  <a:lnTo>
                    <a:pt x="691" y="2155"/>
                  </a:lnTo>
                  <a:lnTo>
                    <a:pt x="701" y="2161"/>
                  </a:lnTo>
                  <a:lnTo>
                    <a:pt x="711" y="2167"/>
                  </a:lnTo>
                  <a:lnTo>
                    <a:pt x="722" y="2172"/>
                  </a:lnTo>
                  <a:lnTo>
                    <a:pt x="734" y="2176"/>
                  </a:lnTo>
                  <a:lnTo>
                    <a:pt x="747" y="2179"/>
                  </a:lnTo>
                  <a:lnTo>
                    <a:pt x="761" y="2180"/>
                  </a:lnTo>
                  <a:lnTo>
                    <a:pt x="777" y="2180"/>
                  </a:lnTo>
                  <a:lnTo>
                    <a:pt x="794" y="2180"/>
                  </a:lnTo>
                  <a:lnTo>
                    <a:pt x="813" y="2179"/>
                  </a:lnTo>
                  <a:lnTo>
                    <a:pt x="829" y="2177"/>
                  </a:lnTo>
                  <a:lnTo>
                    <a:pt x="843" y="2175"/>
                  </a:lnTo>
                  <a:lnTo>
                    <a:pt x="858" y="2171"/>
                  </a:lnTo>
                  <a:lnTo>
                    <a:pt x="873" y="2167"/>
                  </a:lnTo>
                  <a:lnTo>
                    <a:pt x="885" y="2163"/>
                  </a:lnTo>
                  <a:lnTo>
                    <a:pt x="897" y="2157"/>
                  </a:lnTo>
                  <a:lnTo>
                    <a:pt x="921" y="2147"/>
                  </a:lnTo>
                  <a:lnTo>
                    <a:pt x="942" y="2135"/>
                  </a:lnTo>
                  <a:lnTo>
                    <a:pt x="962" y="2121"/>
                  </a:lnTo>
                  <a:lnTo>
                    <a:pt x="982" y="2108"/>
                  </a:lnTo>
                  <a:lnTo>
                    <a:pt x="1003" y="2095"/>
                  </a:lnTo>
                  <a:lnTo>
                    <a:pt x="1025" y="2081"/>
                  </a:lnTo>
                  <a:lnTo>
                    <a:pt x="1049" y="2069"/>
                  </a:lnTo>
                  <a:lnTo>
                    <a:pt x="1074" y="2059"/>
                  </a:lnTo>
                  <a:lnTo>
                    <a:pt x="1089" y="2053"/>
                  </a:lnTo>
                  <a:lnTo>
                    <a:pt x="1103" y="2049"/>
                  </a:lnTo>
                  <a:lnTo>
                    <a:pt x="1119" y="2045"/>
                  </a:lnTo>
                  <a:lnTo>
                    <a:pt x="1137" y="2043"/>
                  </a:lnTo>
                  <a:lnTo>
                    <a:pt x="1154" y="2040"/>
                  </a:lnTo>
                  <a:lnTo>
                    <a:pt x="1174" y="2037"/>
                  </a:lnTo>
                  <a:lnTo>
                    <a:pt x="1194" y="2036"/>
                  </a:lnTo>
                  <a:lnTo>
                    <a:pt x="1215" y="2036"/>
                  </a:lnTo>
                  <a:lnTo>
                    <a:pt x="1233" y="2037"/>
                  </a:lnTo>
                  <a:lnTo>
                    <a:pt x="1249" y="2039"/>
                  </a:lnTo>
                  <a:lnTo>
                    <a:pt x="1265" y="2043"/>
                  </a:lnTo>
                  <a:lnTo>
                    <a:pt x="1279" y="2047"/>
                  </a:lnTo>
                  <a:lnTo>
                    <a:pt x="1307" y="2057"/>
                  </a:lnTo>
                  <a:lnTo>
                    <a:pt x="1334" y="2069"/>
                  </a:lnTo>
                  <a:lnTo>
                    <a:pt x="1358" y="2081"/>
                  </a:lnTo>
                  <a:lnTo>
                    <a:pt x="1380" y="2089"/>
                  </a:lnTo>
                  <a:lnTo>
                    <a:pt x="1391" y="2092"/>
                  </a:lnTo>
                  <a:lnTo>
                    <a:pt x="1402" y="2093"/>
                  </a:lnTo>
                  <a:lnTo>
                    <a:pt x="1411" y="2092"/>
                  </a:lnTo>
                  <a:lnTo>
                    <a:pt x="1420" y="2091"/>
                  </a:lnTo>
                  <a:lnTo>
                    <a:pt x="1430" y="2087"/>
                  </a:lnTo>
                  <a:lnTo>
                    <a:pt x="1438" y="2085"/>
                  </a:lnTo>
                  <a:lnTo>
                    <a:pt x="1444" y="2084"/>
                  </a:lnTo>
                  <a:lnTo>
                    <a:pt x="1451" y="2084"/>
                  </a:lnTo>
                  <a:lnTo>
                    <a:pt x="1456" y="20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07" name="Freeform 103"/>
            <p:cNvSpPr>
              <a:spLocks/>
            </p:cNvSpPr>
            <p:nvPr/>
          </p:nvSpPr>
          <p:spPr bwMode="auto">
            <a:xfrm>
              <a:off x="5127947" y="2192338"/>
              <a:ext cx="2119313" cy="2627312"/>
            </a:xfrm>
            <a:custGeom>
              <a:avLst/>
              <a:gdLst/>
              <a:ahLst/>
              <a:cxnLst>
                <a:cxn ang="0">
                  <a:pos x="4098" y="2415"/>
                </a:cxn>
                <a:cxn ang="0">
                  <a:pos x="4030" y="2039"/>
                </a:cxn>
                <a:cxn ang="0">
                  <a:pos x="4047" y="1887"/>
                </a:cxn>
                <a:cxn ang="0">
                  <a:pos x="4228" y="1771"/>
                </a:cxn>
                <a:cxn ang="0">
                  <a:pos x="4323" y="1551"/>
                </a:cxn>
                <a:cxn ang="0">
                  <a:pos x="4202" y="1296"/>
                </a:cxn>
                <a:cxn ang="0">
                  <a:pos x="4146" y="1152"/>
                </a:cxn>
                <a:cxn ang="0">
                  <a:pos x="4268" y="950"/>
                </a:cxn>
                <a:cxn ang="0">
                  <a:pos x="4370" y="801"/>
                </a:cxn>
                <a:cxn ang="0">
                  <a:pos x="4135" y="664"/>
                </a:cxn>
                <a:cxn ang="0">
                  <a:pos x="3965" y="531"/>
                </a:cxn>
                <a:cxn ang="0">
                  <a:pos x="4062" y="239"/>
                </a:cxn>
                <a:cxn ang="0">
                  <a:pos x="3903" y="8"/>
                </a:cxn>
                <a:cxn ang="0">
                  <a:pos x="3958" y="224"/>
                </a:cxn>
                <a:cxn ang="0">
                  <a:pos x="3649" y="146"/>
                </a:cxn>
                <a:cxn ang="0">
                  <a:pos x="3306" y="108"/>
                </a:cxn>
                <a:cxn ang="0">
                  <a:pos x="3100" y="520"/>
                </a:cxn>
                <a:cxn ang="0">
                  <a:pos x="2777" y="501"/>
                </a:cxn>
                <a:cxn ang="0">
                  <a:pos x="2553" y="648"/>
                </a:cxn>
                <a:cxn ang="0">
                  <a:pos x="2508" y="680"/>
                </a:cxn>
                <a:cxn ang="0">
                  <a:pos x="2457" y="631"/>
                </a:cxn>
                <a:cxn ang="0">
                  <a:pos x="2148" y="879"/>
                </a:cxn>
                <a:cxn ang="0">
                  <a:pos x="2169" y="1009"/>
                </a:cxn>
                <a:cxn ang="0">
                  <a:pos x="2144" y="1217"/>
                </a:cxn>
                <a:cxn ang="0">
                  <a:pos x="1996" y="1328"/>
                </a:cxn>
                <a:cxn ang="0">
                  <a:pos x="1759" y="1458"/>
                </a:cxn>
                <a:cxn ang="0">
                  <a:pos x="1627" y="1703"/>
                </a:cxn>
                <a:cxn ang="0">
                  <a:pos x="1406" y="1406"/>
                </a:cxn>
                <a:cxn ang="0">
                  <a:pos x="1121" y="1373"/>
                </a:cxn>
                <a:cxn ang="0">
                  <a:pos x="961" y="1511"/>
                </a:cxn>
                <a:cxn ang="0">
                  <a:pos x="691" y="1706"/>
                </a:cxn>
                <a:cxn ang="0">
                  <a:pos x="301" y="1707"/>
                </a:cxn>
                <a:cxn ang="0">
                  <a:pos x="96" y="1718"/>
                </a:cxn>
                <a:cxn ang="0">
                  <a:pos x="133" y="1995"/>
                </a:cxn>
                <a:cxn ang="0">
                  <a:pos x="338" y="2306"/>
                </a:cxn>
                <a:cxn ang="0">
                  <a:pos x="225" y="2729"/>
                </a:cxn>
                <a:cxn ang="0">
                  <a:pos x="29" y="2913"/>
                </a:cxn>
                <a:cxn ang="0">
                  <a:pos x="118" y="3544"/>
                </a:cxn>
                <a:cxn ang="0">
                  <a:pos x="178" y="3756"/>
                </a:cxn>
                <a:cxn ang="0">
                  <a:pos x="234" y="4083"/>
                </a:cxn>
                <a:cxn ang="0">
                  <a:pos x="562" y="4226"/>
                </a:cxn>
                <a:cxn ang="0">
                  <a:pos x="698" y="4436"/>
                </a:cxn>
                <a:cxn ang="0">
                  <a:pos x="825" y="4672"/>
                </a:cxn>
                <a:cxn ang="0">
                  <a:pos x="945" y="5059"/>
                </a:cxn>
                <a:cxn ang="0">
                  <a:pos x="1071" y="5385"/>
                </a:cxn>
                <a:cxn ang="0">
                  <a:pos x="1352" y="5281"/>
                </a:cxn>
                <a:cxn ang="0">
                  <a:pos x="1538" y="4858"/>
                </a:cxn>
                <a:cxn ang="0">
                  <a:pos x="1812" y="4938"/>
                </a:cxn>
                <a:cxn ang="0">
                  <a:pos x="2053" y="5041"/>
                </a:cxn>
                <a:cxn ang="0">
                  <a:pos x="2361" y="5403"/>
                </a:cxn>
                <a:cxn ang="0">
                  <a:pos x="2806" y="5343"/>
                </a:cxn>
                <a:cxn ang="0">
                  <a:pos x="3190" y="5351"/>
                </a:cxn>
                <a:cxn ang="0">
                  <a:pos x="3591" y="5177"/>
                </a:cxn>
                <a:cxn ang="0">
                  <a:pos x="3815" y="4707"/>
                </a:cxn>
                <a:cxn ang="0">
                  <a:pos x="3658" y="4462"/>
                </a:cxn>
                <a:cxn ang="0">
                  <a:pos x="3619" y="4087"/>
                </a:cxn>
                <a:cxn ang="0">
                  <a:pos x="3811" y="3833"/>
                </a:cxn>
                <a:cxn ang="0">
                  <a:pos x="3971" y="3642"/>
                </a:cxn>
                <a:cxn ang="0">
                  <a:pos x="3841" y="3377"/>
                </a:cxn>
                <a:cxn ang="0">
                  <a:pos x="3810" y="2968"/>
                </a:cxn>
                <a:cxn ang="0">
                  <a:pos x="4019" y="2849"/>
                </a:cxn>
                <a:cxn ang="0">
                  <a:pos x="4244" y="2713"/>
                </a:cxn>
              </a:cxnLst>
              <a:rect l="0" t="0" r="r" b="b"/>
              <a:pathLst>
                <a:path w="4371" h="5420">
                  <a:moveTo>
                    <a:pt x="4208" y="2608"/>
                  </a:moveTo>
                  <a:lnTo>
                    <a:pt x="4208" y="2600"/>
                  </a:lnTo>
                  <a:lnTo>
                    <a:pt x="4207" y="2592"/>
                  </a:lnTo>
                  <a:lnTo>
                    <a:pt x="4206" y="2586"/>
                  </a:lnTo>
                  <a:lnTo>
                    <a:pt x="4203" y="2579"/>
                  </a:lnTo>
                  <a:lnTo>
                    <a:pt x="4198" y="2567"/>
                  </a:lnTo>
                  <a:lnTo>
                    <a:pt x="4191" y="2556"/>
                  </a:lnTo>
                  <a:lnTo>
                    <a:pt x="4185" y="2548"/>
                  </a:lnTo>
                  <a:lnTo>
                    <a:pt x="4178" y="2539"/>
                  </a:lnTo>
                  <a:lnTo>
                    <a:pt x="4177" y="2534"/>
                  </a:lnTo>
                  <a:lnTo>
                    <a:pt x="4174" y="2530"/>
                  </a:lnTo>
                  <a:lnTo>
                    <a:pt x="4173" y="2524"/>
                  </a:lnTo>
                  <a:lnTo>
                    <a:pt x="4173" y="2519"/>
                  </a:lnTo>
                  <a:lnTo>
                    <a:pt x="4173" y="2515"/>
                  </a:lnTo>
                  <a:lnTo>
                    <a:pt x="4173" y="2504"/>
                  </a:lnTo>
                  <a:lnTo>
                    <a:pt x="4173" y="2491"/>
                  </a:lnTo>
                  <a:lnTo>
                    <a:pt x="4173" y="2476"/>
                  </a:lnTo>
                  <a:lnTo>
                    <a:pt x="4173" y="2468"/>
                  </a:lnTo>
                  <a:lnTo>
                    <a:pt x="4170" y="2460"/>
                  </a:lnTo>
                  <a:lnTo>
                    <a:pt x="4166" y="2455"/>
                  </a:lnTo>
                  <a:lnTo>
                    <a:pt x="4161" y="2448"/>
                  </a:lnTo>
                  <a:lnTo>
                    <a:pt x="4149" y="2440"/>
                  </a:lnTo>
                  <a:lnTo>
                    <a:pt x="4134" y="2432"/>
                  </a:lnTo>
                  <a:lnTo>
                    <a:pt x="4119" y="2426"/>
                  </a:lnTo>
                  <a:lnTo>
                    <a:pt x="4105" y="2419"/>
                  </a:lnTo>
                  <a:lnTo>
                    <a:pt x="4098" y="2415"/>
                  </a:lnTo>
                  <a:lnTo>
                    <a:pt x="4091" y="2410"/>
                  </a:lnTo>
                  <a:lnTo>
                    <a:pt x="4086" y="2404"/>
                  </a:lnTo>
                  <a:lnTo>
                    <a:pt x="4082" y="2398"/>
                  </a:lnTo>
                  <a:lnTo>
                    <a:pt x="4066" y="2371"/>
                  </a:lnTo>
                  <a:lnTo>
                    <a:pt x="4047" y="2346"/>
                  </a:lnTo>
                  <a:lnTo>
                    <a:pt x="4030" y="2323"/>
                  </a:lnTo>
                  <a:lnTo>
                    <a:pt x="4013" y="2299"/>
                  </a:lnTo>
                  <a:lnTo>
                    <a:pt x="4005" y="2286"/>
                  </a:lnTo>
                  <a:lnTo>
                    <a:pt x="3997" y="2272"/>
                  </a:lnTo>
                  <a:lnTo>
                    <a:pt x="3991" y="2258"/>
                  </a:lnTo>
                  <a:lnTo>
                    <a:pt x="3985" y="2242"/>
                  </a:lnTo>
                  <a:lnTo>
                    <a:pt x="3981" y="2226"/>
                  </a:lnTo>
                  <a:lnTo>
                    <a:pt x="3977" y="2207"/>
                  </a:lnTo>
                  <a:lnTo>
                    <a:pt x="3975" y="2186"/>
                  </a:lnTo>
                  <a:lnTo>
                    <a:pt x="3974" y="2163"/>
                  </a:lnTo>
                  <a:lnTo>
                    <a:pt x="3974" y="2152"/>
                  </a:lnTo>
                  <a:lnTo>
                    <a:pt x="3975" y="2143"/>
                  </a:lnTo>
                  <a:lnTo>
                    <a:pt x="3978" y="2132"/>
                  </a:lnTo>
                  <a:lnTo>
                    <a:pt x="3981" y="2122"/>
                  </a:lnTo>
                  <a:lnTo>
                    <a:pt x="3987" y="2100"/>
                  </a:lnTo>
                  <a:lnTo>
                    <a:pt x="3998" y="2081"/>
                  </a:lnTo>
                  <a:lnTo>
                    <a:pt x="4003" y="2071"/>
                  </a:lnTo>
                  <a:lnTo>
                    <a:pt x="4009" y="2062"/>
                  </a:lnTo>
                  <a:lnTo>
                    <a:pt x="4015" y="2054"/>
                  </a:lnTo>
                  <a:lnTo>
                    <a:pt x="4022" y="2046"/>
                  </a:lnTo>
                  <a:lnTo>
                    <a:pt x="4030" y="2039"/>
                  </a:lnTo>
                  <a:lnTo>
                    <a:pt x="4037" y="2034"/>
                  </a:lnTo>
                  <a:lnTo>
                    <a:pt x="4045" y="2029"/>
                  </a:lnTo>
                  <a:lnTo>
                    <a:pt x="4053" y="2025"/>
                  </a:lnTo>
                  <a:lnTo>
                    <a:pt x="4075" y="2021"/>
                  </a:lnTo>
                  <a:lnTo>
                    <a:pt x="4090" y="2018"/>
                  </a:lnTo>
                  <a:lnTo>
                    <a:pt x="4093" y="2017"/>
                  </a:lnTo>
                  <a:lnTo>
                    <a:pt x="4095" y="2015"/>
                  </a:lnTo>
                  <a:lnTo>
                    <a:pt x="4097" y="2014"/>
                  </a:lnTo>
                  <a:lnTo>
                    <a:pt x="4098" y="2010"/>
                  </a:lnTo>
                  <a:lnTo>
                    <a:pt x="4099" y="2002"/>
                  </a:lnTo>
                  <a:lnTo>
                    <a:pt x="4101" y="1989"/>
                  </a:lnTo>
                  <a:lnTo>
                    <a:pt x="4099" y="1981"/>
                  </a:lnTo>
                  <a:lnTo>
                    <a:pt x="4098" y="1973"/>
                  </a:lnTo>
                  <a:lnTo>
                    <a:pt x="4095" y="1966"/>
                  </a:lnTo>
                  <a:lnTo>
                    <a:pt x="4091" y="1961"/>
                  </a:lnTo>
                  <a:lnTo>
                    <a:pt x="4082" y="1951"/>
                  </a:lnTo>
                  <a:lnTo>
                    <a:pt x="4070" y="1943"/>
                  </a:lnTo>
                  <a:lnTo>
                    <a:pt x="4059" y="1935"/>
                  </a:lnTo>
                  <a:lnTo>
                    <a:pt x="4050" y="1929"/>
                  </a:lnTo>
                  <a:lnTo>
                    <a:pt x="4046" y="1925"/>
                  </a:lnTo>
                  <a:lnTo>
                    <a:pt x="4043" y="1921"/>
                  </a:lnTo>
                  <a:lnTo>
                    <a:pt x="4041" y="1915"/>
                  </a:lnTo>
                  <a:lnTo>
                    <a:pt x="4041" y="1910"/>
                  </a:lnTo>
                  <a:lnTo>
                    <a:pt x="4041" y="1902"/>
                  </a:lnTo>
                  <a:lnTo>
                    <a:pt x="4043" y="1894"/>
                  </a:lnTo>
                  <a:lnTo>
                    <a:pt x="4047" y="1887"/>
                  </a:lnTo>
                  <a:lnTo>
                    <a:pt x="4051" y="1881"/>
                  </a:lnTo>
                  <a:lnTo>
                    <a:pt x="4065" y="1870"/>
                  </a:lnTo>
                  <a:lnTo>
                    <a:pt x="4079" y="1859"/>
                  </a:lnTo>
                  <a:lnTo>
                    <a:pt x="4094" y="1849"/>
                  </a:lnTo>
                  <a:lnTo>
                    <a:pt x="4109" y="1838"/>
                  </a:lnTo>
                  <a:lnTo>
                    <a:pt x="4115" y="1831"/>
                  </a:lnTo>
                  <a:lnTo>
                    <a:pt x="4122" y="1825"/>
                  </a:lnTo>
                  <a:lnTo>
                    <a:pt x="4126" y="1817"/>
                  </a:lnTo>
                  <a:lnTo>
                    <a:pt x="4130" y="1809"/>
                  </a:lnTo>
                  <a:lnTo>
                    <a:pt x="4134" y="1794"/>
                  </a:lnTo>
                  <a:lnTo>
                    <a:pt x="4138" y="1777"/>
                  </a:lnTo>
                  <a:lnTo>
                    <a:pt x="4141" y="1767"/>
                  </a:lnTo>
                  <a:lnTo>
                    <a:pt x="4145" y="1761"/>
                  </a:lnTo>
                  <a:lnTo>
                    <a:pt x="4146" y="1758"/>
                  </a:lnTo>
                  <a:lnTo>
                    <a:pt x="4149" y="1755"/>
                  </a:lnTo>
                  <a:lnTo>
                    <a:pt x="4151" y="1754"/>
                  </a:lnTo>
                  <a:lnTo>
                    <a:pt x="4155" y="1754"/>
                  </a:lnTo>
                  <a:lnTo>
                    <a:pt x="4165" y="1754"/>
                  </a:lnTo>
                  <a:lnTo>
                    <a:pt x="4173" y="1757"/>
                  </a:lnTo>
                  <a:lnTo>
                    <a:pt x="4179" y="1759"/>
                  </a:lnTo>
                  <a:lnTo>
                    <a:pt x="4186" y="1763"/>
                  </a:lnTo>
                  <a:lnTo>
                    <a:pt x="4193" y="1766"/>
                  </a:lnTo>
                  <a:lnTo>
                    <a:pt x="4199" y="1769"/>
                  </a:lnTo>
                  <a:lnTo>
                    <a:pt x="4208" y="1771"/>
                  </a:lnTo>
                  <a:lnTo>
                    <a:pt x="4220" y="1771"/>
                  </a:lnTo>
                  <a:lnTo>
                    <a:pt x="4228" y="1771"/>
                  </a:lnTo>
                  <a:lnTo>
                    <a:pt x="4236" y="1770"/>
                  </a:lnTo>
                  <a:lnTo>
                    <a:pt x="4243" y="1769"/>
                  </a:lnTo>
                  <a:lnTo>
                    <a:pt x="4248" y="1765"/>
                  </a:lnTo>
                  <a:lnTo>
                    <a:pt x="4254" y="1762"/>
                  </a:lnTo>
                  <a:lnTo>
                    <a:pt x="4258" y="1757"/>
                  </a:lnTo>
                  <a:lnTo>
                    <a:pt x="4262" y="1753"/>
                  </a:lnTo>
                  <a:lnTo>
                    <a:pt x="4266" y="1747"/>
                  </a:lnTo>
                  <a:lnTo>
                    <a:pt x="4271" y="1734"/>
                  </a:lnTo>
                  <a:lnTo>
                    <a:pt x="4276" y="1721"/>
                  </a:lnTo>
                  <a:lnTo>
                    <a:pt x="4279" y="1705"/>
                  </a:lnTo>
                  <a:lnTo>
                    <a:pt x="4283" y="1689"/>
                  </a:lnTo>
                  <a:lnTo>
                    <a:pt x="4286" y="1673"/>
                  </a:lnTo>
                  <a:lnTo>
                    <a:pt x="4288" y="1657"/>
                  </a:lnTo>
                  <a:lnTo>
                    <a:pt x="4292" y="1639"/>
                  </a:lnTo>
                  <a:lnTo>
                    <a:pt x="4296" y="1625"/>
                  </a:lnTo>
                  <a:lnTo>
                    <a:pt x="4303" y="1610"/>
                  </a:lnTo>
                  <a:lnTo>
                    <a:pt x="4311" y="1598"/>
                  </a:lnTo>
                  <a:lnTo>
                    <a:pt x="4316" y="1593"/>
                  </a:lnTo>
                  <a:lnTo>
                    <a:pt x="4322" y="1587"/>
                  </a:lnTo>
                  <a:lnTo>
                    <a:pt x="4328" y="1583"/>
                  </a:lnTo>
                  <a:lnTo>
                    <a:pt x="4335" y="1579"/>
                  </a:lnTo>
                  <a:lnTo>
                    <a:pt x="4335" y="1573"/>
                  </a:lnTo>
                  <a:lnTo>
                    <a:pt x="4332" y="1566"/>
                  </a:lnTo>
                  <a:lnTo>
                    <a:pt x="4330" y="1561"/>
                  </a:lnTo>
                  <a:lnTo>
                    <a:pt x="4326" y="1555"/>
                  </a:lnTo>
                  <a:lnTo>
                    <a:pt x="4323" y="1551"/>
                  </a:lnTo>
                  <a:lnTo>
                    <a:pt x="4320" y="1546"/>
                  </a:lnTo>
                  <a:lnTo>
                    <a:pt x="4318" y="1542"/>
                  </a:lnTo>
                  <a:lnTo>
                    <a:pt x="4318" y="1537"/>
                  </a:lnTo>
                  <a:lnTo>
                    <a:pt x="4316" y="1526"/>
                  </a:lnTo>
                  <a:lnTo>
                    <a:pt x="4314" y="1517"/>
                  </a:lnTo>
                  <a:lnTo>
                    <a:pt x="4310" y="1509"/>
                  </a:lnTo>
                  <a:lnTo>
                    <a:pt x="4304" y="1501"/>
                  </a:lnTo>
                  <a:lnTo>
                    <a:pt x="4299" y="1494"/>
                  </a:lnTo>
                  <a:lnTo>
                    <a:pt x="4291" y="1488"/>
                  </a:lnTo>
                  <a:lnTo>
                    <a:pt x="4284" y="1482"/>
                  </a:lnTo>
                  <a:lnTo>
                    <a:pt x="4276" y="1477"/>
                  </a:lnTo>
                  <a:lnTo>
                    <a:pt x="4260" y="1468"/>
                  </a:lnTo>
                  <a:lnTo>
                    <a:pt x="4246" y="1458"/>
                  </a:lnTo>
                  <a:lnTo>
                    <a:pt x="4239" y="1453"/>
                  </a:lnTo>
                  <a:lnTo>
                    <a:pt x="4234" y="1448"/>
                  </a:lnTo>
                  <a:lnTo>
                    <a:pt x="4230" y="1441"/>
                  </a:lnTo>
                  <a:lnTo>
                    <a:pt x="4227" y="1434"/>
                  </a:lnTo>
                  <a:lnTo>
                    <a:pt x="4227" y="1406"/>
                  </a:lnTo>
                  <a:lnTo>
                    <a:pt x="4227" y="1372"/>
                  </a:lnTo>
                  <a:lnTo>
                    <a:pt x="4227" y="1354"/>
                  </a:lnTo>
                  <a:lnTo>
                    <a:pt x="4224" y="1337"/>
                  </a:lnTo>
                  <a:lnTo>
                    <a:pt x="4220" y="1321"/>
                  </a:lnTo>
                  <a:lnTo>
                    <a:pt x="4215" y="1309"/>
                  </a:lnTo>
                  <a:lnTo>
                    <a:pt x="4211" y="1304"/>
                  </a:lnTo>
                  <a:lnTo>
                    <a:pt x="4207" y="1300"/>
                  </a:lnTo>
                  <a:lnTo>
                    <a:pt x="4202" y="1296"/>
                  </a:lnTo>
                  <a:lnTo>
                    <a:pt x="4197" y="1293"/>
                  </a:lnTo>
                  <a:lnTo>
                    <a:pt x="4185" y="1289"/>
                  </a:lnTo>
                  <a:lnTo>
                    <a:pt x="4173" y="1284"/>
                  </a:lnTo>
                  <a:lnTo>
                    <a:pt x="4166" y="1282"/>
                  </a:lnTo>
                  <a:lnTo>
                    <a:pt x="4161" y="1278"/>
                  </a:lnTo>
                  <a:lnTo>
                    <a:pt x="4155" y="1276"/>
                  </a:lnTo>
                  <a:lnTo>
                    <a:pt x="4151" y="1272"/>
                  </a:lnTo>
                  <a:lnTo>
                    <a:pt x="4147" y="1266"/>
                  </a:lnTo>
                  <a:lnTo>
                    <a:pt x="4145" y="1260"/>
                  </a:lnTo>
                  <a:lnTo>
                    <a:pt x="4143" y="1252"/>
                  </a:lnTo>
                  <a:lnTo>
                    <a:pt x="4143" y="1242"/>
                  </a:lnTo>
                  <a:lnTo>
                    <a:pt x="4145" y="1234"/>
                  </a:lnTo>
                  <a:lnTo>
                    <a:pt x="4147" y="1226"/>
                  </a:lnTo>
                  <a:lnTo>
                    <a:pt x="4153" y="1218"/>
                  </a:lnTo>
                  <a:lnTo>
                    <a:pt x="4159" y="1210"/>
                  </a:lnTo>
                  <a:lnTo>
                    <a:pt x="4166" y="1202"/>
                  </a:lnTo>
                  <a:lnTo>
                    <a:pt x="4173" y="1197"/>
                  </a:lnTo>
                  <a:lnTo>
                    <a:pt x="4179" y="1192"/>
                  </a:lnTo>
                  <a:lnTo>
                    <a:pt x="4185" y="1188"/>
                  </a:lnTo>
                  <a:lnTo>
                    <a:pt x="4183" y="1182"/>
                  </a:lnTo>
                  <a:lnTo>
                    <a:pt x="4181" y="1177"/>
                  </a:lnTo>
                  <a:lnTo>
                    <a:pt x="4178" y="1172"/>
                  </a:lnTo>
                  <a:lnTo>
                    <a:pt x="4174" y="1168"/>
                  </a:lnTo>
                  <a:lnTo>
                    <a:pt x="4165" y="1162"/>
                  </a:lnTo>
                  <a:lnTo>
                    <a:pt x="4155" y="1157"/>
                  </a:lnTo>
                  <a:lnTo>
                    <a:pt x="4146" y="1152"/>
                  </a:lnTo>
                  <a:lnTo>
                    <a:pt x="4138" y="1145"/>
                  </a:lnTo>
                  <a:lnTo>
                    <a:pt x="4135" y="1140"/>
                  </a:lnTo>
                  <a:lnTo>
                    <a:pt x="4133" y="1136"/>
                  </a:lnTo>
                  <a:lnTo>
                    <a:pt x="4131" y="1129"/>
                  </a:lnTo>
                  <a:lnTo>
                    <a:pt x="4130" y="1121"/>
                  </a:lnTo>
                  <a:lnTo>
                    <a:pt x="4131" y="1110"/>
                  </a:lnTo>
                  <a:lnTo>
                    <a:pt x="4134" y="1100"/>
                  </a:lnTo>
                  <a:lnTo>
                    <a:pt x="4139" y="1090"/>
                  </a:lnTo>
                  <a:lnTo>
                    <a:pt x="4145" y="1082"/>
                  </a:lnTo>
                  <a:lnTo>
                    <a:pt x="4153" y="1076"/>
                  </a:lnTo>
                  <a:lnTo>
                    <a:pt x="4161" y="1069"/>
                  </a:lnTo>
                  <a:lnTo>
                    <a:pt x="4170" y="1062"/>
                  </a:lnTo>
                  <a:lnTo>
                    <a:pt x="4179" y="1057"/>
                  </a:lnTo>
                  <a:lnTo>
                    <a:pt x="4199" y="1045"/>
                  </a:lnTo>
                  <a:lnTo>
                    <a:pt x="4219" y="1033"/>
                  </a:lnTo>
                  <a:lnTo>
                    <a:pt x="4228" y="1026"/>
                  </a:lnTo>
                  <a:lnTo>
                    <a:pt x="4236" y="1020"/>
                  </a:lnTo>
                  <a:lnTo>
                    <a:pt x="4244" y="1010"/>
                  </a:lnTo>
                  <a:lnTo>
                    <a:pt x="4251" y="1001"/>
                  </a:lnTo>
                  <a:lnTo>
                    <a:pt x="4256" y="992"/>
                  </a:lnTo>
                  <a:lnTo>
                    <a:pt x="4259" y="982"/>
                  </a:lnTo>
                  <a:lnTo>
                    <a:pt x="4260" y="973"/>
                  </a:lnTo>
                  <a:lnTo>
                    <a:pt x="4262" y="965"/>
                  </a:lnTo>
                  <a:lnTo>
                    <a:pt x="4263" y="958"/>
                  </a:lnTo>
                  <a:lnTo>
                    <a:pt x="4266" y="952"/>
                  </a:lnTo>
                  <a:lnTo>
                    <a:pt x="4268" y="950"/>
                  </a:lnTo>
                  <a:lnTo>
                    <a:pt x="4272" y="948"/>
                  </a:lnTo>
                  <a:lnTo>
                    <a:pt x="4276" y="948"/>
                  </a:lnTo>
                  <a:lnTo>
                    <a:pt x="4280" y="946"/>
                  </a:lnTo>
                  <a:lnTo>
                    <a:pt x="4298" y="948"/>
                  </a:lnTo>
                  <a:lnTo>
                    <a:pt x="4312" y="949"/>
                  </a:lnTo>
                  <a:lnTo>
                    <a:pt x="4319" y="949"/>
                  </a:lnTo>
                  <a:lnTo>
                    <a:pt x="4324" y="949"/>
                  </a:lnTo>
                  <a:lnTo>
                    <a:pt x="4330" y="949"/>
                  </a:lnTo>
                  <a:lnTo>
                    <a:pt x="4335" y="946"/>
                  </a:lnTo>
                  <a:lnTo>
                    <a:pt x="4335" y="930"/>
                  </a:lnTo>
                  <a:lnTo>
                    <a:pt x="4335" y="916"/>
                  </a:lnTo>
                  <a:lnTo>
                    <a:pt x="4335" y="901"/>
                  </a:lnTo>
                  <a:lnTo>
                    <a:pt x="4335" y="881"/>
                  </a:lnTo>
                  <a:lnTo>
                    <a:pt x="4335" y="876"/>
                  </a:lnTo>
                  <a:lnTo>
                    <a:pt x="4336" y="871"/>
                  </a:lnTo>
                  <a:lnTo>
                    <a:pt x="4339" y="865"/>
                  </a:lnTo>
                  <a:lnTo>
                    <a:pt x="4340" y="861"/>
                  </a:lnTo>
                  <a:lnTo>
                    <a:pt x="4347" y="853"/>
                  </a:lnTo>
                  <a:lnTo>
                    <a:pt x="4354" y="845"/>
                  </a:lnTo>
                  <a:lnTo>
                    <a:pt x="4360" y="837"/>
                  </a:lnTo>
                  <a:lnTo>
                    <a:pt x="4366" y="828"/>
                  </a:lnTo>
                  <a:lnTo>
                    <a:pt x="4368" y="824"/>
                  </a:lnTo>
                  <a:lnTo>
                    <a:pt x="4370" y="819"/>
                  </a:lnTo>
                  <a:lnTo>
                    <a:pt x="4371" y="815"/>
                  </a:lnTo>
                  <a:lnTo>
                    <a:pt x="4371" y="809"/>
                  </a:lnTo>
                  <a:lnTo>
                    <a:pt x="4370" y="801"/>
                  </a:lnTo>
                  <a:lnTo>
                    <a:pt x="4366" y="795"/>
                  </a:lnTo>
                  <a:lnTo>
                    <a:pt x="4359" y="787"/>
                  </a:lnTo>
                  <a:lnTo>
                    <a:pt x="4352" y="780"/>
                  </a:lnTo>
                  <a:lnTo>
                    <a:pt x="4338" y="765"/>
                  </a:lnTo>
                  <a:lnTo>
                    <a:pt x="4330" y="755"/>
                  </a:lnTo>
                  <a:lnTo>
                    <a:pt x="4318" y="752"/>
                  </a:lnTo>
                  <a:lnTo>
                    <a:pt x="4308" y="748"/>
                  </a:lnTo>
                  <a:lnTo>
                    <a:pt x="4302" y="743"/>
                  </a:lnTo>
                  <a:lnTo>
                    <a:pt x="4296" y="735"/>
                  </a:lnTo>
                  <a:lnTo>
                    <a:pt x="4287" y="717"/>
                  </a:lnTo>
                  <a:lnTo>
                    <a:pt x="4280" y="699"/>
                  </a:lnTo>
                  <a:lnTo>
                    <a:pt x="4276" y="688"/>
                  </a:lnTo>
                  <a:lnTo>
                    <a:pt x="4271" y="679"/>
                  </a:lnTo>
                  <a:lnTo>
                    <a:pt x="4266" y="669"/>
                  </a:lnTo>
                  <a:lnTo>
                    <a:pt x="4259" y="663"/>
                  </a:lnTo>
                  <a:lnTo>
                    <a:pt x="4250" y="656"/>
                  </a:lnTo>
                  <a:lnTo>
                    <a:pt x="4239" y="651"/>
                  </a:lnTo>
                  <a:lnTo>
                    <a:pt x="4226" y="647"/>
                  </a:lnTo>
                  <a:lnTo>
                    <a:pt x="4208" y="647"/>
                  </a:lnTo>
                  <a:lnTo>
                    <a:pt x="4198" y="647"/>
                  </a:lnTo>
                  <a:lnTo>
                    <a:pt x="4187" y="649"/>
                  </a:lnTo>
                  <a:lnTo>
                    <a:pt x="4177" y="652"/>
                  </a:lnTo>
                  <a:lnTo>
                    <a:pt x="4167" y="655"/>
                  </a:lnTo>
                  <a:lnTo>
                    <a:pt x="4157" y="659"/>
                  </a:lnTo>
                  <a:lnTo>
                    <a:pt x="4146" y="661"/>
                  </a:lnTo>
                  <a:lnTo>
                    <a:pt x="4135" y="664"/>
                  </a:lnTo>
                  <a:lnTo>
                    <a:pt x="4125" y="664"/>
                  </a:lnTo>
                  <a:lnTo>
                    <a:pt x="4107" y="663"/>
                  </a:lnTo>
                  <a:lnTo>
                    <a:pt x="4090" y="659"/>
                  </a:lnTo>
                  <a:lnTo>
                    <a:pt x="4075" y="653"/>
                  </a:lnTo>
                  <a:lnTo>
                    <a:pt x="4062" y="647"/>
                  </a:lnTo>
                  <a:lnTo>
                    <a:pt x="4050" y="639"/>
                  </a:lnTo>
                  <a:lnTo>
                    <a:pt x="4042" y="631"/>
                  </a:lnTo>
                  <a:lnTo>
                    <a:pt x="4038" y="627"/>
                  </a:lnTo>
                  <a:lnTo>
                    <a:pt x="4037" y="623"/>
                  </a:lnTo>
                  <a:lnTo>
                    <a:pt x="4035" y="620"/>
                  </a:lnTo>
                  <a:lnTo>
                    <a:pt x="4034" y="616"/>
                  </a:lnTo>
                  <a:lnTo>
                    <a:pt x="4035" y="603"/>
                  </a:lnTo>
                  <a:lnTo>
                    <a:pt x="4035" y="588"/>
                  </a:lnTo>
                  <a:lnTo>
                    <a:pt x="4035" y="580"/>
                  </a:lnTo>
                  <a:lnTo>
                    <a:pt x="4034" y="573"/>
                  </a:lnTo>
                  <a:lnTo>
                    <a:pt x="4031" y="564"/>
                  </a:lnTo>
                  <a:lnTo>
                    <a:pt x="4029" y="556"/>
                  </a:lnTo>
                  <a:lnTo>
                    <a:pt x="4013" y="557"/>
                  </a:lnTo>
                  <a:lnTo>
                    <a:pt x="4001" y="557"/>
                  </a:lnTo>
                  <a:lnTo>
                    <a:pt x="3989" y="556"/>
                  </a:lnTo>
                  <a:lnTo>
                    <a:pt x="3979" y="552"/>
                  </a:lnTo>
                  <a:lnTo>
                    <a:pt x="3975" y="549"/>
                  </a:lnTo>
                  <a:lnTo>
                    <a:pt x="3971" y="545"/>
                  </a:lnTo>
                  <a:lnTo>
                    <a:pt x="3969" y="541"/>
                  </a:lnTo>
                  <a:lnTo>
                    <a:pt x="3966" y="536"/>
                  </a:lnTo>
                  <a:lnTo>
                    <a:pt x="3965" y="531"/>
                  </a:lnTo>
                  <a:lnTo>
                    <a:pt x="3963" y="524"/>
                  </a:lnTo>
                  <a:lnTo>
                    <a:pt x="3962" y="516"/>
                  </a:lnTo>
                  <a:lnTo>
                    <a:pt x="3962" y="508"/>
                  </a:lnTo>
                  <a:lnTo>
                    <a:pt x="3963" y="492"/>
                  </a:lnTo>
                  <a:lnTo>
                    <a:pt x="3965" y="477"/>
                  </a:lnTo>
                  <a:lnTo>
                    <a:pt x="3969" y="464"/>
                  </a:lnTo>
                  <a:lnTo>
                    <a:pt x="3974" y="452"/>
                  </a:lnTo>
                  <a:lnTo>
                    <a:pt x="3979" y="440"/>
                  </a:lnTo>
                  <a:lnTo>
                    <a:pt x="3986" y="428"/>
                  </a:lnTo>
                  <a:lnTo>
                    <a:pt x="3994" y="417"/>
                  </a:lnTo>
                  <a:lnTo>
                    <a:pt x="4001" y="407"/>
                  </a:lnTo>
                  <a:lnTo>
                    <a:pt x="4017" y="385"/>
                  </a:lnTo>
                  <a:lnTo>
                    <a:pt x="4033" y="364"/>
                  </a:lnTo>
                  <a:lnTo>
                    <a:pt x="4041" y="352"/>
                  </a:lnTo>
                  <a:lnTo>
                    <a:pt x="4047" y="340"/>
                  </a:lnTo>
                  <a:lnTo>
                    <a:pt x="4053" y="328"/>
                  </a:lnTo>
                  <a:lnTo>
                    <a:pt x="4058" y="315"/>
                  </a:lnTo>
                  <a:lnTo>
                    <a:pt x="4059" y="306"/>
                  </a:lnTo>
                  <a:lnTo>
                    <a:pt x="4059" y="298"/>
                  </a:lnTo>
                  <a:lnTo>
                    <a:pt x="4058" y="290"/>
                  </a:lnTo>
                  <a:lnTo>
                    <a:pt x="4057" y="282"/>
                  </a:lnTo>
                  <a:lnTo>
                    <a:pt x="4054" y="274"/>
                  </a:lnTo>
                  <a:lnTo>
                    <a:pt x="4054" y="266"/>
                  </a:lnTo>
                  <a:lnTo>
                    <a:pt x="4055" y="258"/>
                  </a:lnTo>
                  <a:lnTo>
                    <a:pt x="4058" y="248"/>
                  </a:lnTo>
                  <a:lnTo>
                    <a:pt x="4062" y="239"/>
                  </a:lnTo>
                  <a:lnTo>
                    <a:pt x="4067" y="231"/>
                  </a:lnTo>
                  <a:lnTo>
                    <a:pt x="4074" y="223"/>
                  </a:lnTo>
                  <a:lnTo>
                    <a:pt x="4082" y="215"/>
                  </a:lnTo>
                  <a:lnTo>
                    <a:pt x="4089" y="206"/>
                  </a:lnTo>
                  <a:lnTo>
                    <a:pt x="4095" y="194"/>
                  </a:lnTo>
                  <a:lnTo>
                    <a:pt x="4097" y="187"/>
                  </a:lnTo>
                  <a:lnTo>
                    <a:pt x="4099" y="179"/>
                  </a:lnTo>
                  <a:lnTo>
                    <a:pt x="4101" y="170"/>
                  </a:lnTo>
                  <a:lnTo>
                    <a:pt x="4101" y="159"/>
                  </a:lnTo>
                  <a:lnTo>
                    <a:pt x="4101" y="151"/>
                  </a:lnTo>
                  <a:lnTo>
                    <a:pt x="4099" y="144"/>
                  </a:lnTo>
                  <a:lnTo>
                    <a:pt x="4097" y="138"/>
                  </a:lnTo>
                  <a:lnTo>
                    <a:pt x="4094" y="131"/>
                  </a:lnTo>
                  <a:lnTo>
                    <a:pt x="4087" y="118"/>
                  </a:lnTo>
                  <a:lnTo>
                    <a:pt x="4077" y="104"/>
                  </a:lnTo>
                  <a:lnTo>
                    <a:pt x="4065" y="91"/>
                  </a:lnTo>
                  <a:lnTo>
                    <a:pt x="4051" y="79"/>
                  </a:lnTo>
                  <a:lnTo>
                    <a:pt x="4037" y="67"/>
                  </a:lnTo>
                  <a:lnTo>
                    <a:pt x="4019" y="56"/>
                  </a:lnTo>
                  <a:lnTo>
                    <a:pt x="4003" y="46"/>
                  </a:lnTo>
                  <a:lnTo>
                    <a:pt x="3986" y="36"/>
                  </a:lnTo>
                  <a:lnTo>
                    <a:pt x="3967" y="28"/>
                  </a:lnTo>
                  <a:lnTo>
                    <a:pt x="3950" y="22"/>
                  </a:lnTo>
                  <a:lnTo>
                    <a:pt x="3934" y="15"/>
                  </a:lnTo>
                  <a:lnTo>
                    <a:pt x="3918" y="11"/>
                  </a:lnTo>
                  <a:lnTo>
                    <a:pt x="3903" y="8"/>
                  </a:lnTo>
                  <a:lnTo>
                    <a:pt x="3890" y="8"/>
                  </a:lnTo>
                  <a:lnTo>
                    <a:pt x="3881" y="6"/>
                  </a:lnTo>
                  <a:lnTo>
                    <a:pt x="3873" y="3"/>
                  </a:lnTo>
                  <a:lnTo>
                    <a:pt x="3867" y="2"/>
                  </a:lnTo>
                  <a:lnTo>
                    <a:pt x="3861" y="0"/>
                  </a:lnTo>
                  <a:lnTo>
                    <a:pt x="3851" y="0"/>
                  </a:lnTo>
                  <a:lnTo>
                    <a:pt x="3842" y="2"/>
                  </a:lnTo>
                  <a:lnTo>
                    <a:pt x="3846" y="15"/>
                  </a:lnTo>
                  <a:lnTo>
                    <a:pt x="3850" y="30"/>
                  </a:lnTo>
                  <a:lnTo>
                    <a:pt x="3857" y="43"/>
                  </a:lnTo>
                  <a:lnTo>
                    <a:pt x="3863" y="56"/>
                  </a:lnTo>
                  <a:lnTo>
                    <a:pt x="3878" y="83"/>
                  </a:lnTo>
                  <a:lnTo>
                    <a:pt x="3895" y="108"/>
                  </a:lnTo>
                  <a:lnTo>
                    <a:pt x="3913" y="131"/>
                  </a:lnTo>
                  <a:lnTo>
                    <a:pt x="3930" y="152"/>
                  </a:lnTo>
                  <a:lnTo>
                    <a:pt x="3947" y="170"/>
                  </a:lnTo>
                  <a:lnTo>
                    <a:pt x="3962" y="183"/>
                  </a:lnTo>
                  <a:lnTo>
                    <a:pt x="3970" y="196"/>
                  </a:lnTo>
                  <a:lnTo>
                    <a:pt x="3975" y="208"/>
                  </a:lnTo>
                  <a:lnTo>
                    <a:pt x="3978" y="216"/>
                  </a:lnTo>
                  <a:lnTo>
                    <a:pt x="3979" y="223"/>
                  </a:lnTo>
                  <a:lnTo>
                    <a:pt x="3979" y="228"/>
                  </a:lnTo>
                  <a:lnTo>
                    <a:pt x="3978" y="230"/>
                  </a:lnTo>
                  <a:lnTo>
                    <a:pt x="3975" y="231"/>
                  </a:lnTo>
                  <a:lnTo>
                    <a:pt x="3970" y="230"/>
                  </a:lnTo>
                  <a:lnTo>
                    <a:pt x="3958" y="224"/>
                  </a:lnTo>
                  <a:lnTo>
                    <a:pt x="3941" y="214"/>
                  </a:lnTo>
                  <a:lnTo>
                    <a:pt x="3919" y="200"/>
                  </a:lnTo>
                  <a:lnTo>
                    <a:pt x="3895" y="184"/>
                  </a:lnTo>
                  <a:lnTo>
                    <a:pt x="3869" y="167"/>
                  </a:lnTo>
                  <a:lnTo>
                    <a:pt x="3842" y="151"/>
                  </a:lnTo>
                  <a:lnTo>
                    <a:pt x="3827" y="144"/>
                  </a:lnTo>
                  <a:lnTo>
                    <a:pt x="3814" y="138"/>
                  </a:lnTo>
                  <a:lnTo>
                    <a:pt x="3801" y="131"/>
                  </a:lnTo>
                  <a:lnTo>
                    <a:pt x="3786" y="127"/>
                  </a:lnTo>
                  <a:lnTo>
                    <a:pt x="3773" y="123"/>
                  </a:lnTo>
                  <a:lnTo>
                    <a:pt x="3761" y="120"/>
                  </a:lnTo>
                  <a:lnTo>
                    <a:pt x="3749" y="119"/>
                  </a:lnTo>
                  <a:lnTo>
                    <a:pt x="3737" y="119"/>
                  </a:lnTo>
                  <a:lnTo>
                    <a:pt x="3725" y="122"/>
                  </a:lnTo>
                  <a:lnTo>
                    <a:pt x="3715" y="126"/>
                  </a:lnTo>
                  <a:lnTo>
                    <a:pt x="3706" y="132"/>
                  </a:lnTo>
                  <a:lnTo>
                    <a:pt x="3697" y="140"/>
                  </a:lnTo>
                  <a:lnTo>
                    <a:pt x="3686" y="151"/>
                  </a:lnTo>
                  <a:lnTo>
                    <a:pt x="3677" y="159"/>
                  </a:lnTo>
                  <a:lnTo>
                    <a:pt x="3673" y="160"/>
                  </a:lnTo>
                  <a:lnTo>
                    <a:pt x="3670" y="162"/>
                  </a:lnTo>
                  <a:lnTo>
                    <a:pt x="3667" y="162"/>
                  </a:lnTo>
                  <a:lnTo>
                    <a:pt x="3665" y="162"/>
                  </a:lnTo>
                  <a:lnTo>
                    <a:pt x="3659" y="159"/>
                  </a:lnTo>
                  <a:lnTo>
                    <a:pt x="3654" y="154"/>
                  </a:lnTo>
                  <a:lnTo>
                    <a:pt x="3649" y="146"/>
                  </a:lnTo>
                  <a:lnTo>
                    <a:pt x="3642" y="136"/>
                  </a:lnTo>
                  <a:lnTo>
                    <a:pt x="3634" y="126"/>
                  </a:lnTo>
                  <a:lnTo>
                    <a:pt x="3625" y="114"/>
                  </a:lnTo>
                  <a:lnTo>
                    <a:pt x="3611" y="102"/>
                  </a:lnTo>
                  <a:lnTo>
                    <a:pt x="3597" y="90"/>
                  </a:lnTo>
                  <a:lnTo>
                    <a:pt x="3587" y="84"/>
                  </a:lnTo>
                  <a:lnTo>
                    <a:pt x="3577" y="78"/>
                  </a:lnTo>
                  <a:lnTo>
                    <a:pt x="3566" y="72"/>
                  </a:lnTo>
                  <a:lnTo>
                    <a:pt x="3554" y="67"/>
                  </a:lnTo>
                  <a:lnTo>
                    <a:pt x="3541" y="62"/>
                  </a:lnTo>
                  <a:lnTo>
                    <a:pt x="3526" y="58"/>
                  </a:lnTo>
                  <a:lnTo>
                    <a:pt x="3510" y="54"/>
                  </a:lnTo>
                  <a:lnTo>
                    <a:pt x="3493" y="50"/>
                  </a:lnTo>
                  <a:lnTo>
                    <a:pt x="3475" y="48"/>
                  </a:lnTo>
                  <a:lnTo>
                    <a:pt x="3459" y="47"/>
                  </a:lnTo>
                  <a:lnTo>
                    <a:pt x="3444" y="47"/>
                  </a:lnTo>
                  <a:lnTo>
                    <a:pt x="3428" y="50"/>
                  </a:lnTo>
                  <a:lnTo>
                    <a:pt x="3413" y="52"/>
                  </a:lnTo>
                  <a:lnTo>
                    <a:pt x="3397" y="56"/>
                  </a:lnTo>
                  <a:lnTo>
                    <a:pt x="3384" y="60"/>
                  </a:lnTo>
                  <a:lnTo>
                    <a:pt x="3369" y="67"/>
                  </a:lnTo>
                  <a:lnTo>
                    <a:pt x="3356" y="74"/>
                  </a:lnTo>
                  <a:lnTo>
                    <a:pt x="3342" y="82"/>
                  </a:lnTo>
                  <a:lnTo>
                    <a:pt x="3330" y="90"/>
                  </a:lnTo>
                  <a:lnTo>
                    <a:pt x="3318" y="99"/>
                  </a:lnTo>
                  <a:lnTo>
                    <a:pt x="3306" y="108"/>
                  </a:lnTo>
                  <a:lnTo>
                    <a:pt x="3294" y="118"/>
                  </a:lnTo>
                  <a:lnTo>
                    <a:pt x="3284" y="128"/>
                  </a:lnTo>
                  <a:lnTo>
                    <a:pt x="3274" y="139"/>
                  </a:lnTo>
                  <a:lnTo>
                    <a:pt x="3256" y="163"/>
                  </a:lnTo>
                  <a:lnTo>
                    <a:pt x="3238" y="186"/>
                  </a:lnTo>
                  <a:lnTo>
                    <a:pt x="3225" y="210"/>
                  </a:lnTo>
                  <a:lnTo>
                    <a:pt x="3213" y="234"/>
                  </a:lnTo>
                  <a:lnTo>
                    <a:pt x="3204" y="256"/>
                  </a:lnTo>
                  <a:lnTo>
                    <a:pt x="3197" y="278"/>
                  </a:lnTo>
                  <a:lnTo>
                    <a:pt x="3193" y="298"/>
                  </a:lnTo>
                  <a:lnTo>
                    <a:pt x="3192" y="315"/>
                  </a:lnTo>
                  <a:lnTo>
                    <a:pt x="3190" y="326"/>
                  </a:lnTo>
                  <a:lnTo>
                    <a:pt x="3190" y="341"/>
                  </a:lnTo>
                  <a:lnTo>
                    <a:pt x="3188" y="359"/>
                  </a:lnTo>
                  <a:lnTo>
                    <a:pt x="3185" y="379"/>
                  </a:lnTo>
                  <a:lnTo>
                    <a:pt x="3180" y="400"/>
                  </a:lnTo>
                  <a:lnTo>
                    <a:pt x="3173" y="423"/>
                  </a:lnTo>
                  <a:lnTo>
                    <a:pt x="3165" y="444"/>
                  </a:lnTo>
                  <a:lnTo>
                    <a:pt x="3156" y="465"/>
                  </a:lnTo>
                  <a:lnTo>
                    <a:pt x="3149" y="475"/>
                  </a:lnTo>
                  <a:lnTo>
                    <a:pt x="3142" y="485"/>
                  </a:lnTo>
                  <a:lnTo>
                    <a:pt x="3136" y="493"/>
                  </a:lnTo>
                  <a:lnTo>
                    <a:pt x="3128" y="501"/>
                  </a:lnTo>
                  <a:lnTo>
                    <a:pt x="3120" y="509"/>
                  </a:lnTo>
                  <a:lnTo>
                    <a:pt x="3110" y="515"/>
                  </a:lnTo>
                  <a:lnTo>
                    <a:pt x="3100" y="520"/>
                  </a:lnTo>
                  <a:lnTo>
                    <a:pt x="3089" y="525"/>
                  </a:lnTo>
                  <a:lnTo>
                    <a:pt x="3078" y="528"/>
                  </a:lnTo>
                  <a:lnTo>
                    <a:pt x="3066" y="529"/>
                  </a:lnTo>
                  <a:lnTo>
                    <a:pt x="3053" y="531"/>
                  </a:lnTo>
                  <a:lnTo>
                    <a:pt x="3040" y="529"/>
                  </a:lnTo>
                  <a:lnTo>
                    <a:pt x="3024" y="527"/>
                  </a:lnTo>
                  <a:lnTo>
                    <a:pt x="3009" y="521"/>
                  </a:lnTo>
                  <a:lnTo>
                    <a:pt x="2992" y="516"/>
                  </a:lnTo>
                  <a:lnTo>
                    <a:pt x="2974" y="508"/>
                  </a:lnTo>
                  <a:lnTo>
                    <a:pt x="2948" y="513"/>
                  </a:lnTo>
                  <a:lnTo>
                    <a:pt x="2922" y="521"/>
                  </a:lnTo>
                  <a:lnTo>
                    <a:pt x="2900" y="529"/>
                  </a:lnTo>
                  <a:lnTo>
                    <a:pt x="2878" y="539"/>
                  </a:lnTo>
                  <a:lnTo>
                    <a:pt x="2844" y="556"/>
                  </a:lnTo>
                  <a:lnTo>
                    <a:pt x="2816" y="573"/>
                  </a:lnTo>
                  <a:lnTo>
                    <a:pt x="2794" y="587"/>
                  </a:lnTo>
                  <a:lnTo>
                    <a:pt x="2781" y="593"/>
                  </a:lnTo>
                  <a:lnTo>
                    <a:pt x="2776" y="593"/>
                  </a:lnTo>
                  <a:lnTo>
                    <a:pt x="2772" y="592"/>
                  </a:lnTo>
                  <a:lnTo>
                    <a:pt x="2770" y="587"/>
                  </a:lnTo>
                  <a:lnTo>
                    <a:pt x="2769" y="580"/>
                  </a:lnTo>
                  <a:lnTo>
                    <a:pt x="2772" y="559"/>
                  </a:lnTo>
                  <a:lnTo>
                    <a:pt x="2776" y="536"/>
                  </a:lnTo>
                  <a:lnTo>
                    <a:pt x="2777" y="524"/>
                  </a:lnTo>
                  <a:lnTo>
                    <a:pt x="2778" y="512"/>
                  </a:lnTo>
                  <a:lnTo>
                    <a:pt x="2777" y="501"/>
                  </a:lnTo>
                  <a:lnTo>
                    <a:pt x="2774" y="492"/>
                  </a:lnTo>
                  <a:lnTo>
                    <a:pt x="2772" y="488"/>
                  </a:lnTo>
                  <a:lnTo>
                    <a:pt x="2769" y="484"/>
                  </a:lnTo>
                  <a:lnTo>
                    <a:pt x="2765" y="480"/>
                  </a:lnTo>
                  <a:lnTo>
                    <a:pt x="2761" y="477"/>
                  </a:lnTo>
                  <a:lnTo>
                    <a:pt x="2756" y="476"/>
                  </a:lnTo>
                  <a:lnTo>
                    <a:pt x="2749" y="475"/>
                  </a:lnTo>
                  <a:lnTo>
                    <a:pt x="2742" y="473"/>
                  </a:lnTo>
                  <a:lnTo>
                    <a:pt x="2734" y="473"/>
                  </a:lnTo>
                  <a:lnTo>
                    <a:pt x="2714" y="476"/>
                  </a:lnTo>
                  <a:lnTo>
                    <a:pt x="2690" y="483"/>
                  </a:lnTo>
                  <a:lnTo>
                    <a:pt x="2661" y="493"/>
                  </a:lnTo>
                  <a:lnTo>
                    <a:pt x="2625" y="508"/>
                  </a:lnTo>
                  <a:lnTo>
                    <a:pt x="2611" y="513"/>
                  </a:lnTo>
                  <a:lnTo>
                    <a:pt x="2597" y="520"/>
                  </a:lnTo>
                  <a:lnTo>
                    <a:pt x="2587" y="527"/>
                  </a:lnTo>
                  <a:lnTo>
                    <a:pt x="2577" y="535"/>
                  </a:lnTo>
                  <a:lnTo>
                    <a:pt x="2569" y="544"/>
                  </a:lnTo>
                  <a:lnTo>
                    <a:pt x="2563" y="553"/>
                  </a:lnTo>
                  <a:lnTo>
                    <a:pt x="2559" y="564"/>
                  </a:lnTo>
                  <a:lnTo>
                    <a:pt x="2555" y="575"/>
                  </a:lnTo>
                  <a:lnTo>
                    <a:pt x="2552" y="587"/>
                  </a:lnTo>
                  <a:lnTo>
                    <a:pt x="2551" y="599"/>
                  </a:lnTo>
                  <a:lnTo>
                    <a:pt x="2551" y="611"/>
                  </a:lnTo>
                  <a:lnTo>
                    <a:pt x="2551" y="623"/>
                  </a:lnTo>
                  <a:lnTo>
                    <a:pt x="2553" y="648"/>
                  </a:lnTo>
                  <a:lnTo>
                    <a:pt x="2557" y="673"/>
                  </a:lnTo>
                  <a:lnTo>
                    <a:pt x="2568" y="723"/>
                  </a:lnTo>
                  <a:lnTo>
                    <a:pt x="2576" y="767"/>
                  </a:lnTo>
                  <a:lnTo>
                    <a:pt x="2577" y="776"/>
                  </a:lnTo>
                  <a:lnTo>
                    <a:pt x="2576" y="785"/>
                  </a:lnTo>
                  <a:lnTo>
                    <a:pt x="2576" y="793"/>
                  </a:lnTo>
                  <a:lnTo>
                    <a:pt x="2573" y="801"/>
                  </a:lnTo>
                  <a:lnTo>
                    <a:pt x="2571" y="808"/>
                  </a:lnTo>
                  <a:lnTo>
                    <a:pt x="2565" y="813"/>
                  </a:lnTo>
                  <a:lnTo>
                    <a:pt x="2560" y="817"/>
                  </a:lnTo>
                  <a:lnTo>
                    <a:pt x="2553" y="821"/>
                  </a:lnTo>
                  <a:lnTo>
                    <a:pt x="2552" y="823"/>
                  </a:lnTo>
                  <a:lnTo>
                    <a:pt x="2551" y="823"/>
                  </a:lnTo>
                  <a:lnTo>
                    <a:pt x="2549" y="823"/>
                  </a:lnTo>
                  <a:lnTo>
                    <a:pt x="2549" y="820"/>
                  </a:lnTo>
                  <a:lnTo>
                    <a:pt x="2547" y="815"/>
                  </a:lnTo>
                  <a:lnTo>
                    <a:pt x="2544" y="805"/>
                  </a:lnTo>
                  <a:lnTo>
                    <a:pt x="2540" y="780"/>
                  </a:lnTo>
                  <a:lnTo>
                    <a:pt x="2536" y="749"/>
                  </a:lnTo>
                  <a:lnTo>
                    <a:pt x="2531" y="719"/>
                  </a:lnTo>
                  <a:lnTo>
                    <a:pt x="2524" y="695"/>
                  </a:lnTo>
                  <a:lnTo>
                    <a:pt x="2520" y="685"/>
                  </a:lnTo>
                  <a:lnTo>
                    <a:pt x="2515" y="680"/>
                  </a:lnTo>
                  <a:lnTo>
                    <a:pt x="2513" y="679"/>
                  </a:lnTo>
                  <a:lnTo>
                    <a:pt x="2511" y="679"/>
                  </a:lnTo>
                  <a:lnTo>
                    <a:pt x="2508" y="680"/>
                  </a:lnTo>
                  <a:lnTo>
                    <a:pt x="2505" y="683"/>
                  </a:lnTo>
                  <a:lnTo>
                    <a:pt x="2485" y="700"/>
                  </a:lnTo>
                  <a:lnTo>
                    <a:pt x="2465" y="716"/>
                  </a:lnTo>
                  <a:lnTo>
                    <a:pt x="2443" y="732"/>
                  </a:lnTo>
                  <a:lnTo>
                    <a:pt x="2420" y="748"/>
                  </a:lnTo>
                  <a:lnTo>
                    <a:pt x="2416" y="745"/>
                  </a:lnTo>
                  <a:lnTo>
                    <a:pt x="2413" y="743"/>
                  </a:lnTo>
                  <a:lnTo>
                    <a:pt x="2411" y="740"/>
                  </a:lnTo>
                  <a:lnTo>
                    <a:pt x="2409" y="737"/>
                  </a:lnTo>
                  <a:lnTo>
                    <a:pt x="2409" y="731"/>
                  </a:lnTo>
                  <a:lnTo>
                    <a:pt x="2412" y="724"/>
                  </a:lnTo>
                  <a:lnTo>
                    <a:pt x="2416" y="719"/>
                  </a:lnTo>
                  <a:lnTo>
                    <a:pt x="2423" y="712"/>
                  </a:lnTo>
                  <a:lnTo>
                    <a:pt x="2429" y="704"/>
                  </a:lnTo>
                  <a:lnTo>
                    <a:pt x="2437" y="697"/>
                  </a:lnTo>
                  <a:lnTo>
                    <a:pt x="2447" y="689"/>
                  </a:lnTo>
                  <a:lnTo>
                    <a:pt x="2453" y="681"/>
                  </a:lnTo>
                  <a:lnTo>
                    <a:pt x="2461" y="673"/>
                  </a:lnTo>
                  <a:lnTo>
                    <a:pt x="2467" y="665"/>
                  </a:lnTo>
                  <a:lnTo>
                    <a:pt x="2471" y="656"/>
                  </a:lnTo>
                  <a:lnTo>
                    <a:pt x="2473" y="648"/>
                  </a:lnTo>
                  <a:lnTo>
                    <a:pt x="2473" y="643"/>
                  </a:lnTo>
                  <a:lnTo>
                    <a:pt x="2472" y="637"/>
                  </a:lnTo>
                  <a:lnTo>
                    <a:pt x="2471" y="633"/>
                  </a:lnTo>
                  <a:lnTo>
                    <a:pt x="2469" y="628"/>
                  </a:lnTo>
                  <a:lnTo>
                    <a:pt x="2457" y="631"/>
                  </a:lnTo>
                  <a:lnTo>
                    <a:pt x="2447" y="635"/>
                  </a:lnTo>
                  <a:lnTo>
                    <a:pt x="2436" y="639"/>
                  </a:lnTo>
                  <a:lnTo>
                    <a:pt x="2425" y="644"/>
                  </a:lnTo>
                  <a:lnTo>
                    <a:pt x="2403" y="656"/>
                  </a:lnTo>
                  <a:lnTo>
                    <a:pt x="2380" y="669"/>
                  </a:lnTo>
                  <a:lnTo>
                    <a:pt x="2335" y="703"/>
                  </a:lnTo>
                  <a:lnTo>
                    <a:pt x="2288" y="736"/>
                  </a:lnTo>
                  <a:lnTo>
                    <a:pt x="2264" y="753"/>
                  </a:lnTo>
                  <a:lnTo>
                    <a:pt x="2240" y="768"/>
                  </a:lnTo>
                  <a:lnTo>
                    <a:pt x="2216" y="783"/>
                  </a:lnTo>
                  <a:lnTo>
                    <a:pt x="2191" y="795"/>
                  </a:lnTo>
                  <a:lnTo>
                    <a:pt x="2179" y="799"/>
                  </a:lnTo>
                  <a:lnTo>
                    <a:pt x="2165" y="803"/>
                  </a:lnTo>
                  <a:lnTo>
                    <a:pt x="2153" y="807"/>
                  </a:lnTo>
                  <a:lnTo>
                    <a:pt x="2140" y="809"/>
                  </a:lnTo>
                  <a:lnTo>
                    <a:pt x="2128" y="811"/>
                  </a:lnTo>
                  <a:lnTo>
                    <a:pt x="2115" y="811"/>
                  </a:lnTo>
                  <a:lnTo>
                    <a:pt x="2103" y="811"/>
                  </a:lnTo>
                  <a:lnTo>
                    <a:pt x="2089" y="809"/>
                  </a:lnTo>
                  <a:lnTo>
                    <a:pt x="2112" y="828"/>
                  </a:lnTo>
                  <a:lnTo>
                    <a:pt x="2128" y="845"/>
                  </a:lnTo>
                  <a:lnTo>
                    <a:pt x="2135" y="853"/>
                  </a:lnTo>
                  <a:lnTo>
                    <a:pt x="2140" y="860"/>
                  </a:lnTo>
                  <a:lnTo>
                    <a:pt x="2144" y="867"/>
                  </a:lnTo>
                  <a:lnTo>
                    <a:pt x="2147" y="873"/>
                  </a:lnTo>
                  <a:lnTo>
                    <a:pt x="2148" y="879"/>
                  </a:lnTo>
                  <a:lnTo>
                    <a:pt x="2149" y="884"/>
                  </a:lnTo>
                  <a:lnTo>
                    <a:pt x="2148" y="889"/>
                  </a:lnTo>
                  <a:lnTo>
                    <a:pt x="2148" y="895"/>
                  </a:lnTo>
                  <a:lnTo>
                    <a:pt x="2143" y="904"/>
                  </a:lnTo>
                  <a:lnTo>
                    <a:pt x="2136" y="915"/>
                  </a:lnTo>
                  <a:lnTo>
                    <a:pt x="2119" y="936"/>
                  </a:lnTo>
                  <a:lnTo>
                    <a:pt x="2099" y="964"/>
                  </a:lnTo>
                  <a:lnTo>
                    <a:pt x="2089" y="982"/>
                  </a:lnTo>
                  <a:lnTo>
                    <a:pt x="2081" y="1002"/>
                  </a:lnTo>
                  <a:lnTo>
                    <a:pt x="2077" y="1014"/>
                  </a:lnTo>
                  <a:lnTo>
                    <a:pt x="2075" y="1028"/>
                  </a:lnTo>
                  <a:lnTo>
                    <a:pt x="2072" y="1041"/>
                  </a:lnTo>
                  <a:lnTo>
                    <a:pt x="2071" y="1056"/>
                  </a:lnTo>
                  <a:lnTo>
                    <a:pt x="2081" y="1056"/>
                  </a:lnTo>
                  <a:lnTo>
                    <a:pt x="2091" y="1054"/>
                  </a:lnTo>
                  <a:lnTo>
                    <a:pt x="2100" y="1053"/>
                  </a:lnTo>
                  <a:lnTo>
                    <a:pt x="2107" y="1050"/>
                  </a:lnTo>
                  <a:lnTo>
                    <a:pt x="2120" y="1045"/>
                  </a:lnTo>
                  <a:lnTo>
                    <a:pt x="2132" y="1037"/>
                  </a:lnTo>
                  <a:lnTo>
                    <a:pt x="2148" y="1020"/>
                  </a:lnTo>
                  <a:lnTo>
                    <a:pt x="2157" y="1008"/>
                  </a:lnTo>
                  <a:lnTo>
                    <a:pt x="2160" y="1005"/>
                  </a:lnTo>
                  <a:lnTo>
                    <a:pt x="2161" y="1004"/>
                  </a:lnTo>
                  <a:lnTo>
                    <a:pt x="2164" y="1004"/>
                  </a:lnTo>
                  <a:lnTo>
                    <a:pt x="2165" y="1004"/>
                  </a:lnTo>
                  <a:lnTo>
                    <a:pt x="2169" y="1009"/>
                  </a:lnTo>
                  <a:lnTo>
                    <a:pt x="2173" y="1018"/>
                  </a:lnTo>
                  <a:lnTo>
                    <a:pt x="2185" y="1056"/>
                  </a:lnTo>
                  <a:lnTo>
                    <a:pt x="2204" y="1121"/>
                  </a:lnTo>
                  <a:lnTo>
                    <a:pt x="2228" y="1130"/>
                  </a:lnTo>
                  <a:lnTo>
                    <a:pt x="2248" y="1140"/>
                  </a:lnTo>
                  <a:lnTo>
                    <a:pt x="2263" y="1149"/>
                  </a:lnTo>
                  <a:lnTo>
                    <a:pt x="2275" y="1158"/>
                  </a:lnTo>
                  <a:lnTo>
                    <a:pt x="2279" y="1162"/>
                  </a:lnTo>
                  <a:lnTo>
                    <a:pt x="2281" y="1168"/>
                  </a:lnTo>
                  <a:lnTo>
                    <a:pt x="2283" y="1172"/>
                  </a:lnTo>
                  <a:lnTo>
                    <a:pt x="2284" y="1176"/>
                  </a:lnTo>
                  <a:lnTo>
                    <a:pt x="2284" y="1180"/>
                  </a:lnTo>
                  <a:lnTo>
                    <a:pt x="2284" y="1182"/>
                  </a:lnTo>
                  <a:lnTo>
                    <a:pt x="2281" y="1186"/>
                  </a:lnTo>
                  <a:lnTo>
                    <a:pt x="2280" y="1189"/>
                  </a:lnTo>
                  <a:lnTo>
                    <a:pt x="2273" y="1196"/>
                  </a:lnTo>
                  <a:lnTo>
                    <a:pt x="2263" y="1200"/>
                  </a:lnTo>
                  <a:lnTo>
                    <a:pt x="2251" y="1202"/>
                  </a:lnTo>
                  <a:lnTo>
                    <a:pt x="2236" y="1205"/>
                  </a:lnTo>
                  <a:lnTo>
                    <a:pt x="2220" y="1205"/>
                  </a:lnTo>
                  <a:lnTo>
                    <a:pt x="2203" y="1204"/>
                  </a:lnTo>
                  <a:lnTo>
                    <a:pt x="2183" y="1200"/>
                  </a:lnTo>
                  <a:lnTo>
                    <a:pt x="2161" y="1194"/>
                  </a:lnTo>
                  <a:lnTo>
                    <a:pt x="2153" y="1201"/>
                  </a:lnTo>
                  <a:lnTo>
                    <a:pt x="2148" y="1209"/>
                  </a:lnTo>
                  <a:lnTo>
                    <a:pt x="2144" y="1217"/>
                  </a:lnTo>
                  <a:lnTo>
                    <a:pt x="2141" y="1225"/>
                  </a:lnTo>
                  <a:lnTo>
                    <a:pt x="2140" y="1232"/>
                  </a:lnTo>
                  <a:lnTo>
                    <a:pt x="2140" y="1240"/>
                  </a:lnTo>
                  <a:lnTo>
                    <a:pt x="2141" y="1248"/>
                  </a:lnTo>
                  <a:lnTo>
                    <a:pt x="2144" y="1256"/>
                  </a:lnTo>
                  <a:lnTo>
                    <a:pt x="2151" y="1270"/>
                  </a:lnTo>
                  <a:lnTo>
                    <a:pt x="2159" y="1285"/>
                  </a:lnTo>
                  <a:lnTo>
                    <a:pt x="2169" y="1298"/>
                  </a:lnTo>
                  <a:lnTo>
                    <a:pt x="2179" y="1310"/>
                  </a:lnTo>
                  <a:lnTo>
                    <a:pt x="2187" y="1321"/>
                  </a:lnTo>
                  <a:lnTo>
                    <a:pt x="2193" y="1329"/>
                  </a:lnTo>
                  <a:lnTo>
                    <a:pt x="2196" y="1333"/>
                  </a:lnTo>
                  <a:lnTo>
                    <a:pt x="2196" y="1336"/>
                  </a:lnTo>
                  <a:lnTo>
                    <a:pt x="2196" y="1338"/>
                  </a:lnTo>
                  <a:lnTo>
                    <a:pt x="2195" y="1340"/>
                  </a:lnTo>
                  <a:lnTo>
                    <a:pt x="2192" y="1341"/>
                  </a:lnTo>
                  <a:lnTo>
                    <a:pt x="2187" y="1341"/>
                  </a:lnTo>
                  <a:lnTo>
                    <a:pt x="2181" y="1341"/>
                  </a:lnTo>
                  <a:lnTo>
                    <a:pt x="2173" y="1340"/>
                  </a:lnTo>
                  <a:lnTo>
                    <a:pt x="2151" y="1334"/>
                  </a:lnTo>
                  <a:lnTo>
                    <a:pt x="2119" y="1326"/>
                  </a:lnTo>
                  <a:lnTo>
                    <a:pt x="2064" y="1325"/>
                  </a:lnTo>
                  <a:lnTo>
                    <a:pt x="2028" y="1324"/>
                  </a:lnTo>
                  <a:lnTo>
                    <a:pt x="2015" y="1325"/>
                  </a:lnTo>
                  <a:lnTo>
                    <a:pt x="2005" y="1325"/>
                  </a:lnTo>
                  <a:lnTo>
                    <a:pt x="1996" y="1328"/>
                  </a:lnTo>
                  <a:lnTo>
                    <a:pt x="1989" y="1332"/>
                  </a:lnTo>
                  <a:lnTo>
                    <a:pt x="1984" y="1337"/>
                  </a:lnTo>
                  <a:lnTo>
                    <a:pt x="1979" y="1345"/>
                  </a:lnTo>
                  <a:lnTo>
                    <a:pt x="1972" y="1356"/>
                  </a:lnTo>
                  <a:lnTo>
                    <a:pt x="1965" y="1369"/>
                  </a:lnTo>
                  <a:lnTo>
                    <a:pt x="1945" y="1406"/>
                  </a:lnTo>
                  <a:lnTo>
                    <a:pt x="1915" y="1458"/>
                  </a:lnTo>
                  <a:lnTo>
                    <a:pt x="1906" y="1466"/>
                  </a:lnTo>
                  <a:lnTo>
                    <a:pt x="1898" y="1472"/>
                  </a:lnTo>
                  <a:lnTo>
                    <a:pt x="1888" y="1477"/>
                  </a:lnTo>
                  <a:lnTo>
                    <a:pt x="1880" y="1480"/>
                  </a:lnTo>
                  <a:lnTo>
                    <a:pt x="1872" y="1482"/>
                  </a:lnTo>
                  <a:lnTo>
                    <a:pt x="1864" y="1484"/>
                  </a:lnTo>
                  <a:lnTo>
                    <a:pt x="1856" y="1485"/>
                  </a:lnTo>
                  <a:lnTo>
                    <a:pt x="1850" y="1485"/>
                  </a:lnTo>
                  <a:lnTo>
                    <a:pt x="1836" y="1482"/>
                  </a:lnTo>
                  <a:lnTo>
                    <a:pt x="1823" y="1477"/>
                  </a:lnTo>
                  <a:lnTo>
                    <a:pt x="1811" y="1472"/>
                  </a:lnTo>
                  <a:lnTo>
                    <a:pt x="1800" y="1465"/>
                  </a:lnTo>
                  <a:lnTo>
                    <a:pt x="1782" y="1453"/>
                  </a:lnTo>
                  <a:lnTo>
                    <a:pt x="1770" y="1445"/>
                  </a:lnTo>
                  <a:lnTo>
                    <a:pt x="1767" y="1445"/>
                  </a:lnTo>
                  <a:lnTo>
                    <a:pt x="1764" y="1446"/>
                  </a:lnTo>
                  <a:lnTo>
                    <a:pt x="1763" y="1448"/>
                  </a:lnTo>
                  <a:lnTo>
                    <a:pt x="1760" y="1450"/>
                  </a:lnTo>
                  <a:lnTo>
                    <a:pt x="1759" y="1458"/>
                  </a:lnTo>
                  <a:lnTo>
                    <a:pt x="1758" y="1472"/>
                  </a:lnTo>
                  <a:lnTo>
                    <a:pt x="1760" y="1486"/>
                  </a:lnTo>
                  <a:lnTo>
                    <a:pt x="1764" y="1505"/>
                  </a:lnTo>
                  <a:lnTo>
                    <a:pt x="1771" y="1527"/>
                  </a:lnTo>
                  <a:lnTo>
                    <a:pt x="1779" y="1550"/>
                  </a:lnTo>
                  <a:lnTo>
                    <a:pt x="1796" y="1601"/>
                  </a:lnTo>
                  <a:lnTo>
                    <a:pt x="1811" y="1651"/>
                  </a:lnTo>
                  <a:lnTo>
                    <a:pt x="1815" y="1675"/>
                  </a:lnTo>
                  <a:lnTo>
                    <a:pt x="1816" y="1697"/>
                  </a:lnTo>
                  <a:lnTo>
                    <a:pt x="1816" y="1706"/>
                  </a:lnTo>
                  <a:lnTo>
                    <a:pt x="1815" y="1715"/>
                  </a:lnTo>
                  <a:lnTo>
                    <a:pt x="1812" y="1723"/>
                  </a:lnTo>
                  <a:lnTo>
                    <a:pt x="1808" y="1730"/>
                  </a:lnTo>
                  <a:lnTo>
                    <a:pt x="1804" y="1735"/>
                  </a:lnTo>
                  <a:lnTo>
                    <a:pt x="1798" y="1741"/>
                  </a:lnTo>
                  <a:lnTo>
                    <a:pt x="1791" y="1745"/>
                  </a:lnTo>
                  <a:lnTo>
                    <a:pt x="1782" y="1747"/>
                  </a:lnTo>
                  <a:lnTo>
                    <a:pt x="1771" y="1747"/>
                  </a:lnTo>
                  <a:lnTo>
                    <a:pt x="1758" y="1747"/>
                  </a:lnTo>
                  <a:lnTo>
                    <a:pt x="1744" y="1746"/>
                  </a:lnTo>
                  <a:lnTo>
                    <a:pt x="1728" y="1742"/>
                  </a:lnTo>
                  <a:lnTo>
                    <a:pt x="1706" y="1735"/>
                  </a:lnTo>
                  <a:lnTo>
                    <a:pt x="1684" y="1729"/>
                  </a:lnTo>
                  <a:lnTo>
                    <a:pt x="1664" y="1721"/>
                  </a:lnTo>
                  <a:lnTo>
                    <a:pt x="1646" y="1713"/>
                  </a:lnTo>
                  <a:lnTo>
                    <a:pt x="1627" y="1703"/>
                  </a:lnTo>
                  <a:lnTo>
                    <a:pt x="1610" y="1693"/>
                  </a:lnTo>
                  <a:lnTo>
                    <a:pt x="1595" y="1681"/>
                  </a:lnTo>
                  <a:lnTo>
                    <a:pt x="1580" y="1667"/>
                  </a:lnTo>
                  <a:lnTo>
                    <a:pt x="1567" y="1653"/>
                  </a:lnTo>
                  <a:lnTo>
                    <a:pt x="1556" y="1637"/>
                  </a:lnTo>
                  <a:lnTo>
                    <a:pt x="1547" y="1619"/>
                  </a:lnTo>
                  <a:lnTo>
                    <a:pt x="1538" y="1601"/>
                  </a:lnTo>
                  <a:lnTo>
                    <a:pt x="1532" y="1579"/>
                  </a:lnTo>
                  <a:lnTo>
                    <a:pt x="1527" y="1557"/>
                  </a:lnTo>
                  <a:lnTo>
                    <a:pt x="1524" y="1533"/>
                  </a:lnTo>
                  <a:lnTo>
                    <a:pt x="1523" y="1507"/>
                  </a:lnTo>
                  <a:lnTo>
                    <a:pt x="1520" y="1500"/>
                  </a:lnTo>
                  <a:lnTo>
                    <a:pt x="1515" y="1493"/>
                  </a:lnTo>
                  <a:lnTo>
                    <a:pt x="1508" y="1488"/>
                  </a:lnTo>
                  <a:lnTo>
                    <a:pt x="1499" y="1485"/>
                  </a:lnTo>
                  <a:lnTo>
                    <a:pt x="1480" y="1480"/>
                  </a:lnTo>
                  <a:lnTo>
                    <a:pt x="1460" y="1476"/>
                  </a:lnTo>
                  <a:lnTo>
                    <a:pt x="1450" y="1473"/>
                  </a:lnTo>
                  <a:lnTo>
                    <a:pt x="1440" y="1470"/>
                  </a:lnTo>
                  <a:lnTo>
                    <a:pt x="1432" y="1465"/>
                  </a:lnTo>
                  <a:lnTo>
                    <a:pt x="1424" y="1460"/>
                  </a:lnTo>
                  <a:lnTo>
                    <a:pt x="1419" y="1453"/>
                  </a:lnTo>
                  <a:lnTo>
                    <a:pt x="1415" y="1442"/>
                  </a:lnTo>
                  <a:lnTo>
                    <a:pt x="1414" y="1432"/>
                  </a:lnTo>
                  <a:lnTo>
                    <a:pt x="1415" y="1417"/>
                  </a:lnTo>
                  <a:lnTo>
                    <a:pt x="1406" y="1406"/>
                  </a:lnTo>
                  <a:lnTo>
                    <a:pt x="1399" y="1396"/>
                  </a:lnTo>
                  <a:lnTo>
                    <a:pt x="1394" y="1385"/>
                  </a:lnTo>
                  <a:lnTo>
                    <a:pt x="1390" y="1373"/>
                  </a:lnTo>
                  <a:lnTo>
                    <a:pt x="1386" y="1362"/>
                  </a:lnTo>
                  <a:lnTo>
                    <a:pt x="1382" y="1353"/>
                  </a:lnTo>
                  <a:lnTo>
                    <a:pt x="1378" y="1342"/>
                  </a:lnTo>
                  <a:lnTo>
                    <a:pt x="1371" y="1333"/>
                  </a:lnTo>
                  <a:lnTo>
                    <a:pt x="1362" y="1325"/>
                  </a:lnTo>
                  <a:lnTo>
                    <a:pt x="1350" y="1318"/>
                  </a:lnTo>
                  <a:lnTo>
                    <a:pt x="1335" y="1312"/>
                  </a:lnTo>
                  <a:lnTo>
                    <a:pt x="1316" y="1308"/>
                  </a:lnTo>
                  <a:lnTo>
                    <a:pt x="1292" y="1305"/>
                  </a:lnTo>
                  <a:lnTo>
                    <a:pt x="1263" y="1304"/>
                  </a:lnTo>
                  <a:lnTo>
                    <a:pt x="1227" y="1305"/>
                  </a:lnTo>
                  <a:lnTo>
                    <a:pt x="1186" y="1309"/>
                  </a:lnTo>
                  <a:lnTo>
                    <a:pt x="1184" y="1320"/>
                  </a:lnTo>
                  <a:lnTo>
                    <a:pt x="1182" y="1330"/>
                  </a:lnTo>
                  <a:lnTo>
                    <a:pt x="1178" y="1340"/>
                  </a:lnTo>
                  <a:lnTo>
                    <a:pt x="1174" y="1346"/>
                  </a:lnTo>
                  <a:lnTo>
                    <a:pt x="1168" y="1353"/>
                  </a:lnTo>
                  <a:lnTo>
                    <a:pt x="1162" y="1358"/>
                  </a:lnTo>
                  <a:lnTo>
                    <a:pt x="1155" y="1364"/>
                  </a:lnTo>
                  <a:lnTo>
                    <a:pt x="1147" y="1366"/>
                  </a:lnTo>
                  <a:lnTo>
                    <a:pt x="1139" y="1369"/>
                  </a:lnTo>
                  <a:lnTo>
                    <a:pt x="1130" y="1372"/>
                  </a:lnTo>
                  <a:lnTo>
                    <a:pt x="1121" y="1373"/>
                  </a:lnTo>
                  <a:lnTo>
                    <a:pt x="1111" y="1373"/>
                  </a:lnTo>
                  <a:lnTo>
                    <a:pt x="1091" y="1373"/>
                  </a:lnTo>
                  <a:lnTo>
                    <a:pt x="1070" y="1372"/>
                  </a:lnTo>
                  <a:lnTo>
                    <a:pt x="1047" y="1370"/>
                  </a:lnTo>
                  <a:lnTo>
                    <a:pt x="1026" y="1368"/>
                  </a:lnTo>
                  <a:lnTo>
                    <a:pt x="1005" y="1368"/>
                  </a:lnTo>
                  <a:lnTo>
                    <a:pt x="983" y="1368"/>
                  </a:lnTo>
                  <a:lnTo>
                    <a:pt x="974" y="1369"/>
                  </a:lnTo>
                  <a:lnTo>
                    <a:pt x="965" y="1370"/>
                  </a:lnTo>
                  <a:lnTo>
                    <a:pt x="955" y="1373"/>
                  </a:lnTo>
                  <a:lnTo>
                    <a:pt x="947" y="1376"/>
                  </a:lnTo>
                  <a:lnTo>
                    <a:pt x="939" y="1380"/>
                  </a:lnTo>
                  <a:lnTo>
                    <a:pt x="933" y="1385"/>
                  </a:lnTo>
                  <a:lnTo>
                    <a:pt x="926" y="1392"/>
                  </a:lnTo>
                  <a:lnTo>
                    <a:pt x="921" y="1398"/>
                  </a:lnTo>
                  <a:lnTo>
                    <a:pt x="918" y="1401"/>
                  </a:lnTo>
                  <a:lnTo>
                    <a:pt x="915" y="1404"/>
                  </a:lnTo>
                  <a:lnTo>
                    <a:pt x="913" y="1408"/>
                  </a:lnTo>
                  <a:lnTo>
                    <a:pt x="911" y="1410"/>
                  </a:lnTo>
                  <a:lnTo>
                    <a:pt x="910" y="1418"/>
                  </a:lnTo>
                  <a:lnTo>
                    <a:pt x="911" y="1428"/>
                  </a:lnTo>
                  <a:lnTo>
                    <a:pt x="914" y="1437"/>
                  </a:lnTo>
                  <a:lnTo>
                    <a:pt x="918" y="1448"/>
                  </a:lnTo>
                  <a:lnTo>
                    <a:pt x="925" y="1458"/>
                  </a:lnTo>
                  <a:lnTo>
                    <a:pt x="931" y="1469"/>
                  </a:lnTo>
                  <a:lnTo>
                    <a:pt x="961" y="1511"/>
                  </a:lnTo>
                  <a:lnTo>
                    <a:pt x="982" y="1543"/>
                  </a:lnTo>
                  <a:lnTo>
                    <a:pt x="986" y="1554"/>
                  </a:lnTo>
                  <a:lnTo>
                    <a:pt x="989" y="1565"/>
                  </a:lnTo>
                  <a:lnTo>
                    <a:pt x="991" y="1574"/>
                  </a:lnTo>
                  <a:lnTo>
                    <a:pt x="991" y="1582"/>
                  </a:lnTo>
                  <a:lnTo>
                    <a:pt x="991" y="1590"/>
                  </a:lnTo>
                  <a:lnTo>
                    <a:pt x="990" y="1598"/>
                  </a:lnTo>
                  <a:lnTo>
                    <a:pt x="987" y="1605"/>
                  </a:lnTo>
                  <a:lnTo>
                    <a:pt x="983" y="1610"/>
                  </a:lnTo>
                  <a:lnTo>
                    <a:pt x="979" y="1617"/>
                  </a:lnTo>
                  <a:lnTo>
                    <a:pt x="974" y="1622"/>
                  </a:lnTo>
                  <a:lnTo>
                    <a:pt x="969" y="1626"/>
                  </a:lnTo>
                  <a:lnTo>
                    <a:pt x="962" y="1630"/>
                  </a:lnTo>
                  <a:lnTo>
                    <a:pt x="946" y="1638"/>
                  </a:lnTo>
                  <a:lnTo>
                    <a:pt x="929" y="1645"/>
                  </a:lnTo>
                  <a:lnTo>
                    <a:pt x="889" y="1655"/>
                  </a:lnTo>
                  <a:lnTo>
                    <a:pt x="845" y="1665"/>
                  </a:lnTo>
                  <a:lnTo>
                    <a:pt x="822" y="1669"/>
                  </a:lnTo>
                  <a:lnTo>
                    <a:pt x="799" y="1674"/>
                  </a:lnTo>
                  <a:lnTo>
                    <a:pt x="778" y="1681"/>
                  </a:lnTo>
                  <a:lnTo>
                    <a:pt x="758" y="1687"/>
                  </a:lnTo>
                  <a:lnTo>
                    <a:pt x="742" y="1694"/>
                  </a:lnTo>
                  <a:lnTo>
                    <a:pt x="727" y="1699"/>
                  </a:lnTo>
                  <a:lnTo>
                    <a:pt x="714" y="1702"/>
                  </a:lnTo>
                  <a:lnTo>
                    <a:pt x="702" y="1705"/>
                  </a:lnTo>
                  <a:lnTo>
                    <a:pt x="691" y="1706"/>
                  </a:lnTo>
                  <a:lnTo>
                    <a:pt x="681" y="1705"/>
                  </a:lnTo>
                  <a:lnTo>
                    <a:pt x="673" y="1703"/>
                  </a:lnTo>
                  <a:lnTo>
                    <a:pt x="665" y="1702"/>
                  </a:lnTo>
                  <a:lnTo>
                    <a:pt x="658" y="1698"/>
                  </a:lnTo>
                  <a:lnTo>
                    <a:pt x="651" y="1694"/>
                  </a:lnTo>
                  <a:lnTo>
                    <a:pt x="646" y="1689"/>
                  </a:lnTo>
                  <a:lnTo>
                    <a:pt x="642" y="1683"/>
                  </a:lnTo>
                  <a:lnTo>
                    <a:pt x="635" y="1671"/>
                  </a:lnTo>
                  <a:lnTo>
                    <a:pt x="630" y="1658"/>
                  </a:lnTo>
                  <a:lnTo>
                    <a:pt x="623" y="1630"/>
                  </a:lnTo>
                  <a:lnTo>
                    <a:pt x="619" y="1607"/>
                  </a:lnTo>
                  <a:lnTo>
                    <a:pt x="617" y="1602"/>
                  </a:lnTo>
                  <a:lnTo>
                    <a:pt x="615" y="1599"/>
                  </a:lnTo>
                  <a:lnTo>
                    <a:pt x="614" y="1595"/>
                  </a:lnTo>
                  <a:lnTo>
                    <a:pt x="611" y="1594"/>
                  </a:lnTo>
                  <a:lnTo>
                    <a:pt x="609" y="1593"/>
                  </a:lnTo>
                  <a:lnTo>
                    <a:pt x="605" y="1593"/>
                  </a:lnTo>
                  <a:lnTo>
                    <a:pt x="601" y="1594"/>
                  </a:lnTo>
                  <a:lnTo>
                    <a:pt x="595" y="1597"/>
                  </a:lnTo>
                  <a:lnTo>
                    <a:pt x="403" y="1639"/>
                  </a:lnTo>
                  <a:lnTo>
                    <a:pt x="388" y="1653"/>
                  </a:lnTo>
                  <a:lnTo>
                    <a:pt x="368" y="1667"/>
                  </a:lnTo>
                  <a:lnTo>
                    <a:pt x="346" y="1683"/>
                  </a:lnTo>
                  <a:lnTo>
                    <a:pt x="324" y="1697"/>
                  </a:lnTo>
                  <a:lnTo>
                    <a:pt x="313" y="1702"/>
                  </a:lnTo>
                  <a:lnTo>
                    <a:pt x="301" y="1707"/>
                  </a:lnTo>
                  <a:lnTo>
                    <a:pt x="292" y="1710"/>
                  </a:lnTo>
                  <a:lnTo>
                    <a:pt x="281" y="1713"/>
                  </a:lnTo>
                  <a:lnTo>
                    <a:pt x="273" y="1713"/>
                  </a:lnTo>
                  <a:lnTo>
                    <a:pt x="265" y="1710"/>
                  </a:lnTo>
                  <a:lnTo>
                    <a:pt x="261" y="1709"/>
                  </a:lnTo>
                  <a:lnTo>
                    <a:pt x="258" y="1706"/>
                  </a:lnTo>
                  <a:lnTo>
                    <a:pt x="256" y="1703"/>
                  </a:lnTo>
                  <a:lnTo>
                    <a:pt x="253" y="1699"/>
                  </a:lnTo>
                  <a:lnTo>
                    <a:pt x="245" y="1687"/>
                  </a:lnTo>
                  <a:lnTo>
                    <a:pt x="240" y="1679"/>
                  </a:lnTo>
                  <a:lnTo>
                    <a:pt x="233" y="1675"/>
                  </a:lnTo>
                  <a:lnTo>
                    <a:pt x="229" y="1674"/>
                  </a:lnTo>
                  <a:lnTo>
                    <a:pt x="224" y="1675"/>
                  </a:lnTo>
                  <a:lnTo>
                    <a:pt x="218" y="1679"/>
                  </a:lnTo>
                  <a:lnTo>
                    <a:pt x="213" y="1685"/>
                  </a:lnTo>
                  <a:lnTo>
                    <a:pt x="206" y="1690"/>
                  </a:lnTo>
                  <a:lnTo>
                    <a:pt x="198" y="1698"/>
                  </a:lnTo>
                  <a:lnTo>
                    <a:pt x="190" y="1705"/>
                  </a:lnTo>
                  <a:lnTo>
                    <a:pt x="180" y="1711"/>
                  </a:lnTo>
                  <a:lnTo>
                    <a:pt x="168" y="1717"/>
                  </a:lnTo>
                  <a:lnTo>
                    <a:pt x="154" y="1721"/>
                  </a:lnTo>
                  <a:lnTo>
                    <a:pt x="137" y="1722"/>
                  </a:lnTo>
                  <a:lnTo>
                    <a:pt x="128" y="1722"/>
                  </a:lnTo>
                  <a:lnTo>
                    <a:pt x="118" y="1722"/>
                  </a:lnTo>
                  <a:lnTo>
                    <a:pt x="108" y="1721"/>
                  </a:lnTo>
                  <a:lnTo>
                    <a:pt x="96" y="1718"/>
                  </a:lnTo>
                  <a:lnTo>
                    <a:pt x="96" y="1734"/>
                  </a:lnTo>
                  <a:lnTo>
                    <a:pt x="94" y="1747"/>
                  </a:lnTo>
                  <a:lnTo>
                    <a:pt x="93" y="1757"/>
                  </a:lnTo>
                  <a:lnTo>
                    <a:pt x="90" y="1765"/>
                  </a:lnTo>
                  <a:lnTo>
                    <a:pt x="86" y="1778"/>
                  </a:lnTo>
                  <a:lnTo>
                    <a:pt x="84" y="1790"/>
                  </a:lnTo>
                  <a:lnTo>
                    <a:pt x="84" y="1799"/>
                  </a:lnTo>
                  <a:lnTo>
                    <a:pt x="81" y="1807"/>
                  </a:lnTo>
                  <a:lnTo>
                    <a:pt x="78" y="1817"/>
                  </a:lnTo>
                  <a:lnTo>
                    <a:pt x="73" y="1826"/>
                  </a:lnTo>
                  <a:lnTo>
                    <a:pt x="64" y="1847"/>
                  </a:lnTo>
                  <a:lnTo>
                    <a:pt x="54" y="1874"/>
                  </a:lnTo>
                  <a:lnTo>
                    <a:pt x="66" y="1879"/>
                  </a:lnTo>
                  <a:lnTo>
                    <a:pt x="77" y="1883"/>
                  </a:lnTo>
                  <a:lnTo>
                    <a:pt x="85" y="1889"/>
                  </a:lnTo>
                  <a:lnTo>
                    <a:pt x="92" y="1895"/>
                  </a:lnTo>
                  <a:lnTo>
                    <a:pt x="97" y="1901"/>
                  </a:lnTo>
                  <a:lnTo>
                    <a:pt x="101" y="1907"/>
                  </a:lnTo>
                  <a:lnTo>
                    <a:pt x="104" y="1914"/>
                  </a:lnTo>
                  <a:lnTo>
                    <a:pt x="106" y="1921"/>
                  </a:lnTo>
                  <a:lnTo>
                    <a:pt x="110" y="1937"/>
                  </a:lnTo>
                  <a:lnTo>
                    <a:pt x="116" y="1954"/>
                  </a:lnTo>
                  <a:lnTo>
                    <a:pt x="118" y="1963"/>
                  </a:lnTo>
                  <a:lnTo>
                    <a:pt x="121" y="1973"/>
                  </a:lnTo>
                  <a:lnTo>
                    <a:pt x="126" y="1983"/>
                  </a:lnTo>
                  <a:lnTo>
                    <a:pt x="133" y="1995"/>
                  </a:lnTo>
                  <a:lnTo>
                    <a:pt x="140" y="2007"/>
                  </a:lnTo>
                  <a:lnTo>
                    <a:pt x="146" y="2019"/>
                  </a:lnTo>
                  <a:lnTo>
                    <a:pt x="154" y="2030"/>
                  </a:lnTo>
                  <a:lnTo>
                    <a:pt x="164" y="2039"/>
                  </a:lnTo>
                  <a:lnTo>
                    <a:pt x="181" y="2057"/>
                  </a:lnTo>
                  <a:lnTo>
                    <a:pt x="200" y="2071"/>
                  </a:lnTo>
                  <a:lnTo>
                    <a:pt x="220" y="2086"/>
                  </a:lnTo>
                  <a:lnTo>
                    <a:pt x="240" y="2102"/>
                  </a:lnTo>
                  <a:lnTo>
                    <a:pt x="249" y="2110"/>
                  </a:lnTo>
                  <a:lnTo>
                    <a:pt x="258" y="2119"/>
                  </a:lnTo>
                  <a:lnTo>
                    <a:pt x="268" y="2128"/>
                  </a:lnTo>
                  <a:lnTo>
                    <a:pt x="277" y="2139"/>
                  </a:lnTo>
                  <a:lnTo>
                    <a:pt x="284" y="2147"/>
                  </a:lnTo>
                  <a:lnTo>
                    <a:pt x="288" y="2155"/>
                  </a:lnTo>
                  <a:lnTo>
                    <a:pt x="292" y="2164"/>
                  </a:lnTo>
                  <a:lnTo>
                    <a:pt x="294" y="2174"/>
                  </a:lnTo>
                  <a:lnTo>
                    <a:pt x="298" y="2192"/>
                  </a:lnTo>
                  <a:lnTo>
                    <a:pt x="300" y="2212"/>
                  </a:lnTo>
                  <a:lnTo>
                    <a:pt x="302" y="2232"/>
                  </a:lnTo>
                  <a:lnTo>
                    <a:pt x="305" y="2252"/>
                  </a:lnTo>
                  <a:lnTo>
                    <a:pt x="308" y="2262"/>
                  </a:lnTo>
                  <a:lnTo>
                    <a:pt x="310" y="2271"/>
                  </a:lnTo>
                  <a:lnTo>
                    <a:pt x="314" y="2280"/>
                  </a:lnTo>
                  <a:lnTo>
                    <a:pt x="320" y="2290"/>
                  </a:lnTo>
                  <a:lnTo>
                    <a:pt x="328" y="2298"/>
                  </a:lnTo>
                  <a:lnTo>
                    <a:pt x="338" y="2306"/>
                  </a:lnTo>
                  <a:lnTo>
                    <a:pt x="350" y="2312"/>
                  </a:lnTo>
                  <a:lnTo>
                    <a:pt x="362" y="2320"/>
                  </a:lnTo>
                  <a:lnTo>
                    <a:pt x="373" y="2328"/>
                  </a:lnTo>
                  <a:lnTo>
                    <a:pt x="382" y="2339"/>
                  </a:lnTo>
                  <a:lnTo>
                    <a:pt x="386" y="2344"/>
                  </a:lnTo>
                  <a:lnTo>
                    <a:pt x="389" y="2352"/>
                  </a:lnTo>
                  <a:lnTo>
                    <a:pt x="390" y="2359"/>
                  </a:lnTo>
                  <a:lnTo>
                    <a:pt x="392" y="2368"/>
                  </a:lnTo>
                  <a:lnTo>
                    <a:pt x="390" y="2379"/>
                  </a:lnTo>
                  <a:lnTo>
                    <a:pt x="388" y="2388"/>
                  </a:lnTo>
                  <a:lnTo>
                    <a:pt x="384" y="2398"/>
                  </a:lnTo>
                  <a:lnTo>
                    <a:pt x="378" y="2406"/>
                  </a:lnTo>
                  <a:lnTo>
                    <a:pt x="373" y="2412"/>
                  </a:lnTo>
                  <a:lnTo>
                    <a:pt x="365" y="2419"/>
                  </a:lnTo>
                  <a:lnTo>
                    <a:pt x="357" y="2424"/>
                  </a:lnTo>
                  <a:lnTo>
                    <a:pt x="349" y="2430"/>
                  </a:lnTo>
                  <a:lnTo>
                    <a:pt x="332" y="2439"/>
                  </a:lnTo>
                  <a:lnTo>
                    <a:pt x="316" y="2447"/>
                  </a:lnTo>
                  <a:lnTo>
                    <a:pt x="300" y="2456"/>
                  </a:lnTo>
                  <a:lnTo>
                    <a:pt x="289" y="2464"/>
                  </a:lnTo>
                  <a:lnTo>
                    <a:pt x="205" y="2681"/>
                  </a:lnTo>
                  <a:lnTo>
                    <a:pt x="206" y="2692"/>
                  </a:lnTo>
                  <a:lnTo>
                    <a:pt x="209" y="2701"/>
                  </a:lnTo>
                  <a:lnTo>
                    <a:pt x="214" y="2711"/>
                  </a:lnTo>
                  <a:lnTo>
                    <a:pt x="220" y="2720"/>
                  </a:lnTo>
                  <a:lnTo>
                    <a:pt x="225" y="2729"/>
                  </a:lnTo>
                  <a:lnTo>
                    <a:pt x="230" y="2739"/>
                  </a:lnTo>
                  <a:lnTo>
                    <a:pt x="233" y="2748"/>
                  </a:lnTo>
                  <a:lnTo>
                    <a:pt x="234" y="2759"/>
                  </a:lnTo>
                  <a:lnTo>
                    <a:pt x="234" y="2769"/>
                  </a:lnTo>
                  <a:lnTo>
                    <a:pt x="233" y="2777"/>
                  </a:lnTo>
                  <a:lnTo>
                    <a:pt x="229" y="2784"/>
                  </a:lnTo>
                  <a:lnTo>
                    <a:pt x="225" y="2789"/>
                  </a:lnTo>
                  <a:lnTo>
                    <a:pt x="221" y="2792"/>
                  </a:lnTo>
                  <a:lnTo>
                    <a:pt x="216" y="2795"/>
                  </a:lnTo>
                  <a:lnTo>
                    <a:pt x="209" y="2796"/>
                  </a:lnTo>
                  <a:lnTo>
                    <a:pt x="202" y="2796"/>
                  </a:lnTo>
                  <a:lnTo>
                    <a:pt x="188" y="2796"/>
                  </a:lnTo>
                  <a:lnTo>
                    <a:pt x="172" y="2796"/>
                  </a:lnTo>
                  <a:lnTo>
                    <a:pt x="162" y="2796"/>
                  </a:lnTo>
                  <a:lnTo>
                    <a:pt x="154" y="2797"/>
                  </a:lnTo>
                  <a:lnTo>
                    <a:pt x="146" y="2799"/>
                  </a:lnTo>
                  <a:lnTo>
                    <a:pt x="138" y="2801"/>
                  </a:lnTo>
                  <a:lnTo>
                    <a:pt x="132" y="2804"/>
                  </a:lnTo>
                  <a:lnTo>
                    <a:pt x="124" y="2809"/>
                  </a:lnTo>
                  <a:lnTo>
                    <a:pt x="117" y="2816"/>
                  </a:lnTo>
                  <a:lnTo>
                    <a:pt x="109" y="2824"/>
                  </a:lnTo>
                  <a:lnTo>
                    <a:pt x="93" y="2843"/>
                  </a:lnTo>
                  <a:lnTo>
                    <a:pt x="76" y="2863"/>
                  </a:lnTo>
                  <a:lnTo>
                    <a:pt x="58" y="2884"/>
                  </a:lnTo>
                  <a:lnTo>
                    <a:pt x="40" y="2905"/>
                  </a:lnTo>
                  <a:lnTo>
                    <a:pt x="29" y="2913"/>
                  </a:lnTo>
                  <a:lnTo>
                    <a:pt x="20" y="2921"/>
                  </a:lnTo>
                  <a:lnTo>
                    <a:pt x="10" y="2928"/>
                  </a:lnTo>
                  <a:lnTo>
                    <a:pt x="0" y="2933"/>
                  </a:lnTo>
                  <a:lnTo>
                    <a:pt x="17" y="2964"/>
                  </a:lnTo>
                  <a:lnTo>
                    <a:pt x="34" y="2993"/>
                  </a:lnTo>
                  <a:lnTo>
                    <a:pt x="52" y="3024"/>
                  </a:lnTo>
                  <a:lnTo>
                    <a:pt x="68" y="3056"/>
                  </a:lnTo>
                  <a:lnTo>
                    <a:pt x="84" y="3088"/>
                  </a:lnTo>
                  <a:lnTo>
                    <a:pt x="97" y="3120"/>
                  </a:lnTo>
                  <a:lnTo>
                    <a:pt x="110" y="3153"/>
                  </a:lnTo>
                  <a:lnTo>
                    <a:pt x="124" y="3187"/>
                  </a:lnTo>
                  <a:lnTo>
                    <a:pt x="134" y="3221"/>
                  </a:lnTo>
                  <a:lnTo>
                    <a:pt x="145" y="3256"/>
                  </a:lnTo>
                  <a:lnTo>
                    <a:pt x="153" y="3290"/>
                  </a:lnTo>
                  <a:lnTo>
                    <a:pt x="161" y="3326"/>
                  </a:lnTo>
                  <a:lnTo>
                    <a:pt x="166" y="3364"/>
                  </a:lnTo>
                  <a:lnTo>
                    <a:pt x="170" y="3400"/>
                  </a:lnTo>
                  <a:lnTo>
                    <a:pt x="173" y="3437"/>
                  </a:lnTo>
                  <a:lnTo>
                    <a:pt x="174" y="3476"/>
                  </a:lnTo>
                  <a:lnTo>
                    <a:pt x="173" y="3486"/>
                  </a:lnTo>
                  <a:lnTo>
                    <a:pt x="172" y="3496"/>
                  </a:lnTo>
                  <a:lnTo>
                    <a:pt x="168" y="3504"/>
                  </a:lnTo>
                  <a:lnTo>
                    <a:pt x="162" y="3510"/>
                  </a:lnTo>
                  <a:lnTo>
                    <a:pt x="149" y="3522"/>
                  </a:lnTo>
                  <a:lnTo>
                    <a:pt x="134" y="3533"/>
                  </a:lnTo>
                  <a:lnTo>
                    <a:pt x="118" y="3544"/>
                  </a:lnTo>
                  <a:lnTo>
                    <a:pt x="104" y="3556"/>
                  </a:lnTo>
                  <a:lnTo>
                    <a:pt x="97" y="3562"/>
                  </a:lnTo>
                  <a:lnTo>
                    <a:pt x="92" y="3570"/>
                  </a:lnTo>
                  <a:lnTo>
                    <a:pt x="88" y="3580"/>
                  </a:lnTo>
                  <a:lnTo>
                    <a:pt x="84" y="3590"/>
                  </a:lnTo>
                  <a:lnTo>
                    <a:pt x="113" y="3596"/>
                  </a:lnTo>
                  <a:lnTo>
                    <a:pt x="144" y="3602"/>
                  </a:lnTo>
                  <a:lnTo>
                    <a:pt x="157" y="3608"/>
                  </a:lnTo>
                  <a:lnTo>
                    <a:pt x="168" y="3614"/>
                  </a:lnTo>
                  <a:lnTo>
                    <a:pt x="173" y="3618"/>
                  </a:lnTo>
                  <a:lnTo>
                    <a:pt x="176" y="3622"/>
                  </a:lnTo>
                  <a:lnTo>
                    <a:pt x="178" y="3628"/>
                  </a:lnTo>
                  <a:lnTo>
                    <a:pt x="181" y="3633"/>
                  </a:lnTo>
                  <a:lnTo>
                    <a:pt x="182" y="3640"/>
                  </a:lnTo>
                  <a:lnTo>
                    <a:pt x="184" y="3646"/>
                  </a:lnTo>
                  <a:lnTo>
                    <a:pt x="184" y="3652"/>
                  </a:lnTo>
                  <a:lnTo>
                    <a:pt x="182" y="3658"/>
                  </a:lnTo>
                  <a:lnTo>
                    <a:pt x="181" y="3672"/>
                  </a:lnTo>
                  <a:lnTo>
                    <a:pt x="177" y="3685"/>
                  </a:lnTo>
                  <a:lnTo>
                    <a:pt x="174" y="3697"/>
                  </a:lnTo>
                  <a:lnTo>
                    <a:pt x="172" y="3712"/>
                  </a:lnTo>
                  <a:lnTo>
                    <a:pt x="172" y="3718"/>
                  </a:lnTo>
                  <a:lnTo>
                    <a:pt x="172" y="3725"/>
                  </a:lnTo>
                  <a:lnTo>
                    <a:pt x="173" y="3733"/>
                  </a:lnTo>
                  <a:lnTo>
                    <a:pt x="174" y="3741"/>
                  </a:lnTo>
                  <a:lnTo>
                    <a:pt x="178" y="3756"/>
                  </a:lnTo>
                  <a:lnTo>
                    <a:pt x="182" y="3769"/>
                  </a:lnTo>
                  <a:lnTo>
                    <a:pt x="189" y="3781"/>
                  </a:lnTo>
                  <a:lnTo>
                    <a:pt x="197" y="3794"/>
                  </a:lnTo>
                  <a:lnTo>
                    <a:pt x="216" y="3817"/>
                  </a:lnTo>
                  <a:lnTo>
                    <a:pt x="236" y="3839"/>
                  </a:lnTo>
                  <a:lnTo>
                    <a:pt x="246" y="3851"/>
                  </a:lnTo>
                  <a:lnTo>
                    <a:pt x="256" y="3862"/>
                  </a:lnTo>
                  <a:lnTo>
                    <a:pt x="265" y="3874"/>
                  </a:lnTo>
                  <a:lnTo>
                    <a:pt x="273" y="3886"/>
                  </a:lnTo>
                  <a:lnTo>
                    <a:pt x="280" y="3898"/>
                  </a:lnTo>
                  <a:lnTo>
                    <a:pt x="285" y="3911"/>
                  </a:lnTo>
                  <a:lnTo>
                    <a:pt x="288" y="3925"/>
                  </a:lnTo>
                  <a:lnTo>
                    <a:pt x="289" y="3939"/>
                  </a:lnTo>
                  <a:lnTo>
                    <a:pt x="289" y="3945"/>
                  </a:lnTo>
                  <a:lnTo>
                    <a:pt x="286" y="3950"/>
                  </a:lnTo>
                  <a:lnTo>
                    <a:pt x="284" y="3955"/>
                  </a:lnTo>
                  <a:lnTo>
                    <a:pt x="281" y="3961"/>
                  </a:lnTo>
                  <a:lnTo>
                    <a:pt x="272" y="3973"/>
                  </a:lnTo>
                  <a:lnTo>
                    <a:pt x="262" y="3985"/>
                  </a:lnTo>
                  <a:lnTo>
                    <a:pt x="252" y="3998"/>
                  </a:lnTo>
                  <a:lnTo>
                    <a:pt x="244" y="4013"/>
                  </a:lnTo>
                  <a:lnTo>
                    <a:pt x="240" y="4021"/>
                  </a:lnTo>
                  <a:lnTo>
                    <a:pt x="237" y="4029"/>
                  </a:lnTo>
                  <a:lnTo>
                    <a:pt x="236" y="4038"/>
                  </a:lnTo>
                  <a:lnTo>
                    <a:pt x="234" y="4047"/>
                  </a:lnTo>
                  <a:lnTo>
                    <a:pt x="234" y="4083"/>
                  </a:lnTo>
                  <a:lnTo>
                    <a:pt x="234" y="4103"/>
                  </a:lnTo>
                  <a:lnTo>
                    <a:pt x="234" y="4131"/>
                  </a:lnTo>
                  <a:lnTo>
                    <a:pt x="234" y="4186"/>
                  </a:lnTo>
                  <a:lnTo>
                    <a:pt x="248" y="4190"/>
                  </a:lnTo>
                  <a:lnTo>
                    <a:pt x="262" y="4191"/>
                  </a:lnTo>
                  <a:lnTo>
                    <a:pt x="276" y="4191"/>
                  </a:lnTo>
                  <a:lnTo>
                    <a:pt x="289" y="4191"/>
                  </a:lnTo>
                  <a:lnTo>
                    <a:pt x="316" y="4187"/>
                  </a:lnTo>
                  <a:lnTo>
                    <a:pt x="344" y="4186"/>
                  </a:lnTo>
                  <a:lnTo>
                    <a:pt x="352" y="4187"/>
                  </a:lnTo>
                  <a:lnTo>
                    <a:pt x="360" y="4189"/>
                  </a:lnTo>
                  <a:lnTo>
                    <a:pt x="368" y="4191"/>
                  </a:lnTo>
                  <a:lnTo>
                    <a:pt x="374" y="4194"/>
                  </a:lnTo>
                  <a:lnTo>
                    <a:pt x="392" y="4202"/>
                  </a:lnTo>
                  <a:lnTo>
                    <a:pt x="415" y="4210"/>
                  </a:lnTo>
                  <a:lnTo>
                    <a:pt x="427" y="4213"/>
                  </a:lnTo>
                  <a:lnTo>
                    <a:pt x="439" y="4214"/>
                  </a:lnTo>
                  <a:lnTo>
                    <a:pt x="451" y="4215"/>
                  </a:lnTo>
                  <a:lnTo>
                    <a:pt x="465" y="4215"/>
                  </a:lnTo>
                  <a:lnTo>
                    <a:pt x="491" y="4214"/>
                  </a:lnTo>
                  <a:lnTo>
                    <a:pt x="517" y="4214"/>
                  </a:lnTo>
                  <a:lnTo>
                    <a:pt x="527" y="4214"/>
                  </a:lnTo>
                  <a:lnTo>
                    <a:pt x="538" y="4215"/>
                  </a:lnTo>
                  <a:lnTo>
                    <a:pt x="547" y="4217"/>
                  </a:lnTo>
                  <a:lnTo>
                    <a:pt x="555" y="4221"/>
                  </a:lnTo>
                  <a:lnTo>
                    <a:pt x="562" y="4226"/>
                  </a:lnTo>
                  <a:lnTo>
                    <a:pt x="567" y="4233"/>
                  </a:lnTo>
                  <a:lnTo>
                    <a:pt x="571" y="4242"/>
                  </a:lnTo>
                  <a:lnTo>
                    <a:pt x="571" y="4253"/>
                  </a:lnTo>
                  <a:lnTo>
                    <a:pt x="571" y="4265"/>
                  </a:lnTo>
                  <a:lnTo>
                    <a:pt x="567" y="4275"/>
                  </a:lnTo>
                  <a:lnTo>
                    <a:pt x="563" y="4283"/>
                  </a:lnTo>
                  <a:lnTo>
                    <a:pt x="559" y="4291"/>
                  </a:lnTo>
                  <a:lnTo>
                    <a:pt x="554" y="4298"/>
                  </a:lnTo>
                  <a:lnTo>
                    <a:pt x="549" y="4306"/>
                  </a:lnTo>
                  <a:lnTo>
                    <a:pt x="545" y="4314"/>
                  </a:lnTo>
                  <a:lnTo>
                    <a:pt x="542" y="4325"/>
                  </a:lnTo>
                  <a:lnTo>
                    <a:pt x="571" y="4330"/>
                  </a:lnTo>
                  <a:lnTo>
                    <a:pt x="598" y="4337"/>
                  </a:lnTo>
                  <a:lnTo>
                    <a:pt x="609" y="4341"/>
                  </a:lnTo>
                  <a:lnTo>
                    <a:pt x="621" y="4345"/>
                  </a:lnTo>
                  <a:lnTo>
                    <a:pt x="630" y="4350"/>
                  </a:lnTo>
                  <a:lnTo>
                    <a:pt x="639" y="4355"/>
                  </a:lnTo>
                  <a:lnTo>
                    <a:pt x="649" y="4362"/>
                  </a:lnTo>
                  <a:lnTo>
                    <a:pt x="657" y="4369"/>
                  </a:lnTo>
                  <a:lnTo>
                    <a:pt x="663" y="4377"/>
                  </a:lnTo>
                  <a:lnTo>
                    <a:pt x="670" y="4385"/>
                  </a:lnTo>
                  <a:lnTo>
                    <a:pt x="677" y="4394"/>
                  </a:lnTo>
                  <a:lnTo>
                    <a:pt x="682" y="4405"/>
                  </a:lnTo>
                  <a:lnTo>
                    <a:pt x="687" y="4415"/>
                  </a:lnTo>
                  <a:lnTo>
                    <a:pt x="693" y="4427"/>
                  </a:lnTo>
                  <a:lnTo>
                    <a:pt x="698" y="4436"/>
                  </a:lnTo>
                  <a:lnTo>
                    <a:pt x="702" y="4444"/>
                  </a:lnTo>
                  <a:lnTo>
                    <a:pt x="705" y="4454"/>
                  </a:lnTo>
                  <a:lnTo>
                    <a:pt x="707" y="4462"/>
                  </a:lnTo>
                  <a:lnTo>
                    <a:pt x="711" y="4479"/>
                  </a:lnTo>
                  <a:lnTo>
                    <a:pt x="714" y="4496"/>
                  </a:lnTo>
                  <a:lnTo>
                    <a:pt x="715" y="4515"/>
                  </a:lnTo>
                  <a:lnTo>
                    <a:pt x="719" y="4532"/>
                  </a:lnTo>
                  <a:lnTo>
                    <a:pt x="722" y="4542"/>
                  </a:lnTo>
                  <a:lnTo>
                    <a:pt x="725" y="4552"/>
                  </a:lnTo>
                  <a:lnTo>
                    <a:pt x="729" y="4562"/>
                  </a:lnTo>
                  <a:lnTo>
                    <a:pt x="734" y="4571"/>
                  </a:lnTo>
                  <a:lnTo>
                    <a:pt x="738" y="4576"/>
                  </a:lnTo>
                  <a:lnTo>
                    <a:pt x="743" y="4582"/>
                  </a:lnTo>
                  <a:lnTo>
                    <a:pt x="750" y="4584"/>
                  </a:lnTo>
                  <a:lnTo>
                    <a:pt x="757" y="4588"/>
                  </a:lnTo>
                  <a:lnTo>
                    <a:pt x="771" y="4594"/>
                  </a:lnTo>
                  <a:lnTo>
                    <a:pt x="786" y="4599"/>
                  </a:lnTo>
                  <a:lnTo>
                    <a:pt x="794" y="4602"/>
                  </a:lnTo>
                  <a:lnTo>
                    <a:pt x="801" y="4606"/>
                  </a:lnTo>
                  <a:lnTo>
                    <a:pt x="807" y="4610"/>
                  </a:lnTo>
                  <a:lnTo>
                    <a:pt x="813" y="4614"/>
                  </a:lnTo>
                  <a:lnTo>
                    <a:pt x="818" y="4619"/>
                  </a:lnTo>
                  <a:lnTo>
                    <a:pt x="822" y="4627"/>
                  </a:lnTo>
                  <a:lnTo>
                    <a:pt x="823" y="4635"/>
                  </a:lnTo>
                  <a:lnTo>
                    <a:pt x="825" y="4644"/>
                  </a:lnTo>
                  <a:lnTo>
                    <a:pt x="825" y="4672"/>
                  </a:lnTo>
                  <a:lnTo>
                    <a:pt x="825" y="4691"/>
                  </a:lnTo>
                  <a:lnTo>
                    <a:pt x="825" y="4702"/>
                  </a:lnTo>
                  <a:lnTo>
                    <a:pt x="825" y="4710"/>
                  </a:lnTo>
                  <a:lnTo>
                    <a:pt x="826" y="4726"/>
                  </a:lnTo>
                  <a:lnTo>
                    <a:pt x="827" y="4740"/>
                  </a:lnTo>
                  <a:lnTo>
                    <a:pt x="831" y="4754"/>
                  </a:lnTo>
                  <a:lnTo>
                    <a:pt x="835" y="4767"/>
                  </a:lnTo>
                  <a:lnTo>
                    <a:pt x="842" y="4779"/>
                  </a:lnTo>
                  <a:lnTo>
                    <a:pt x="849" y="4791"/>
                  </a:lnTo>
                  <a:lnTo>
                    <a:pt x="857" y="4803"/>
                  </a:lnTo>
                  <a:lnTo>
                    <a:pt x="866" y="4814"/>
                  </a:lnTo>
                  <a:lnTo>
                    <a:pt x="877" y="4823"/>
                  </a:lnTo>
                  <a:lnTo>
                    <a:pt x="889" y="4834"/>
                  </a:lnTo>
                  <a:lnTo>
                    <a:pt x="901" y="4843"/>
                  </a:lnTo>
                  <a:lnTo>
                    <a:pt x="914" y="4851"/>
                  </a:lnTo>
                  <a:lnTo>
                    <a:pt x="943" y="4868"/>
                  </a:lnTo>
                  <a:lnTo>
                    <a:pt x="975" y="4884"/>
                  </a:lnTo>
                  <a:lnTo>
                    <a:pt x="973" y="4902"/>
                  </a:lnTo>
                  <a:lnTo>
                    <a:pt x="969" y="4918"/>
                  </a:lnTo>
                  <a:lnTo>
                    <a:pt x="963" y="4934"/>
                  </a:lnTo>
                  <a:lnTo>
                    <a:pt x="958" y="4948"/>
                  </a:lnTo>
                  <a:lnTo>
                    <a:pt x="953" y="4964"/>
                  </a:lnTo>
                  <a:lnTo>
                    <a:pt x="949" y="4980"/>
                  </a:lnTo>
                  <a:lnTo>
                    <a:pt x="946" y="4998"/>
                  </a:lnTo>
                  <a:lnTo>
                    <a:pt x="945" y="5017"/>
                  </a:lnTo>
                  <a:lnTo>
                    <a:pt x="945" y="5059"/>
                  </a:lnTo>
                  <a:lnTo>
                    <a:pt x="945" y="5096"/>
                  </a:lnTo>
                  <a:lnTo>
                    <a:pt x="945" y="5129"/>
                  </a:lnTo>
                  <a:lnTo>
                    <a:pt x="945" y="5161"/>
                  </a:lnTo>
                  <a:lnTo>
                    <a:pt x="945" y="5192"/>
                  </a:lnTo>
                  <a:lnTo>
                    <a:pt x="945" y="5224"/>
                  </a:lnTo>
                  <a:lnTo>
                    <a:pt x="945" y="5260"/>
                  </a:lnTo>
                  <a:lnTo>
                    <a:pt x="945" y="5300"/>
                  </a:lnTo>
                  <a:lnTo>
                    <a:pt x="946" y="5316"/>
                  </a:lnTo>
                  <a:lnTo>
                    <a:pt x="946" y="5333"/>
                  </a:lnTo>
                  <a:lnTo>
                    <a:pt x="947" y="5341"/>
                  </a:lnTo>
                  <a:lnTo>
                    <a:pt x="949" y="5349"/>
                  </a:lnTo>
                  <a:lnTo>
                    <a:pt x="951" y="5357"/>
                  </a:lnTo>
                  <a:lnTo>
                    <a:pt x="954" y="5364"/>
                  </a:lnTo>
                  <a:lnTo>
                    <a:pt x="958" y="5371"/>
                  </a:lnTo>
                  <a:lnTo>
                    <a:pt x="963" y="5377"/>
                  </a:lnTo>
                  <a:lnTo>
                    <a:pt x="969" y="5383"/>
                  </a:lnTo>
                  <a:lnTo>
                    <a:pt x="975" y="5388"/>
                  </a:lnTo>
                  <a:lnTo>
                    <a:pt x="985" y="5391"/>
                  </a:lnTo>
                  <a:lnTo>
                    <a:pt x="994" y="5395"/>
                  </a:lnTo>
                  <a:lnTo>
                    <a:pt x="1005" y="5396"/>
                  </a:lnTo>
                  <a:lnTo>
                    <a:pt x="1018" y="5396"/>
                  </a:lnTo>
                  <a:lnTo>
                    <a:pt x="1029" y="5396"/>
                  </a:lnTo>
                  <a:lnTo>
                    <a:pt x="1041" y="5395"/>
                  </a:lnTo>
                  <a:lnTo>
                    <a:pt x="1051" y="5392"/>
                  </a:lnTo>
                  <a:lnTo>
                    <a:pt x="1061" y="5389"/>
                  </a:lnTo>
                  <a:lnTo>
                    <a:pt x="1071" y="5385"/>
                  </a:lnTo>
                  <a:lnTo>
                    <a:pt x="1081" y="5380"/>
                  </a:lnTo>
                  <a:lnTo>
                    <a:pt x="1089" y="5375"/>
                  </a:lnTo>
                  <a:lnTo>
                    <a:pt x="1098" y="5369"/>
                  </a:lnTo>
                  <a:lnTo>
                    <a:pt x="1114" y="5356"/>
                  </a:lnTo>
                  <a:lnTo>
                    <a:pt x="1130" y="5341"/>
                  </a:lnTo>
                  <a:lnTo>
                    <a:pt x="1145" y="5325"/>
                  </a:lnTo>
                  <a:lnTo>
                    <a:pt x="1159" y="5309"/>
                  </a:lnTo>
                  <a:lnTo>
                    <a:pt x="1172" y="5293"/>
                  </a:lnTo>
                  <a:lnTo>
                    <a:pt x="1187" y="5277"/>
                  </a:lnTo>
                  <a:lnTo>
                    <a:pt x="1200" y="5263"/>
                  </a:lnTo>
                  <a:lnTo>
                    <a:pt x="1215" y="5249"/>
                  </a:lnTo>
                  <a:lnTo>
                    <a:pt x="1231" y="5237"/>
                  </a:lnTo>
                  <a:lnTo>
                    <a:pt x="1247" y="5229"/>
                  </a:lnTo>
                  <a:lnTo>
                    <a:pt x="1255" y="5227"/>
                  </a:lnTo>
                  <a:lnTo>
                    <a:pt x="1264" y="5224"/>
                  </a:lnTo>
                  <a:lnTo>
                    <a:pt x="1272" y="5223"/>
                  </a:lnTo>
                  <a:lnTo>
                    <a:pt x="1282" y="5221"/>
                  </a:lnTo>
                  <a:lnTo>
                    <a:pt x="1288" y="5223"/>
                  </a:lnTo>
                  <a:lnTo>
                    <a:pt x="1292" y="5224"/>
                  </a:lnTo>
                  <a:lnTo>
                    <a:pt x="1298" y="5228"/>
                  </a:lnTo>
                  <a:lnTo>
                    <a:pt x="1303" y="5232"/>
                  </a:lnTo>
                  <a:lnTo>
                    <a:pt x="1312" y="5243"/>
                  </a:lnTo>
                  <a:lnTo>
                    <a:pt x="1322" y="5255"/>
                  </a:lnTo>
                  <a:lnTo>
                    <a:pt x="1332" y="5267"/>
                  </a:lnTo>
                  <a:lnTo>
                    <a:pt x="1344" y="5277"/>
                  </a:lnTo>
                  <a:lnTo>
                    <a:pt x="1352" y="5281"/>
                  </a:lnTo>
                  <a:lnTo>
                    <a:pt x="1360" y="5285"/>
                  </a:lnTo>
                  <a:lnTo>
                    <a:pt x="1368" y="5287"/>
                  </a:lnTo>
                  <a:lnTo>
                    <a:pt x="1379" y="5288"/>
                  </a:lnTo>
                  <a:lnTo>
                    <a:pt x="1382" y="5273"/>
                  </a:lnTo>
                  <a:lnTo>
                    <a:pt x="1386" y="5259"/>
                  </a:lnTo>
                  <a:lnTo>
                    <a:pt x="1391" y="5244"/>
                  </a:lnTo>
                  <a:lnTo>
                    <a:pt x="1398" y="5231"/>
                  </a:lnTo>
                  <a:lnTo>
                    <a:pt x="1414" y="5207"/>
                  </a:lnTo>
                  <a:lnTo>
                    <a:pt x="1431" y="5181"/>
                  </a:lnTo>
                  <a:lnTo>
                    <a:pt x="1450" y="5157"/>
                  </a:lnTo>
                  <a:lnTo>
                    <a:pt x="1467" y="5131"/>
                  </a:lnTo>
                  <a:lnTo>
                    <a:pt x="1475" y="5117"/>
                  </a:lnTo>
                  <a:lnTo>
                    <a:pt x="1482" y="5103"/>
                  </a:lnTo>
                  <a:lnTo>
                    <a:pt x="1488" y="5088"/>
                  </a:lnTo>
                  <a:lnTo>
                    <a:pt x="1494" y="5071"/>
                  </a:lnTo>
                  <a:lnTo>
                    <a:pt x="1500" y="5041"/>
                  </a:lnTo>
                  <a:lnTo>
                    <a:pt x="1506" y="5013"/>
                  </a:lnTo>
                  <a:lnTo>
                    <a:pt x="1508" y="4987"/>
                  </a:lnTo>
                  <a:lnTo>
                    <a:pt x="1512" y="4963"/>
                  </a:lnTo>
                  <a:lnTo>
                    <a:pt x="1515" y="4939"/>
                  </a:lnTo>
                  <a:lnTo>
                    <a:pt x="1518" y="4918"/>
                  </a:lnTo>
                  <a:lnTo>
                    <a:pt x="1522" y="4899"/>
                  </a:lnTo>
                  <a:lnTo>
                    <a:pt x="1527" y="4880"/>
                  </a:lnTo>
                  <a:lnTo>
                    <a:pt x="1530" y="4872"/>
                  </a:lnTo>
                  <a:lnTo>
                    <a:pt x="1534" y="4866"/>
                  </a:lnTo>
                  <a:lnTo>
                    <a:pt x="1538" y="4858"/>
                  </a:lnTo>
                  <a:lnTo>
                    <a:pt x="1543" y="4851"/>
                  </a:lnTo>
                  <a:lnTo>
                    <a:pt x="1548" y="4846"/>
                  </a:lnTo>
                  <a:lnTo>
                    <a:pt x="1555" y="4840"/>
                  </a:lnTo>
                  <a:lnTo>
                    <a:pt x="1562" y="4835"/>
                  </a:lnTo>
                  <a:lnTo>
                    <a:pt x="1570" y="4830"/>
                  </a:lnTo>
                  <a:lnTo>
                    <a:pt x="1579" y="4826"/>
                  </a:lnTo>
                  <a:lnTo>
                    <a:pt x="1590" y="4823"/>
                  </a:lnTo>
                  <a:lnTo>
                    <a:pt x="1600" y="4819"/>
                  </a:lnTo>
                  <a:lnTo>
                    <a:pt x="1612" y="4816"/>
                  </a:lnTo>
                  <a:lnTo>
                    <a:pt x="1640" y="4814"/>
                  </a:lnTo>
                  <a:lnTo>
                    <a:pt x="1674" y="4812"/>
                  </a:lnTo>
                  <a:lnTo>
                    <a:pt x="1686" y="4812"/>
                  </a:lnTo>
                  <a:lnTo>
                    <a:pt x="1696" y="4814"/>
                  </a:lnTo>
                  <a:lnTo>
                    <a:pt x="1707" y="4816"/>
                  </a:lnTo>
                  <a:lnTo>
                    <a:pt x="1716" y="4819"/>
                  </a:lnTo>
                  <a:lnTo>
                    <a:pt x="1724" y="4823"/>
                  </a:lnTo>
                  <a:lnTo>
                    <a:pt x="1732" y="4827"/>
                  </a:lnTo>
                  <a:lnTo>
                    <a:pt x="1740" y="4832"/>
                  </a:lnTo>
                  <a:lnTo>
                    <a:pt x="1747" y="4838"/>
                  </a:lnTo>
                  <a:lnTo>
                    <a:pt x="1759" y="4850"/>
                  </a:lnTo>
                  <a:lnTo>
                    <a:pt x="1768" y="4864"/>
                  </a:lnTo>
                  <a:lnTo>
                    <a:pt x="1778" y="4879"/>
                  </a:lnTo>
                  <a:lnTo>
                    <a:pt x="1786" y="4894"/>
                  </a:lnTo>
                  <a:lnTo>
                    <a:pt x="1794" y="4908"/>
                  </a:lnTo>
                  <a:lnTo>
                    <a:pt x="1803" y="4923"/>
                  </a:lnTo>
                  <a:lnTo>
                    <a:pt x="1812" y="4938"/>
                  </a:lnTo>
                  <a:lnTo>
                    <a:pt x="1822" y="4950"/>
                  </a:lnTo>
                  <a:lnTo>
                    <a:pt x="1828" y="4955"/>
                  </a:lnTo>
                  <a:lnTo>
                    <a:pt x="1834" y="4960"/>
                  </a:lnTo>
                  <a:lnTo>
                    <a:pt x="1840" y="4964"/>
                  </a:lnTo>
                  <a:lnTo>
                    <a:pt x="1848" y="4968"/>
                  </a:lnTo>
                  <a:lnTo>
                    <a:pt x="1856" y="4971"/>
                  </a:lnTo>
                  <a:lnTo>
                    <a:pt x="1864" y="4974"/>
                  </a:lnTo>
                  <a:lnTo>
                    <a:pt x="1875" y="4975"/>
                  </a:lnTo>
                  <a:lnTo>
                    <a:pt x="1884" y="4975"/>
                  </a:lnTo>
                  <a:lnTo>
                    <a:pt x="1899" y="4974"/>
                  </a:lnTo>
                  <a:lnTo>
                    <a:pt x="1910" y="4972"/>
                  </a:lnTo>
                  <a:lnTo>
                    <a:pt x="1919" y="4967"/>
                  </a:lnTo>
                  <a:lnTo>
                    <a:pt x="1925" y="4962"/>
                  </a:lnTo>
                  <a:lnTo>
                    <a:pt x="1929" y="4954"/>
                  </a:lnTo>
                  <a:lnTo>
                    <a:pt x="1933" y="4944"/>
                  </a:lnTo>
                  <a:lnTo>
                    <a:pt x="1936" y="4934"/>
                  </a:lnTo>
                  <a:lnTo>
                    <a:pt x="1939" y="4920"/>
                  </a:lnTo>
                  <a:lnTo>
                    <a:pt x="1999" y="4920"/>
                  </a:lnTo>
                  <a:lnTo>
                    <a:pt x="2007" y="4927"/>
                  </a:lnTo>
                  <a:lnTo>
                    <a:pt x="2012" y="4932"/>
                  </a:lnTo>
                  <a:lnTo>
                    <a:pt x="2017" y="4939"/>
                  </a:lnTo>
                  <a:lnTo>
                    <a:pt x="2023" y="4944"/>
                  </a:lnTo>
                  <a:lnTo>
                    <a:pt x="2029" y="4958"/>
                  </a:lnTo>
                  <a:lnTo>
                    <a:pt x="2035" y="4972"/>
                  </a:lnTo>
                  <a:lnTo>
                    <a:pt x="2043" y="5004"/>
                  </a:lnTo>
                  <a:lnTo>
                    <a:pt x="2053" y="5041"/>
                  </a:lnTo>
                  <a:lnTo>
                    <a:pt x="2057" y="5049"/>
                  </a:lnTo>
                  <a:lnTo>
                    <a:pt x="2063" y="5056"/>
                  </a:lnTo>
                  <a:lnTo>
                    <a:pt x="2069" y="5064"/>
                  </a:lnTo>
                  <a:lnTo>
                    <a:pt x="2076" y="5072"/>
                  </a:lnTo>
                  <a:lnTo>
                    <a:pt x="2093" y="5085"/>
                  </a:lnTo>
                  <a:lnTo>
                    <a:pt x="2112" y="5100"/>
                  </a:lnTo>
                  <a:lnTo>
                    <a:pt x="2131" y="5113"/>
                  </a:lnTo>
                  <a:lnTo>
                    <a:pt x="2149" y="5125"/>
                  </a:lnTo>
                  <a:lnTo>
                    <a:pt x="2167" y="5137"/>
                  </a:lnTo>
                  <a:lnTo>
                    <a:pt x="2180" y="5149"/>
                  </a:lnTo>
                  <a:lnTo>
                    <a:pt x="2188" y="5157"/>
                  </a:lnTo>
                  <a:lnTo>
                    <a:pt x="2196" y="5167"/>
                  </a:lnTo>
                  <a:lnTo>
                    <a:pt x="2204" y="5176"/>
                  </a:lnTo>
                  <a:lnTo>
                    <a:pt x="2211" y="5185"/>
                  </a:lnTo>
                  <a:lnTo>
                    <a:pt x="2224" y="5205"/>
                  </a:lnTo>
                  <a:lnTo>
                    <a:pt x="2236" y="5228"/>
                  </a:lnTo>
                  <a:lnTo>
                    <a:pt x="2259" y="5272"/>
                  </a:lnTo>
                  <a:lnTo>
                    <a:pt x="2280" y="5316"/>
                  </a:lnTo>
                  <a:lnTo>
                    <a:pt x="2293" y="5337"/>
                  </a:lnTo>
                  <a:lnTo>
                    <a:pt x="2307" y="5357"/>
                  </a:lnTo>
                  <a:lnTo>
                    <a:pt x="2315" y="5367"/>
                  </a:lnTo>
                  <a:lnTo>
                    <a:pt x="2323" y="5375"/>
                  </a:lnTo>
                  <a:lnTo>
                    <a:pt x="2331" y="5383"/>
                  </a:lnTo>
                  <a:lnTo>
                    <a:pt x="2340" y="5391"/>
                  </a:lnTo>
                  <a:lnTo>
                    <a:pt x="2351" y="5397"/>
                  </a:lnTo>
                  <a:lnTo>
                    <a:pt x="2361" y="5403"/>
                  </a:lnTo>
                  <a:lnTo>
                    <a:pt x="2373" y="5408"/>
                  </a:lnTo>
                  <a:lnTo>
                    <a:pt x="2385" y="5412"/>
                  </a:lnTo>
                  <a:lnTo>
                    <a:pt x="2399" y="5416"/>
                  </a:lnTo>
                  <a:lnTo>
                    <a:pt x="2413" y="5419"/>
                  </a:lnTo>
                  <a:lnTo>
                    <a:pt x="2428" y="5420"/>
                  </a:lnTo>
                  <a:lnTo>
                    <a:pt x="2444" y="5420"/>
                  </a:lnTo>
                  <a:lnTo>
                    <a:pt x="2455" y="5407"/>
                  </a:lnTo>
                  <a:lnTo>
                    <a:pt x="2465" y="5393"/>
                  </a:lnTo>
                  <a:lnTo>
                    <a:pt x="2477" y="5380"/>
                  </a:lnTo>
                  <a:lnTo>
                    <a:pt x="2492" y="5368"/>
                  </a:lnTo>
                  <a:lnTo>
                    <a:pt x="2500" y="5363"/>
                  </a:lnTo>
                  <a:lnTo>
                    <a:pt x="2508" y="5357"/>
                  </a:lnTo>
                  <a:lnTo>
                    <a:pt x="2517" y="5353"/>
                  </a:lnTo>
                  <a:lnTo>
                    <a:pt x="2527" y="5349"/>
                  </a:lnTo>
                  <a:lnTo>
                    <a:pt x="2537" y="5347"/>
                  </a:lnTo>
                  <a:lnTo>
                    <a:pt x="2548" y="5344"/>
                  </a:lnTo>
                  <a:lnTo>
                    <a:pt x="2559" y="5343"/>
                  </a:lnTo>
                  <a:lnTo>
                    <a:pt x="2571" y="5343"/>
                  </a:lnTo>
                  <a:lnTo>
                    <a:pt x="2615" y="5343"/>
                  </a:lnTo>
                  <a:lnTo>
                    <a:pt x="2649" y="5343"/>
                  </a:lnTo>
                  <a:lnTo>
                    <a:pt x="2676" y="5343"/>
                  </a:lnTo>
                  <a:lnTo>
                    <a:pt x="2700" y="5343"/>
                  </a:lnTo>
                  <a:lnTo>
                    <a:pt x="2721" y="5343"/>
                  </a:lnTo>
                  <a:lnTo>
                    <a:pt x="2745" y="5343"/>
                  </a:lnTo>
                  <a:lnTo>
                    <a:pt x="2772" y="5343"/>
                  </a:lnTo>
                  <a:lnTo>
                    <a:pt x="2806" y="5343"/>
                  </a:lnTo>
                  <a:lnTo>
                    <a:pt x="2821" y="5341"/>
                  </a:lnTo>
                  <a:lnTo>
                    <a:pt x="2837" y="5337"/>
                  </a:lnTo>
                  <a:lnTo>
                    <a:pt x="2852" y="5333"/>
                  </a:lnTo>
                  <a:lnTo>
                    <a:pt x="2868" y="5327"/>
                  </a:lnTo>
                  <a:lnTo>
                    <a:pt x="2884" y="5321"/>
                  </a:lnTo>
                  <a:lnTo>
                    <a:pt x="2901" y="5317"/>
                  </a:lnTo>
                  <a:lnTo>
                    <a:pt x="2918" y="5313"/>
                  </a:lnTo>
                  <a:lnTo>
                    <a:pt x="2938" y="5312"/>
                  </a:lnTo>
                  <a:lnTo>
                    <a:pt x="2949" y="5313"/>
                  </a:lnTo>
                  <a:lnTo>
                    <a:pt x="2960" y="5315"/>
                  </a:lnTo>
                  <a:lnTo>
                    <a:pt x="2968" y="5319"/>
                  </a:lnTo>
                  <a:lnTo>
                    <a:pt x="2977" y="5323"/>
                  </a:lnTo>
                  <a:lnTo>
                    <a:pt x="2993" y="5333"/>
                  </a:lnTo>
                  <a:lnTo>
                    <a:pt x="3009" y="5345"/>
                  </a:lnTo>
                  <a:lnTo>
                    <a:pt x="3025" y="5357"/>
                  </a:lnTo>
                  <a:lnTo>
                    <a:pt x="3044" y="5368"/>
                  </a:lnTo>
                  <a:lnTo>
                    <a:pt x="3053" y="5372"/>
                  </a:lnTo>
                  <a:lnTo>
                    <a:pt x="3064" y="5376"/>
                  </a:lnTo>
                  <a:lnTo>
                    <a:pt x="3076" y="5377"/>
                  </a:lnTo>
                  <a:lnTo>
                    <a:pt x="3089" y="5379"/>
                  </a:lnTo>
                  <a:lnTo>
                    <a:pt x="3104" y="5377"/>
                  </a:lnTo>
                  <a:lnTo>
                    <a:pt x="3117" y="5376"/>
                  </a:lnTo>
                  <a:lnTo>
                    <a:pt x="3129" y="5373"/>
                  </a:lnTo>
                  <a:lnTo>
                    <a:pt x="3142" y="5369"/>
                  </a:lnTo>
                  <a:lnTo>
                    <a:pt x="3166" y="5361"/>
                  </a:lnTo>
                  <a:lnTo>
                    <a:pt x="3190" y="5351"/>
                  </a:lnTo>
                  <a:lnTo>
                    <a:pt x="3214" y="5341"/>
                  </a:lnTo>
                  <a:lnTo>
                    <a:pt x="3240" y="5332"/>
                  </a:lnTo>
                  <a:lnTo>
                    <a:pt x="3253" y="5329"/>
                  </a:lnTo>
                  <a:lnTo>
                    <a:pt x="3268" y="5327"/>
                  </a:lnTo>
                  <a:lnTo>
                    <a:pt x="3284" y="5325"/>
                  </a:lnTo>
                  <a:lnTo>
                    <a:pt x="3300" y="5324"/>
                  </a:lnTo>
                  <a:lnTo>
                    <a:pt x="3314" y="5324"/>
                  </a:lnTo>
                  <a:lnTo>
                    <a:pt x="3329" y="5321"/>
                  </a:lnTo>
                  <a:lnTo>
                    <a:pt x="3342" y="5317"/>
                  </a:lnTo>
                  <a:lnTo>
                    <a:pt x="3356" y="5313"/>
                  </a:lnTo>
                  <a:lnTo>
                    <a:pt x="3368" y="5308"/>
                  </a:lnTo>
                  <a:lnTo>
                    <a:pt x="3378" y="5301"/>
                  </a:lnTo>
                  <a:lnTo>
                    <a:pt x="3390" y="5293"/>
                  </a:lnTo>
                  <a:lnTo>
                    <a:pt x="3400" y="5285"/>
                  </a:lnTo>
                  <a:lnTo>
                    <a:pt x="3436" y="5251"/>
                  </a:lnTo>
                  <a:lnTo>
                    <a:pt x="3469" y="5216"/>
                  </a:lnTo>
                  <a:lnTo>
                    <a:pt x="3474" y="5211"/>
                  </a:lnTo>
                  <a:lnTo>
                    <a:pt x="3481" y="5207"/>
                  </a:lnTo>
                  <a:lnTo>
                    <a:pt x="3489" y="5203"/>
                  </a:lnTo>
                  <a:lnTo>
                    <a:pt x="3497" y="5200"/>
                  </a:lnTo>
                  <a:lnTo>
                    <a:pt x="3515" y="5195"/>
                  </a:lnTo>
                  <a:lnTo>
                    <a:pt x="3535" y="5192"/>
                  </a:lnTo>
                  <a:lnTo>
                    <a:pt x="3555" y="5188"/>
                  </a:lnTo>
                  <a:lnTo>
                    <a:pt x="3574" y="5184"/>
                  </a:lnTo>
                  <a:lnTo>
                    <a:pt x="3583" y="5180"/>
                  </a:lnTo>
                  <a:lnTo>
                    <a:pt x="3591" y="5177"/>
                  </a:lnTo>
                  <a:lnTo>
                    <a:pt x="3599" y="5173"/>
                  </a:lnTo>
                  <a:lnTo>
                    <a:pt x="3606" y="5168"/>
                  </a:lnTo>
                  <a:lnTo>
                    <a:pt x="3625" y="5155"/>
                  </a:lnTo>
                  <a:lnTo>
                    <a:pt x="3641" y="5141"/>
                  </a:lnTo>
                  <a:lnTo>
                    <a:pt x="3655" y="5128"/>
                  </a:lnTo>
                  <a:lnTo>
                    <a:pt x="3670" y="5113"/>
                  </a:lnTo>
                  <a:lnTo>
                    <a:pt x="3694" y="5085"/>
                  </a:lnTo>
                  <a:lnTo>
                    <a:pt x="3717" y="5056"/>
                  </a:lnTo>
                  <a:lnTo>
                    <a:pt x="3727" y="5043"/>
                  </a:lnTo>
                  <a:lnTo>
                    <a:pt x="3739" y="5028"/>
                  </a:lnTo>
                  <a:lnTo>
                    <a:pt x="3753" y="5016"/>
                  </a:lnTo>
                  <a:lnTo>
                    <a:pt x="3766" y="5003"/>
                  </a:lnTo>
                  <a:lnTo>
                    <a:pt x="3781" y="4992"/>
                  </a:lnTo>
                  <a:lnTo>
                    <a:pt x="3797" y="4982"/>
                  </a:lnTo>
                  <a:lnTo>
                    <a:pt x="3815" y="4971"/>
                  </a:lnTo>
                  <a:lnTo>
                    <a:pt x="3835" y="4963"/>
                  </a:lnTo>
                  <a:lnTo>
                    <a:pt x="3831" y="4930"/>
                  </a:lnTo>
                  <a:lnTo>
                    <a:pt x="3827" y="4896"/>
                  </a:lnTo>
                  <a:lnTo>
                    <a:pt x="3825" y="4864"/>
                  </a:lnTo>
                  <a:lnTo>
                    <a:pt x="3822" y="4834"/>
                  </a:lnTo>
                  <a:lnTo>
                    <a:pt x="3819" y="4803"/>
                  </a:lnTo>
                  <a:lnTo>
                    <a:pt x="3818" y="4775"/>
                  </a:lnTo>
                  <a:lnTo>
                    <a:pt x="3818" y="4748"/>
                  </a:lnTo>
                  <a:lnTo>
                    <a:pt x="3818" y="4722"/>
                  </a:lnTo>
                  <a:lnTo>
                    <a:pt x="3817" y="4715"/>
                  </a:lnTo>
                  <a:lnTo>
                    <a:pt x="3815" y="4707"/>
                  </a:lnTo>
                  <a:lnTo>
                    <a:pt x="3814" y="4702"/>
                  </a:lnTo>
                  <a:lnTo>
                    <a:pt x="3811" y="4695"/>
                  </a:lnTo>
                  <a:lnTo>
                    <a:pt x="3807" y="4690"/>
                  </a:lnTo>
                  <a:lnTo>
                    <a:pt x="3805" y="4686"/>
                  </a:lnTo>
                  <a:lnTo>
                    <a:pt x="3799" y="4682"/>
                  </a:lnTo>
                  <a:lnTo>
                    <a:pt x="3795" y="4678"/>
                  </a:lnTo>
                  <a:lnTo>
                    <a:pt x="3783" y="4671"/>
                  </a:lnTo>
                  <a:lnTo>
                    <a:pt x="3771" y="4666"/>
                  </a:lnTo>
                  <a:lnTo>
                    <a:pt x="3758" y="4660"/>
                  </a:lnTo>
                  <a:lnTo>
                    <a:pt x="3745" y="4656"/>
                  </a:lnTo>
                  <a:lnTo>
                    <a:pt x="3718" y="4650"/>
                  </a:lnTo>
                  <a:lnTo>
                    <a:pt x="3695" y="4642"/>
                  </a:lnTo>
                  <a:lnTo>
                    <a:pt x="3686" y="4636"/>
                  </a:lnTo>
                  <a:lnTo>
                    <a:pt x="3679" y="4631"/>
                  </a:lnTo>
                  <a:lnTo>
                    <a:pt x="3677" y="4627"/>
                  </a:lnTo>
                  <a:lnTo>
                    <a:pt x="3674" y="4623"/>
                  </a:lnTo>
                  <a:lnTo>
                    <a:pt x="3673" y="4619"/>
                  </a:lnTo>
                  <a:lnTo>
                    <a:pt x="3673" y="4614"/>
                  </a:lnTo>
                  <a:lnTo>
                    <a:pt x="3674" y="4606"/>
                  </a:lnTo>
                  <a:lnTo>
                    <a:pt x="3675" y="4598"/>
                  </a:lnTo>
                  <a:lnTo>
                    <a:pt x="3679" y="4591"/>
                  </a:lnTo>
                  <a:lnTo>
                    <a:pt x="3683" y="4584"/>
                  </a:lnTo>
                  <a:lnTo>
                    <a:pt x="3693" y="4572"/>
                  </a:lnTo>
                  <a:lnTo>
                    <a:pt x="3703" y="4559"/>
                  </a:lnTo>
                  <a:lnTo>
                    <a:pt x="3703" y="4470"/>
                  </a:lnTo>
                  <a:lnTo>
                    <a:pt x="3658" y="4462"/>
                  </a:lnTo>
                  <a:lnTo>
                    <a:pt x="3626" y="4455"/>
                  </a:lnTo>
                  <a:lnTo>
                    <a:pt x="3613" y="4450"/>
                  </a:lnTo>
                  <a:lnTo>
                    <a:pt x="3601" y="4442"/>
                  </a:lnTo>
                  <a:lnTo>
                    <a:pt x="3589" y="4431"/>
                  </a:lnTo>
                  <a:lnTo>
                    <a:pt x="3577" y="4415"/>
                  </a:lnTo>
                  <a:lnTo>
                    <a:pt x="3594" y="4402"/>
                  </a:lnTo>
                  <a:lnTo>
                    <a:pt x="3614" y="4386"/>
                  </a:lnTo>
                  <a:lnTo>
                    <a:pt x="3622" y="4377"/>
                  </a:lnTo>
                  <a:lnTo>
                    <a:pt x="3630" y="4367"/>
                  </a:lnTo>
                  <a:lnTo>
                    <a:pt x="3633" y="4362"/>
                  </a:lnTo>
                  <a:lnTo>
                    <a:pt x="3635" y="4355"/>
                  </a:lnTo>
                  <a:lnTo>
                    <a:pt x="3637" y="4350"/>
                  </a:lnTo>
                  <a:lnTo>
                    <a:pt x="3637" y="4343"/>
                  </a:lnTo>
                  <a:lnTo>
                    <a:pt x="3635" y="4321"/>
                  </a:lnTo>
                  <a:lnTo>
                    <a:pt x="3631" y="4299"/>
                  </a:lnTo>
                  <a:lnTo>
                    <a:pt x="3627" y="4278"/>
                  </a:lnTo>
                  <a:lnTo>
                    <a:pt x="3622" y="4258"/>
                  </a:lnTo>
                  <a:lnTo>
                    <a:pt x="3617" y="4237"/>
                  </a:lnTo>
                  <a:lnTo>
                    <a:pt x="3611" y="4215"/>
                  </a:lnTo>
                  <a:lnTo>
                    <a:pt x="3607" y="4193"/>
                  </a:lnTo>
                  <a:lnTo>
                    <a:pt x="3606" y="4169"/>
                  </a:lnTo>
                  <a:lnTo>
                    <a:pt x="3607" y="4149"/>
                  </a:lnTo>
                  <a:lnTo>
                    <a:pt x="3609" y="4131"/>
                  </a:lnTo>
                  <a:lnTo>
                    <a:pt x="3611" y="4115"/>
                  </a:lnTo>
                  <a:lnTo>
                    <a:pt x="3615" y="4101"/>
                  </a:lnTo>
                  <a:lnTo>
                    <a:pt x="3619" y="4087"/>
                  </a:lnTo>
                  <a:lnTo>
                    <a:pt x="3625" y="4075"/>
                  </a:lnTo>
                  <a:lnTo>
                    <a:pt x="3631" y="4063"/>
                  </a:lnTo>
                  <a:lnTo>
                    <a:pt x="3638" y="4054"/>
                  </a:lnTo>
                  <a:lnTo>
                    <a:pt x="3645" y="4045"/>
                  </a:lnTo>
                  <a:lnTo>
                    <a:pt x="3653" y="4037"/>
                  </a:lnTo>
                  <a:lnTo>
                    <a:pt x="3661" y="4030"/>
                  </a:lnTo>
                  <a:lnTo>
                    <a:pt x="3670" y="4023"/>
                  </a:lnTo>
                  <a:lnTo>
                    <a:pt x="3687" y="4011"/>
                  </a:lnTo>
                  <a:lnTo>
                    <a:pt x="3706" y="4001"/>
                  </a:lnTo>
                  <a:lnTo>
                    <a:pt x="3725" y="3991"/>
                  </a:lnTo>
                  <a:lnTo>
                    <a:pt x="3742" y="3981"/>
                  </a:lnTo>
                  <a:lnTo>
                    <a:pt x="3751" y="3975"/>
                  </a:lnTo>
                  <a:lnTo>
                    <a:pt x="3759" y="3969"/>
                  </a:lnTo>
                  <a:lnTo>
                    <a:pt x="3767" y="3962"/>
                  </a:lnTo>
                  <a:lnTo>
                    <a:pt x="3774" y="3955"/>
                  </a:lnTo>
                  <a:lnTo>
                    <a:pt x="3781" y="3947"/>
                  </a:lnTo>
                  <a:lnTo>
                    <a:pt x="3787" y="3938"/>
                  </a:lnTo>
                  <a:lnTo>
                    <a:pt x="3793" y="3929"/>
                  </a:lnTo>
                  <a:lnTo>
                    <a:pt x="3797" y="3917"/>
                  </a:lnTo>
                  <a:lnTo>
                    <a:pt x="3801" y="3905"/>
                  </a:lnTo>
                  <a:lnTo>
                    <a:pt x="3803" y="3891"/>
                  </a:lnTo>
                  <a:lnTo>
                    <a:pt x="3805" y="3877"/>
                  </a:lnTo>
                  <a:lnTo>
                    <a:pt x="3806" y="3861"/>
                  </a:lnTo>
                  <a:lnTo>
                    <a:pt x="3806" y="3850"/>
                  </a:lnTo>
                  <a:lnTo>
                    <a:pt x="3809" y="3841"/>
                  </a:lnTo>
                  <a:lnTo>
                    <a:pt x="3811" y="3833"/>
                  </a:lnTo>
                  <a:lnTo>
                    <a:pt x="3817" y="3828"/>
                  </a:lnTo>
                  <a:lnTo>
                    <a:pt x="3822" y="3824"/>
                  </a:lnTo>
                  <a:lnTo>
                    <a:pt x="3829" y="3820"/>
                  </a:lnTo>
                  <a:lnTo>
                    <a:pt x="3835" y="3817"/>
                  </a:lnTo>
                  <a:lnTo>
                    <a:pt x="3843" y="3816"/>
                  </a:lnTo>
                  <a:lnTo>
                    <a:pt x="3861" y="3814"/>
                  </a:lnTo>
                  <a:lnTo>
                    <a:pt x="3879" y="3814"/>
                  </a:lnTo>
                  <a:lnTo>
                    <a:pt x="3889" y="3813"/>
                  </a:lnTo>
                  <a:lnTo>
                    <a:pt x="3897" y="3812"/>
                  </a:lnTo>
                  <a:lnTo>
                    <a:pt x="3906" y="3810"/>
                  </a:lnTo>
                  <a:lnTo>
                    <a:pt x="3914" y="3808"/>
                  </a:lnTo>
                  <a:lnTo>
                    <a:pt x="3925" y="3802"/>
                  </a:lnTo>
                  <a:lnTo>
                    <a:pt x="3935" y="3796"/>
                  </a:lnTo>
                  <a:lnTo>
                    <a:pt x="3943" y="3789"/>
                  </a:lnTo>
                  <a:lnTo>
                    <a:pt x="3950" y="3782"/>
                  </a:lnTo>
                  <a:lnTo>
                    <a:pt x="3955" y="3773"/>
                  </a:lnTo>
                  <a:lnTo>
                    <a:pt x="3961" y="3765"/>
                  </a:lnTo>
                  <a:lnTo>
                    <a:pt x="3963" y="3756"/>
                  </a:lnTo>
                  <a:lnTo>
                    <a:pt x="3966" y="3745"/>
                  </a:lnTo>
                  <a:lnTo>
                    <a:pt x="3969" y="3724"/>
                  </a:lnTo>
                  <a:lnTo>
                    <a:pt x="3969" y="3702"/>
                  </a:lnTo>
                  <a:lnTo>
                    <a:pt x="3969" y="3680"/>
                  </a:lnTo>
                  <a:lnTo>
                    <a:pt x="3969" y="3657"/>
                  </a:lnTo>
                  <a:lnTo>
                    <a:pt x="3969" y="3652"/>
                  </a:lnTo>
                  <a:lnTo>
                    <a:pt x="3970" y="3646"/>
                  </a:lnTo>
                  <a:lnTo>
                    <a:pt x="3971" y="3642"/>
                  </a:lnTo>
                  <a:lnTo>
                    <a:pt x="3974" y="3638"/>
                  </a:lnTo>
                  <a:lnTo>
                    <a:pt x="3982" y="3633"/>
                  </a:lnTo>
                  <a:lnTo>
                    <a:pt x="3989" y="3628"/>
                  </a:lnTo>
                  <a:lnTo>
                    <a:pt x="3997" y="3622"/>
                  </a:lnTo>
                  <a:lnTo>
                    <a:pt x="4003" y="3617"/>
                  </a:lnTo>
                  <a:lnTo>
                    <a:pt x="4006" y="3613"/>
                  </a:lnTo>
                  <a:lnTo>
                    <a:pt x="4009" y="3610"/>
                  </a:lnTo>
                  <a:lnTo>
                    <a:pt x="4010" y="3606"/>
                  </a:lnTo>
                  <a:lnTo>
                    <a:pt x="4010" y="3602"/>
                  </a:lnTo>
                  <a:lnTo>
                    <a:pt x="4010" y="3589"/>
                  </a:lnTo>
                  <a:lnTo>
                    <a:pt x="4009" y="3577"/>
                  </a:lnTo>
                  <a:lnTo>
                    <a:pt x="4006" y="3565"/>
                  </a:lnTo>
                  <a:lnTo>
                    <a:pt x="4002" y="3553"/>
                  </a:lnTo>
                  <a:lnTo>
                    <a:pt x="3998" y="3542"/>
                  </a:lnTo>
                  <a:lnTo>
                    <a:pt x="3993" y="3533"/>
                  </a:lnTo>
                  <a:lnTo>
                    <a:pt x="3986" y="3522"/>
                  </a:lnTo>
                  <a:lnTo>
                    <a:pt x="3981" y="3514"/>
                  </a:lnTo>
                  <a:lnTo>
                    <a:pt x="3966" y="3496"/>
                  </a:lnTo>
                  <a:lnTo>
                    <a:pt x="3949" y="3480"/>
                  </a:lnTo>
                  <a:lnTo>
                    <a:pt x="3931" y="3465"/>
                  </a:lnTo>
                  <a:lnTo>
                    <a:pt x="3914" y="3449"/>
                  </a:lnTo>
                  <a:lnTo>
                    <a:pt x="3895" y="3434"/>
                  </a:lnTo>
                  <a:lnTo>
                    <a:pt x="3878" y="3420"/>
                  </a:lnTo>
                  <a:lnTo>
                    <a:pt x="3862" y="3404"/>
                  </a:lnTo>
                  <a:lnTo>
                    <a:pt x="3847" y="3386"/>
                  </a:lnTo>
                  <a:lnTo>
                    <a:pt x="3841" y="3377"/>
                  </a:lnTo>
                  <a:lnTo>
                    <a:pt x="3835" y="3368"/>
                  </a:lnTo>
                  <a:lnTo>
                    <a:pt x="3830" y="3358"/>
                  </a:lnTo>
                  <a:lnTo>
                    <a:pt x="3826" y="3348"/>
                  </a:lnTo>
                  <a:lnTo>
                    <a:pt x="3822" y="3337"/>
                  </a:lnTo>
                  <a:lnTo>
                    <a:pt x="3819" y="3326"/>
                  </a:lnTo>
                  <a:lnTo>
                    <a:pt x="3818" y="3314"/>
                  </a:lnTo>
                  <a:lnTo>
                    <a:pt x="3818" y="3301"/>
                  </a:lnTo>
                  <a:lnTo>
                    <a:pt x="3818" y="3289"/>
                  </a:lnTo>
                  <a:lnTo>
                    <a:pt x="3819" y="3278"/>
                  </a:lnTo>
                  <a:lnTo>
                    <a:pt x="3821" y="3273"/>
                  </a:lnTo>
                  <a:lnTo>
                    <a:pt x="3819" y="3268"/>
                  </a:lnTo>
                  <a:lnTo>
                    <a:pt x="3819" y="3264"/>
                  </a:lnTo>
                  <a:lnTo>
                    <a:pt x="3818" y="3258"/>
                  </a:lnTo>
                  <a:lnTo>
                    <a:pt x="3831" y="3225"/>
                  </a:lnTo>
                  <a:lnTo>
                    <a:pt x="3845" y="3195"/>
                  </a:lnTo>
                  <a:lnTo>
                    <a:pt x="3851" y="3180"/>
                  </a:lnTo>
                  <a:lnTo>
                    <a:pt x="3855" y="3164"/>
                  </a:lnTo>
                  <a:lnTo>
                    <a:pt x="3858" y="3145"/>
                  </a:lnTo>
                  <a:lnTo>
                    <a:pt x="3859" y="3127"/>
                  </a:lnTo>
                  <a:lnTo>
                    <a:pt x="3859" y="3112"/>
                  </a:lnTo>
                  <a:lnTo>
                    <a:pt x="3857" y="3097"/>
                  </a:lnTo>
                  <a:lnTo>
                    <a:pt x="3853" y="3083"/>
                  </a:lnTo>
                  <a:lnTo>
                    <a:pt x="3849" y="3067"/>
                  </a:lnTo>
                  <a:lnTo>
                    <a:pt x="3837" y="3033"/>
                  </a:lnTo>
                  <a:lnTo>
                    <a:pt x="3823" y="3000"/>
                  </a:lnTo>
                  <a:lnTo>
                    <a:pt x="3810" y="2968"/>
                  </a:lnTo>
                  <a:lnTo>
                    <a:pt x="3798" y="2939"/>
                  </a:lnTo>
                  <a:lnTo>
                    <a:pt x="3794" y="2925"/>
                  </a:lnTo>
                  <a:lnTo>
                    <a:pt x="3790" y="2913"/>
                  </a:lnTo>
                  <a:lnTo>
                    <a:pt x="3789" y="2901"/>
                  </a:lnTo>
                  <a:lnTo>
                    <a:pt x="3787" y="2892"/>
                  </a:lnTo>
                  <a:lnTo>
                    <a:pt x="3787" y="2884"/>
                  </a:lnTo>
                  <a:lnTo>
                    <a:pt x="3790" y="2877"/>
                  </a:lnTo>
                  <a:lnTo>
                    <a:pt x="3791" y="2871"/>
                  </a:lnTo>
                  <a:lnTo>
                    <a:pt x="3795" y="2865"/>
                  </a:lnTo>
                  <a:lnTo>
                    <a:pt x="3799" y="2860"/>
                  </a:lnTo>
                  <a:lnTo>
                    <a:pt x="3805" y="2856"/>
                  </a:lnTo>
                  <a:lnTo>
                    <a:pt x="3810" y="2852"/>
                  </a:lnTo>
                  <a:lnTo>
                    <a:pt x="3815" y="2849"/>
                  </a:lnTo>
                  <a:lnTo>
                    <a:pt x="3829" y="2844"/>
                  </a:lnTo>
                  <a:lnTo>
                    <a:pt x="3843" y="2840"/>
                  </a:lnTo>
                  <a:lnTo>
                    <a:pt x="3858" y="2839"/>
                  </a:lnTo>
                  <a:lnTo>
                    <a:pt x="3871" y="2837"/>
                  </a:lnTo>
                  <a:lnTo>
                    <a:pt x="3899" y="2837"/>
                  </a:lnTo>
                  <a:lnTo>
                    <a:pt x="3921" y="2837"/>
                  </a:lnTo>
                  <a:lnTo>
                    <a:pt x="3938" y="2837"/>
                  </a:lnTo>
                  <a:lnTo>
                    <a:pt x="3955" y="2837"/>
                  </a:lnTo>
                  <a:lnTo>
                    <a:pt x="3966" y="2841"/>
                  </a:lnTo>
                  <a:lnTo>
                    <a:pt x="3987" y="2847"/>
                  </a:lnTo>
                  <a:lnTo>
                    <a:pt x="3999" y="2849"/>
                  </a:lnTo>
                  <a:lnTo>
                    <a:pt x="4013" y="2851"/>
                  </a:lnTo>
                  <a:lnTo>
                    <a:pt x="4019" y="2849"/>
                  </a:lnTo>
                  <a:lnTo>
                    <a:pt x="4026" y="2848"/>
                  </a:lnTo>
                  <a:lnTo>
                    <a:pt x="4034" y="2847"/>
                  </a:lnTo>
                  <a:lnTo>
                    <a:pt x="4041" y="2844"/>
                  </a:lnTo>
                  <a:lnTo>
                    <a:pt x="4049" y="2839"/>
                  </a:lnTo>
                  <a:lnTo>
                    <a:pt x="4057" y="2831"/>
                  </a:lnTo>
                  <a:lnTo>
                    <a:pt x="4063" y="2823"/>
                  </a:lnTo>
                  <a:lnTo>
                    <a:pt x="4069" y="2813"/>
                  </a:lnTo>
                  <a:lnTo>
                    <a:pt x="4079" y="2793"/>
                  </a:lnTo>
                  <a:lnTo>
                    <a:pt x="4091" y="2771"/>
                  </a:lnTo>
                  <a:lnTo>
                    <a:pt x="4098" y="2761"/>
                  </a:lnTo>
                  <a:lnTo>
                    <a:pt x="4106" y="2751"/>
                  </a:lnTo>
                  <a:lnTo>
                    <a:pt x="4114" y="2741"/>
                  </a:lnTo>
                  <a:lnTo>
                    <a:pt x="4123" y="2733"/>
                  </a:lnTo>
                  <a:lnTo>
                    <a:pt x="4134" y="2727"/>
                  </a:lnTo>
                  <a:lnTo>
                    <a:pt x="4147" y="2721"/>
                  </a:lnTo>
                  <a:lnTo>
                    <a:pt x="4162" y="2719"/>
                  </a:lnTo>
                  <a:lnTo>
                    <a:pt x="4179" y="2717"/>
                  </a:lnTo>
                  <a:lnTo>
                    <a:pt x="4194" y="2717"/>
                  </a:lnTo>
                  <a:lnTo>
                    <a:pt x="4203" y="2720"/>
                  </a:lnTo>
                  <a:lnTo>
                    <a:pt x="4210" y="2721"/>
                  </a:lnTo>
                  <a:lnTo>
                    <a:pt x="4214" y="2724"/>
                  </a:lnTo>
                  <a:lnTo>
                    <a:pt x="4216" y="2725"/>
                  </a:lnTo>
                  <a:lnTo>
                    <a:pt x="4220" y="2724"/>
                  </a:lnTo>
                  <a:lnTo>
                    <a:pt x="4228" y="2723"/>
                  </a:lnTo>
                  <a:lnTo>
                    <a:pt x="4239" y="2717"/>
                  </a:lnTo>
                  <a:lnTo>
                    <a:pt x="4244" y="2713"/>
                  </a:lnTo>
                  <a:lnTo>
                    <a:pt x="4248" y="2709"/>
                  </a:lnTo>
                  <a:lnTo>
                    <a:pt x="4251" y="2703"/>
                  </a:lnTo>
                  <a:lnTo>
                    <a:pt x="4252" y="2695"/>
                  </a:lnTo>
                  <a:lnTo>
                    <a:pt x="4254" y="2677"/>
                  </a:lnTo>
                  <a:lnTo>
                    <a:pt x="4254" y="2659"/>
                  </a:lnTo>
                  <a:lnTo>
                    <a:pt x="4251" y="2624"/>
                  </a:lnTo>
                  <a:lnTo>
                    <a:pt x="4251" y="2608"/>
                  </a:lnTo>
                  <a:lnTo>
                    <a:pt x="4208" y="260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08" name="Freeform 104"/>
            <p:cNvSpPr>
              <a:spLocks/>
            </p:cNvSpPr>
            <p:nvPr/>
          </p:nvSpPr>
          <p:spPr bwMode="auto">
            <a:xfrm>
              <a:off x="5805809" y="2236788"/>
              <a:ext cx="238125" cy="239712"/>
            </a:xfrm>
            <a:custGeom>
              <a:avLst/>
              <a:gdLst/>
              <a:ahLst/>
              <a:cxnLst>
                <a:cxn ang="0">
                  <a:pos x="487" y="116"/>
                </a:cxn>
                <a:cxn ang="0">
                  <a:pos x="471" y="66"/>
                </a:cxn>
                <a:cxn ang="0">
                  <a:pos x="454" y="46"/>
                </a:cxn>
                <a:cxn ang="0">
                  <a:pos x="436" y="6"/>
                </a:cxn>
                <a:cxn ang="0">
                  <a:pos x="396" y="0"/>
                </a:cxn>
                <a:cxn ang="0">
                  <a:pos x="315" y="12"/>
                </a:cxn>
                <a:cxn ang="0">
                  <a:pos x="278" y="47"/>
                </a:cxn>
                <a:cxn ang="0">
                  <a:pos x="244" y="60"/>
                </a:cxn>
                <a:cxn ang="0">
                  <a:pos x="215" y="56"/>
                </a:cxn>
                <a:cxn ang="0">
                  <a:pos x="187" y="50"/>
                </a:cxn>
                <a:cxn ang="0">
                  <a:pos x="172" y="63"/>
                </a:cxn>
                <a:cxn ang="0">
                  <a:pos x="171" y="98"/>
                </a:cxn>
                <a:cxn ang="0">
                  <a:pos x="192" y="147"/>
                </a:cxn>
                <a:cxn ang="0">
                  <a:pos x="218" y="187"/>
                </a:cxn>
                <a:cxn ang="0">
                  <a:pos x="188" y="183"/>
                </a:cxn>
                <a:cxn ang="0">
                  <a:pos x="163" y="175"/>
                </a:cxn>
                <a:cxn ang="0">
                  <a:pos x="118" y="171"/>
                </a:cxn>
                <a:cxn ang="0">
                  <a:pos x="64" y="155"/>
                </a:cxn>
                <a:cxn ang="0">
                  <a:pos x="30" y="154"/>
                </a:cxn>
                <a:cxn ang="0">
                  <a:pos x="12" y="190"/>
                </a:cxn>
                <a:cxn ang="0">
                  <a:pos x="0" y="242"/>
                </a:cxn>
                <a:cxn ang="0">
                  <a:pos x="12" y="268"/>
                </a:cxn>
                <a:cxn ang="0">
                  <a:pos x="24" y="295"/>
                </a:cxn>
                <a:cxn ang="0">
                  <a:pos x="15" y="339"/>
                </a:cxn>
                <a:cxn ang="0">
                  <a:pos x="26" y="355"/>
                </a:cxn>
                <a:cxn ang="0">
                  <a:pos x="54" y="364"/>
                </a:cxn>
                <a:cxn ang="0">
                  <a:pos x="79" y="384"/>
                </a:cxn>
                <a:cxn ang="0">
                  <a:pos x="86" y="421"/>
                </a:cxn>
                <a:cxn ang="0">
                  <a:pos x="112" y="451"/>
                </a:cxn>
                <a:cxn ang="0">
                  <a:pos x="146" y="467"/>
                </a:cxn>
                <a:cxn ang="0">
                  <a:pos x="223" y="476"/>
                </a:cxn>
                <a:cxn ang="0">
                  <a:pos x="243" y="492"/>
                </a:cxn>
                <a:cxn ang="0">
                  <a:pos x="290" y="491"/>
                </a:cxn>
                <a:cxn ang="0">
                  <a:pos x="302" y="468"/>
                </a:cxn>
                <a:cxn ang="0">
                  <a:pos x="299" y="423"/>
                </a:cxn>
                <a:cxn ang="0">
                  <a:pos x="304" y="385"/>
                </a:cxn>
                <a:cxn ang="0">
                  <a:pos x="331" y="372"/>
                </a:cxn>
                <a:cxn ang="0">
                  <a:pos x="359" y="327"/>
                </a:cxn>
                <a:cxn ang="0">
                  <a:pos x="387" y="281"/>
                </a:cxn>
                <a:cxn ang="0">
                  <a:pos x="444" y="264"/>
                </a:cxn>
                <a:cxn ang="0">
                  <a:pos x="470" y="243"/>
                </a:cxn>
                <a:cxn ang="0">
                  <a:pos x="468" y="211"/>
                </a:cxn>
                <a:cxn ang="0">
                  <a:pos x="458" y="199"/>
                </a:cxn>
                <a:cxn ang="0">
                  <a:pos x="424" y="204"/>
                </a:cxn>
                <a:cxn ang="0">
                  <a:pos x="376" y="206"/>
                </a:cxn>
                <a:cxn ang="0">
                  <a:pos x="340" y="186"/>
                </a:cxn>
                <a:cxn ang="0">
                  <a:pos x="311" y="158"/>
                </a:cxn>
                <a:cxn ang="0">
                  <a:pos x="296" y="127"/>
                </a:cxn>
                <a:cxn ang="0">
                  <a:pos x="296" y="87"/>
                </a:cxn>
                <a:cxn ang="0">
                  <a:pos x="330" y="96"/>
                </a:cxn>
                <a:cxn ang="0">
                  <a:pos x="355" y="155"/>
                </a:cxn>
                <a:cxn ang="0">
                  <a:pos x="380" y="175"/>
                </a:cxn>
                <a:cxn ang="0">
                  <a:pos x="422" y="180"/>
                </a:cxn>
                <a:cxn ang="0">
                  <a:pos x="467" y="163"/>
                </a:cxn>
              </a:cxnLst>
              <a:rect l="0" t="0" r="r" b="b"/>
              <a:pathLst>
                <a:path w="490" h="493">
                  <a:moveTo>
                    <a:pt x="488" y="139"/>
                  </a:moveTo>
                  <a:lnTo>
                    <a:pt x="490" y="135"/>
                  </a:lnTo>
                  <a:lnTo>
                    <a:pt x="490" y="127"/>
                  </a:lnTo>
                  <a:lnTo>
                    <a:pt x="487" y="116"/>
                  </a:lnTo>
                  <a:lnTo>
                    <a:pt x="484" y="104"/>
                  </a:lnTo>
                  <a:lnTo>
                    <a:pt x="479" y="82"/>
                  </a:lnTo>
                  <a:lnTo>
                    <a:pt x="476" y="67"/>
                  </a:lnTo>
                  <a:lnTo>
                    <a:pt x="471" y="66"/>
                  </a:lnTo>
                  <a:lnTo>
                    <a:pt x="467" y="63"/>
                  </a:lnTo>
                  <a:lnTo>
                    <a:pt x="463" y="60"/>
                  </a:lnTo>
                  <a:lnTo>
                    <a:pt x="460" y="56"/>
                  </a:lnTo>
                  <a:lnTo>
                    <a:pt x="454" y="46"/>
                  </a:lnTo>
                  <a:lnTo>
                    <a:pt x="450" y="34"/>
                  </a:lnTo>
                  <a:lnTo>
                    <a:pt x="444" y="22"/>
                  </a:lnTo>
                  <a:lnTo>
                    <a:pt x="439" y="11"/>
                  </a:lnTo>
                  <a:lnTo>
                    <a:pt x="436" y="6"/>
                  </a:lnTo>
                  <a:lnTo>
                    <a:pt x="432" y="3"/>
                  </a:lnTo>
                  <a:lnTo>
                    <a:pt x="427" y="0"/>
                  </a:lnTo>
                  <a:lnTo>
                    <a:pt x="423" y="0"/>
                  </a:lnTo>
                  <a:lnTo>
                    <a:pt x="396" y="0"/>
                  </a:lnTo>
                  <a:lnTo>
                    <a:pt x="372" y="0"/>
                  </a:lnTo>
                  <a:lnTo>
                    <a:pt x="348" y="3"/>
                  </a:lnTo>
                  <a:lnTo>
                    <a:pt x="326" y="6"/>
                  </a:lnTo>
                  <a:lnTo>
                    <a:pt x="315" y="12"/>
                  </a:lnTo>
                  <a:lnTo>
                    <a:pt x="306" y="20"/>
                  </a:lnTo>
                  <a:lnTo>
                    <a:pt x="296" y="28"/>
                  </a:lnTo>
                  <a:lnTo>
                    <a:pt x="287" y="38"/>
                  </a:lnTo>
                  <a:lnTo>
                    <a:pt x="278" y="47"/>
                  </a:lnTo>
                  <a:lnTo>
                    <a:pt x="266" y="54"/>
                  </a:lnTo>
                  <a:lnTo>
                    <a:pt x="259" y="56"/>
                  </a:lnTo>
                  <a:lnTo>
                    <a:pt x="252" y="59"/>
                  </a:lnTo>
                  <a:lnTo>
                    <a:pt x="244" y="60"/>
                  </a:lnTo>
                  <a:lnTo>
                    <a:pt x="236" y="60"/>
                  </a:lnTo>
                  <a:lnTo>
                    <a:pt x="227" y="60"/>
                  </a:lnTo>
                  <a:lnTo>
                    <a:pt x="220" y="59"/>
                  </a:lnTo>
                  <a:lnTo>
                    <a:pt x="215" y="56"/>
                  </a:lnTo>
                  <a:lnTo>
                    <a:pt x="210" y="55"/>
                  </a:lnTo>
                  <a:lnTo>
                    <a:pt x="202" y="50"/>
                  </a:lnTo>
                  <a:lnTo>
                    <a:pt x="194" y="48"/>
                  </a:lnTo>
                  <a:lnTo>
                    <a:pt x="187" y="50"/>
                  </a:lnTo>
                  <a:lnTo>
                    <a:pt x="182" y="51"/>
                  </a:lnTo>
                  <a:lnTo>
                    <a:pt x="178" y="55"/>
                  </a:lnTo>
                  <a:lnTo>
                    <a:pt x="175" y="59"/>
                  </a:lnTo>
                  <a:lnTo>
                    <a:pt x="172" y="63"/>
                  </a:lnTo>
                  <a:lnTo>
                    <a:pt x="171" y="68"/>
                  </a:lnTo>
                  <a:lnTo>
                    <a:pt x="170" y="74"/>
                  </a:lnTo>
                  <a:lnTo>
                    <a:pt x="170" y="79"/>
                  </a:lnTo>
                  <a:lnTo>
                    <a:pt x="171" y="98"/>
                  </a:lnTo>
                  <a:lnTo>
                    <a:pt x="174" y="112"/>
                  </a:lnTo>
                  <a:lnTo>
                    <a:pt x="178" y="126"/>
                  </a:lnTo>
                  <a:lnTo>
                    <a:pt x="184" y="138"/>
                  </a:lnTo>
                  <a:lnTo>
                    <a:pt x="192" y="147"/>
                  </a:lnTo>
                  <a:lnTo>
                    <a:pt x="200" y="155"/>
                  </a:lnTo>
                  <a:lnTo>
                    <a:pt x="208" y="162"/>
                  </a:lnTo>
                  <a:lnTo>
                    <a:pt x="218" y="168"/>
                  </a:lnTo>
                  <a:lnTo>
                    <a:pt x="218" y="187"/>
                  </a:lnTo>
                  <a:lnTo>
                    <a:pt x="210" y="188"/>
                  </a:lnTo>
                  <a:lnTo>
                    <a:pt x="202" y="187"/>
                  </a:lnTo>
                  <a:lnTo>
                    <a:pt x="195" y="186"/>
                  </a:lnTo>
                  <a:lnTo>
                    <a:pt x="188" y="183"/>
                  </a:lnTo>
                  <a:lnTo>
                    <a:pt x="182" y="180"/>
                  </a:lnTo>
                  <a:lnTo>
                    <a:pt x="176" y="178"/>
                  </a:lnTo>
                  <a:lnTo>
                    <a:pt x="170" y="175"/>
                  </a:lnTo>
                  <a:lnTo>
                    <a:pt x="163" y="175"/>
                  </a:lnTo>
                  <a:lnTo>
                    <a:pt x="155" y="175"/>
                  </a:lnTo>
                  <a:lnTo>
                    <a:pt x="146" y="175"/>
                  </a:lnTo>
                  <a:lnTo>
                    <a:pt x="132" y="174"/>
                  </a:lnTo>
                  <a:lnTo>
                    <a:pt x="118" y="171"/>
                  </a:lnTo>
                  <a:lnTo>
                    <a:pt x="104" y="167"/>
                  </a:lnTo>
                  <a:lnTo>
                    <a:pt x="91" y="163"/>
                  </a:lnTo>
                  <a:lnTo>
                    <a:pt x="78" y="159"/>
                  </a:lnTo>
                  <a:lnTo>
                    <a:pt x="64" y="155"/>
                  </a:lnTo>
                  <a:lnTo>
                    <a:pt x="51" y="152"/>
                  </a:lnTo>
                  <a:lnTo>
                    <a:pt x="36" y="151"/>
                  </a:lnTo>
                  <a:lnTo>
                    <a:pt x="34" y="151"/>
                  </a:lnTo>
                  <a:lnTo>
                    <a:pt x="30" y="154"/>
                  </a:lnTo>
                  <a:lnTo>
                    <a:pt x="27" y="158"/>
                  </a:lnTo>
                  <a:lnTo>
                    <a:pt x="23" y="163"/>
                  </a:lnTo>
                  <a:lnTo>
                    <a:pt x="18" y="175"/>
                  </a:lnTo>
                  <a:lnTo>
                    <a:pt x="12" y="190"/>
                  </a:lnTo>
                  <a:lnTo>
                    <a:pt x="7" y="204"/>
                  </a:lnTo>
                  <a:lnTo>
                    <a:pt x="4" y="219"/>
                  </a:lnTo>
                  <a:lnTo>
                    <a:pt x="2" y="232"/>
                  </a:lnTo>
                  <a:lnTo>
                    <a:pt x="0" y="242"/>
                  </a:lnTo>
                  <a:lnTo>
                    <a:pt x="2" y="249"/>
                  </a:lnTo>
                  <a:lnTo>
                    <a:pt x="4" y="256"/>
                  </a:lnTo>
                  <a:lnTo>
                    <a:pt x="8" y="263"/>
                  </a:lnTo>
                  <a:lnTo>
                    <a:pt x="12" y="268"/>
                  </a:lnTo>
                  <a:lnTo>
                    <a:pt x="18" y="273"/>
                  </a:lnTo>
                  <a:lnTo>
                    <a:pt x="22" y="280"/>
                  </a:lnTo>
                  <a:lnTo>
                    <a:pt x="24" y="287"/>
                  </a:lnTo>
                  <a:lnTo>
                    <a:pt x="24" y="295"/>
                  </a:lnTo>
                  <a:lnTo>
                    <a:pt x="19" y="311"/>
                  </a:lnTo>
                  <a:lnTo>
                    <a:pt x="12" y="325"/>
                  </a:lnTo>
                  <a:lnTo>
                    <a:pt x="14" y="332"/>
                  </a:lnTo>
                  <a:lnTo>
                    <a:pt x="15" y="339"/>
                  </a:lnTo>
                  <a:lnTo>
                    <a:pt x="16" y="344"/>
                  </a:lnTo>
                  <a:lnTo>
                    <a:pt x="19" y="348"/>
                  </a:lnTo>
                  <a:lnTo>
                    <a:pt x="22" y="352"/>
                  </a:lnTo>
                  <a:lnTo>
                    <a:pt x="26" y="355"/>
                  </a:lnTo>
                  <a:lnTo>
                    <a:pt x="30" y="356"/>
                  </a:lnTo>
                  <a:lnTo>
                    <a:pt x="34" y="359"/>
                  </a:lnTo>
                  <a:lnTo>
                    <a:pt x="43" y="361"/>
                  </a:lnTo>
                  <a:lnTo>
                    <a:pt x="54" y="364"/>
                  </a:lnTo>
                  <a:lnTo>
                    <a:pt x="63" y="368"/>
                  </a:lnTo>
                  <a:lnTo>
                    <a:pt x="74" y="373"/>
                  </a:lnTo>
                  <a:lnTo>
                    <a:pt x="76" y="379"/>
                  </a:lnTo>
                  <a:lnTo>
                    <a:pt x="79" y="384"/>
                  </a:lnTo>
                  <a:lnTo>
                    <a:pt x="80" y="391"/>
                  </a:lnTo>
                  <a:lnTo>
                    <a:pt x="82" y="397"/>
                  </a:lnTo>
                  <a:lnTo>
                    <a:pt x="83" y="411"/>
                  </a:lnTo>
                  <a:lnTo>
                    <a:pt x="86" y="421"/>
                  </a:lnTo>
                  <a:lnTo>
                    <a:pt x="91" y="431"/>
                  </a:lnTo>
                  <a:lnTo>
                    <a:pt x="98" y="437"/>
                  </a:lnTo>
                  <a:lnTo>
                    <a:pt x="104" y="444"/>
                  </a:lnTo>
                  <a:lnTo>
                    <a:pt x="112" y="451"/>
                  </a:lnTo>
                  <a:lnTo>
                    <a:pt x="119" y="456"/>
                  </a:lnTo>
                  <a:lnTo>
                    <a:pt x="128" y="460"/>
                  </a:lnTo>
                  <a:lnTo>
                    <a:pt x="136" y="464"/>
                  </a:lnTo>
                  <a:lnTo>
                    <a:pt x="146" y="467"/>
                  </a:lnTo>
                  <a:lnTo>
                    <a:pt x="164" y="471"/>
                  </a:lnTo>
                  <a:lnTo>
                    <a:pt x="183" y="475"/>
                  </a:lnTo>
                  <a:lnTo>
                    <a:pt x="203" y="476"/>
                  </a:lnTo>
                  <a:lnTo>
                    <a:pt x="223" y="476"/>
                  </a:lnTo>
                  <a:lnTo>
                    <a:pt x="227" y="481"/>
                  </a:lnTo>
                  <a:lnTo>
                    <a:pt x="231" y="487"/>
                  </a:lnTo>
                  <a:lnTo>
                    <a:pt x="236" y="489"/>
                  </a:lnTo>
                  <a:lnTo>
                    <a:pt x="243" y="492"/>
                  </a:lnTo>
                  <a:lnTo>
                    <a:pt x="258" y="493"/>
                  </a:lnTo>
                  <a:lnTo>
                    <a:pt x="272" y="493"/>
                  </a:lnTo>
                  <a:lnTo>
                    <a:pt x="282" y="493"/>
                  </a:lnTo>
                  <a:lnTo>
                    <a:pt x="290" y="491"/>
                  </a:lnTo>
                  <a:lnTo>
                    <a:pt x="295" y="487"/>
                  </a:lnTo>
                  <a:lnTo>
                    <a:pt x="298" y="481"/>
                  </a:lnTo>
                  <a:lnTo>
                    <a:pt x="300" y="476"/>
                  </a:lnTo>
                  <a:lnTo>
                    <a:pt x="302" y="468"/>
                  </a:lnTo>
                  <a:lnTo>
                    <a:pt x="302" y="460"/>
                  </a:lnTo>
                  <a:lnTo>
                    <a:pt x="302" y="452"/>
                  </a:lnTo>
                  <a:lnTo>
                    <a:pt x="300" y="436"/>
                  </a:lnTo>
                  <a:lnTo>
                    <a:pt x="299" y="423"/>
                  </a:lnTo>
                  <a:lnTo>
                    <a:pt x="296" y="413"/>
                  </a:lnTo>
                  <a:lnTo>
                    <a:pt x="296" y="404"/>
                  </a:lnTo>
                  <a:lnTo>
                    <a:pt x="296" y="385"/>
                  </a:lnTo>
                  <a:lnTo>
                    <a:pt x="304" y="385"/>
                  </a:lnTo>
                  <a:lnTo>
                    <a:pt x="312" y="383"/>
                  </a:lnTo>
                  <a:lnTo>
                    <a:pt x="319" y="380"/>
                  </a:lnTo>
                  <a:lnTo>
                    <a:pt x="326" y="376"/>
                  </a:lnTo>
                  <a:lnTo>
                    <a:pt x="331" y="372"/>
                  </a:lnTo>
                  <a:lnTo>
                    <a:pt x="336" y="367"/>
                  </a:lnTo>
                  <a:lnTo>
                    <a:pt x="342" y="361"/>
                  </a:lnTo>
                  <a:lnTo>
                    <a:pt x="346" y="355"/>
                  </a:lnTo>
                  <a:lnTo>
                    <a:pt x="359" y="327"/>
                  </a:lnTo>
                  <a:lnTo>
                    <a:pt x="368" y="301"/>
                  </a:lnTo>
                  <a:lnTo>
                    <a:pt x="374" y="293"/>
                  </a:lnTo>
                  <a:lnTo>
                    <a:pt x="379" y="287"/>
                  </a:lnTo>
                  <a:lnTo>
                    <a:pt x="387" y="281"/>
                  </a:lnTo>
                  <a:lnTo>
                    <a:pt x="395" y="277"/>
                  </a:lnTo>
                  <a:lnTo>
                    <a:pt x="411" y="272"/>
                  </a:lnTo>
                  <a:lnTo>
                    <a:pt x="428" y="268"/>
                  </a:lnTo>
                  <a:lnTo>
                    <a:pt x="444" y="264"/>
                  </a:lnTo>
                  <a:lnTo>
                    <a:pt x="458" y="259"/>
                  </a:lnTo>
                  <a:lnTo>
                    <a:pt x="463" y="255"/>
                  </a:lnTo>
                  <a:lnTo>
                    <a:pt x="467" y="249"/>
                  </a:lnTo>
                  <a:lnTo>
                    <a:pt x="470" y="243"/>
                  </a:lnTo>
                  <a:lnTo>
                    <a:pt x="471" y="235"/>
                  </a:lnTo>
                  <a:lnTo>
                    <a:pt x="470" y="223"/>
                  </a:lnTo>
                  <a:lnTo>
                    <a:pt x="468" y="215"/>
                  </a:lnTo>
                  <a:lnTo>
                    <a:pt x="468" y="211"/>
                  </a:lnTo>
                  <a:lnTo>
                    <a:pt x="468" y="207"/>
                  </a:lnTo>
                  <a:lnTo>
                    <a:pt x="468" y="203"/>
                  </a:lnTo>
                  <a:lnTo>
                    <a:pt x="471" y="199"/>
                  </a:lnTo>
                  <a:lnTo>
                    <a:pt x="458" y="199"/>
                  </a:lnTo>
                  <a:lnTo>
                    <a:pt x="451" y="199"/>
                  </a:lnTo>
                  <a:lnTo>
                    <a:pt x="447" y="199"/>
                  </a:lnTo>
                  <a:lnTo>
                    <a:pt x="440" y="199"/>
                  </a:lnTo>
                  <a:lnTo>
                    <a:pt x="424" y="204"/>
                  </a:lnTo>
                  <a:lnTo>
                    <a:pt x="404" y="211"/>
                  </a:lnTo>
                  <a:lnTo>
                    <a:pt x="395" y="211"/>
                  </a:lnTo>
                  <a:lnTo>
                    <a:pt x="386" y="208"/>
                  </a:lnTo>
                  <a:lnTo>
                    <a:pt x="376" y="206"/>
                  </a:lnTo>
                  <a:lnTo>
                    <a:pt x="367" y="202"/>
                  </a:lnTo>
                  <a:lnTo>
                    <a:pt x="358" y="198"/>
                  </a:lnTo>
                  <a:lnTo>
                    <a:pt x="348" y="192"/>
                  </a:lnTo>
                  <a:lnTo>
                    <a:pt x="340" y="186"/>
                  </a:lnTo>
                  <a:lnTo>
                    <a:pt x="332" y="179"/>
                  </a:lnTo>
                  <a:lnTo>
                    <a:pt x="324" y="172"/>
                  </a:lnTo>
                  <a:lnTo>
                    <a:pt x="318" y="166"/>
                  </a:lnTo>
                  <a:lnTo>
                    <a:pt x="311" y="158"/>
                  </a:lnTo>
                  <a:lnTo>
                    <a:pt x="306" y="150"/>
                  </a:lnTo>
                  <a:lnTo>
                    <a:pt x="302" y="143"/>
                  </a:lnTo>
                  <a:lnTo>
                    <a:pt x="299" y="135"/>
                  </a:lnTo>
                  <a:lnTo>
                    <a:pt x="296" y="127"/>
                  </a:lnTo>
                  <a:lnTo>
                    <a:pt x="296" y="120"/>
                  </a:lnTo>
                  <a:lnTo>
                    <a:pt x="296" y="106"/>
                  </a:lnTo>
                  <a:lnTo>
                    <a:pt x="296" y="95"/>
                  </a:lnTo>
                  <a:lnTo>
                    <a:pt x="296" y="87"/>
                  </a:lnTo>
                  <a:lnTo>
                    <a:pt x="296" y="79"/>
                  </a:lnTo>
                  <a:lnTo>
                    <a:pt x="314" y="79"/>
                  </a:lnTo>
                  <a:lnTo>
                    <a:pt x="326" y="79"/>
                  </a:lnTo>
                  <a:lnTo>
                    <a:pt x="330" y="96"/>
                  </a:lnTo>
                  <a:lnTo>
                    <a:pt x="334" y="115"/>
                  </a:lnTo>
                  <a:lnTo>
                    <a:pt x="340" y="132"/>
                  </a:lnTo>
                  <a:lnTo>
                    <a:pt x="350" y="148"/>
                  </a:lnTo>
                  <a:lnTo>
                    <a:pt x="355" y="155"/>
                  </a:lnTo>
                  <a:lnTo>
                    <a:pt x="360" y="162"/>
                  </a:lnTo>
                  <a:lnTo>
                    <a:pt x="366" y="167"/>
                  </a:lnTo>
                  <a:lnTo>
                    <a:pt x="372" y="172"/>
                  </a:lnTo>
                  <a:lnTo>
                    <a:pt x="380" y="175"/>
                  </a:lnTo>
                  <a:lnTo>
                    <a:pt x="387" y="179"/>
                  </a:lnTo>
                  <a:lnTo>
                    <a:pt x="395" y="180"/>
                  </a:lnTo>
                  <a:lnTo>
                    <a:pt x="404" y="180"/>
                  </a:lnTo>
                  <a:lnTo>
                    <a:pt x="422" y="180"/>
                  </a:lnTo>
                  <a:lnTo>
                    <a:pt x="435" y="178"/>
                  </a:lnTo>
                  <a:lnTo>
                    <a:pt x="447" y="174"/>
                  </a:lnTo>
                  <a:lnTo>
                    <a:pt x="458" y="168"/>
                  </a:lnTo>
                  <a:lnTo>
                    <a:pt x="467" y="163"/>
                  </a:lnTo>
                  <a:lnTo>
                    <a:pt x="475" y="155"/>
                  </a:lnTo>
                  <a:lnTo>
                    <a:pt x="482" y="147"/>
                  </a:lnTo>
                  <a:lnTo>
                    <a:pt x="488" y="13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09" name="Freeform 105"/>
            <p:cNvSpPr>
              <a:spLocks/>
            </p:cNvSpPr>
            <p:nvPr/>
          </p:nvSpPr>
          <p:spPr bwMode="auto">
            <a:xfrm>
              <a:off x="6051872" y="2144713"/>
              <a:ext cx="155575" cy="106362"/>
            </a:xfrm>
            <a:custGeom>
              <a:avLst/>
              <a:gdLst/>
              <a:ahLst/>
              <a:cxnLst>
                <a:cxn ang="0">
                  <a:pos x="242" y="168"/>
                </a:cxn>
                <a:cxn ang="0">
                  <a:pos x="258" y="160"/>
                </a:cxn>
                <a:cxn ang="0">
                  <a:pos x="273" y="145"/>
                </a:cxn>
                <a:cxn ang="0">
                  <a:pos x="286" y="127"/>
                </a:cxn>
                <a:cxn ang="0">
                  <a:pos x="304" y="95"/>
                </a:cxn>
                <a:cxn ang="0">
                  <a:pos x="317" y="52"/>
                </a:cxn>
                <a:cxn ang="0">
                  <a:pos x="318" y="24"/>
                </a:cxn>
                <a:cxn ang="0">
                  <a:pos x="301" y="7"/>
                </a:cxn>
                <a:cxn ang="0">
                  <a:pos x="264" y="4"/>
                </a:cxn>
                <a:cxn ang="0">
                  <a:pos x="214" y="17"/>
                </a:cxn>
                <a:cxn ang="0">
                  <a:pos x="193" y="27"/>
                </a:cxn>
                <a:cxn ang="0">
                  <a:pos x="184" y="33"/>
                </a:cxn>
                <a:cxn ang="0">
                  <a:pos x="172" y="51"/>
                </a:cxn>
                <a:cxn ang="0">
                  <a:pos x="161" y="72"/>
                </a:cxn>
                <a:cxn ang="0">
                  <a:pos x="154" y="81"/>
                </a:cxn>
                <a:cxn ang="0">
                  <a:pos x="132" y="85"/>
                </a:cxn>
                <a:cxn ang="0">
                  <a:pos x="129" y="73"/>
                </a:cxn>
                <a:cxn ang="0">
                  <a:pos x="121" y="65"/>
                </a:cxn>
                <a:cxn ang="0">
                  <a:pos x="112" y="61"/>
                </a:cxn>
                <a:cxn ang="0">
                  <a:pos x="102" y="60"/>
                </a:cxn>
                <a:cxn ang="0">
                  <a:pos x="90" y="64"/>
                </a:cxn>
                <a:cxn ang="0">
                  <a:pos x="81" y="72"/>
                </a:cxn>
                <a:cxn ang="0">
                  <a:pos x="69" y="99"/>
                </a:cxn>
                <a:cxn ang="0">
                  <a:pos x="53" y="151"/>
                </a:cxn>
                <a:cxn ang="0">
                  <a:pos x="38" y="145"/>
                </a:cxn>
                <a:cxn ang="0">
                  <a:pos x="28" y="137"/>
                </a:cxn>
                <a:cxn ang="0">
                  <a:pos x="12" y="115"/>
                </a:cxn>
                <a:cxn ang="0">
                  <a:pos x="0" y="132"/>
                </a:cxn>
                <a:cxn ang="0">
                  <a:pos x="1" y="160"/>
                </a:cxn>
                <a:cxn ang="0">
                  <a:pos x="9" y="188"/>
                </a:cxn>
                <a:cxn ang="0">
                  <a:pos x="21" y="205"/>
                </a:cxn>
                <a:cxn ang="0">
                  <a:pos x="32" y="213"/>
                </a:cxn>
                <a:cxn ang="0">
                  <a:pos x="44" y="220"/>
                </a:cxn>
                <a:cxn ang="0">
                  <a:pos x="58" y="223"/>
                </a:cxn>
                <a:cxn ang="0">
                  <a:pos x="82" y="223"/>
                </a:cxn>
                <a:cxn ang="0">
                  <a:pos x="106" y="217"/>
                </a:cxn>
                <a:cxn ang="0">
                  <a:pos x="126" y="211"/>
                </a:cxn>
                <a:cxn ang="0">
                  <a:pos x="148" y="205"/>
                </a:cxn>
                <a:cxn ang="0">
                  <a:pos x="177" y="205"/>
                </a:cxn>
                <a:cxn ang="0">
                  <a:pos x="188" y="200"/>
                </a:cxn>
                <a:cxn ang="0">
                  <a:pos x="197" y="188"/>
                </a:cxn>
                <a:cxn ang="0">
                  <a:pos x="212" y="177"/>
                </a:cxn>
                <a:cxn ang="0">
                  <a:pos x="228" y="171"/>
                </a:cxn>
              </a:cxnLst>
              <a:rect l="0" t="0" r="r" b="b"/>
              <a:pathLst>
                <a:path w="318" h="223">
                  <a:moveTo>
                    <a:pt x="234" y="169"/>
                  </a:moveTo>
                  <a:lnTo>
                    <a:pt x="242" y="168"/>
                  </a:lnTo>
                  <a:lnTo>
                    <a:pt x="250" y="165"/>
                  </a:lnTo>
                  <a:lnTo>
                    <a:pt x="258" y="160"/>
                  </a:lnTo>
                  <a:lnTo>
                    <a:pt x="265" y="153"/>
                  </a:lnTo>
                  <a:lnTo>
                    <a:pt x="273" y="145"/>
                  </a:lnTo>
                  <a:lnTo>
                    <a:pt x="280" y="137"/>
                  </a:lnTo>
                  <a:lnTo>
                    <a:pt x="286" y="127"/>
                  </a:lnTo>
                  <a:lnTo>
                    <a:pt x="293" y="116"/>
                  </a:lnTo>
                  <a:lnTo>
                    <a:pt x="304" y="95"/>
                  </a:lnTo>
                  <a:lnTo>
                    <a:pt x="312" y="72"/>
                  </a:lnTo>
                  <a:lnTo>
                    <a:pt x="317" y="52"/>
                  </a:lnTo>
                  <a:lnTo>
                    <a:pt x="318" y="36"/>
                  </a:lnTo>
                  <a:lnTo>
                    <a:pt x="318" y="24"/>
                  </a:lnTo>
                  <a:lnTo>
                    <a:pt x="318" y="12"/>
                  </a:lnTo>
                  <a:lnTo>
                    <a:pt x="301" y="7"/>
                  </a:lnTo>
                  <a:lnTo>
                    <a:pt x="282" y="0"/>
                  </a:lnTo>
                  <a:lnTo>
                    <a:pt x="264" y="4"/>
                  </a:lnTo>
                  <a:lnTo>
                    <a:pt x="232" y="12"/>
                  </a:lnTo>
                  <a:lnTo>
                    <a:pt x="214" y="17"/>
                  </a:lnTo>
                  <a:lnTo>
                    <a:pt x="200" y="23"/>
                  </a:lnTo>
                  <a:lnTo>
                    <a:pt x="193" y="27"/>
                  </a:lnTo>
                  <a:lnTo>
                    <a:pt x="188" y="29"/>
                  </a:lnTo>
                  <a:lnTo>
                    <a:pt x="184" y="33"/>
                  </a:lnTo>
                  <a:lnTo>
                    <a:pt x="180" y="36"/>
                  </a:lnTo>
                  <a:lnTo>
                    <a:pt x="172" y="51"/>
                  </a:lnTo>
                  <a:lnTo>
                    <a:pt x="165" y="65"/>
                  </a:lnTo>
                  <a:lnTo>
                    <a:pt x="161" y="72"/>
                  </a:lnTo>
                  <a:lnTo>
                    <a:pt x="158" y="77"/>
                  </a:lnTo>
                  <a:lnTo>
                    <a:pt x="154" y="81"/>
                  </a:lnTo>
                  <a:lnTo>
                    <a:pt x="150" y="85"/>
                  </a:lnTo>
                  <a:lnTo>
                    <a:pt x="132" y="85"/>
                  </a:lnTo>
                  <a:lnTo>
                    <a:pt x="132" y="79"/>
                  </a:lnTo>
                  <a:lnTo>
                    <a:pt x="129" y="73"/>
                  </a:lnTo>
                  <a:lnTo>
                    <a:pt x="125" y="69"/>
                  </a:lnTo>
                  <a:lnTo>
                    <a:pt x="121" y="65"/>
                  </a:lnTo>
                  <a:lnTo>
                    <a:pt x="117" y="64"/>
                  </a:lnTo>
                  <a:lnTo>
                    <a:pt x="112" y="61"/>
                  </a:lnTo>
                  <a:lnTo>
                    <a:pt x="106" y="61"/>
                  </a:lnTo>
                  <a:lnTo>
                    <a:pt x="102" y="60"/>
                  </a:lnTo>
                  <a:lnTo>
                    <a:pt x="96" y="61"/>
                  </a:lnTo>
                  <a:lnTo>
                    <a:pt x="90" y="64"/>
                  </a:lnTo>
                  <a:lnTo>
                    <a:pt x="85" y="68"/>
                  </a:lnTo>
                  <a:lnTo>
                    <a:pt x="81" y="72"/>
                  </a:lnTo>
                  <a:lnTo>
                    <a:pt x="74" y="84"/>
                  </a:lnTo>
                  <a:lnTo>
                    <a:pt x="69" y="99"/>
                  </a:lnTo>
                  <a:lnTo>
                    <a:pt x="61" y="129"/>
                  </a:lnTo>
                  <a:lnTo>
                    <a:pt x="53" y="151"/>
                  </a:lnTo>
                  <a:lnTo>
                    <a:pt x="45" y="148"/>
                  </a:lnTo>
                  <a:lnTo>
                    <a:pt x="38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0" y="127"/>
                  </a:lnTo>
                  <a:lnTo>
                    <a:pt x="12" y="115"/>
                  </a:lnTo>
                  <a:lnTo>
                    <a:pt x="0" y="115"/>
                  </a:lnTo>
                  <a:lnTo>
                    <a:pt x="0" y="132"/>
                  </a:lnTo>
                  <a:lnTo>
                    <a:pt x="0" y="145"/>
                  </a:lnTo>
                  <a:lnTo>
                    <a:pt x="1" y="160"/>
                  </a:lnTo>
                  <a:lnTo>
                    <a:pt x="4" y="175"/>
                  </a:lnTo>
                  <a:lnTo>
                    <a:pt x="9" y="188"/>
                  </a:lnTo>
                  <a:lnTo>
                    <a:pt x="17" y="200"/>
                  </a:lnTo>
                  <a:lnTo>
                    <a:pt x="21" y="205"/>
                  </a:lnTo>
                  <a:lnTo>
                    <a:pt x="26" y="209"/>
                  </a:lnTo>
                  <a:lnTo>
                    <a:pt x="32" y="213"/>
                  </a:lnTo>
                  <a:lnTo>
                    <a:pt x="37" y="217"/>
                  </a:lnTo>
                  <a:lnTo>
                    <a:pt x="44" y="220"/>
                  </a:lnTo>
                  <a:lnTo>
                    <a:pt x="50" y="221"/>
                  </a:lnTo>
                  <a:lnTo>
                    <a:pt x="58" y="223"/>
                  </a:lnTo>
                  <a:lnTo>
                    <a:pt x="66" y="223"/>
                  </a:lnTo>
                  <a:lnTo>
                    <a:pt x="82" y="223"/>
                  </a:lnTo>
                  <a:lnTo>
                    <a:pt x="96" y="220"/>
                  </a:lnTo>
                  <a:lnTo>
                    <a:pt x="106" y="217"/>
                  </a:lnTo>
                  <a:lnTo>
                    <a:pt x="116" y="215"/>
                  </a:lnTo>
                  <a:lnTo>
                    <a:pt x="126" y="211"/>
                  </a:lnTo>
                  <a:lnTo>
                    <a:pt x="136" y="208"/>
                  </a:lnTo>
                  <a:lnTo>
                    <a:pt x="148" y="205"/>
                  </a:lnTo>
                  <a:lnTo>
                    <a:pt x="162" y="205"/>
                  </a:lnTo>
                  <a:lnTo>
                    <a:pt x="177" y="205"/>
                  </a:lnTo>
                  <a:lnTo>
                    <a:pt x="186" y="205"/>
                  </a:lnTo>
                  <a:lnTo>
                    <a:pt x="188" y="200"/>
                  </a:lnTo>
                  <a:lnTo>
                    <a:pt x="192" y="195"/>
                  </a:lnTo>
                  <a:lnTo>
                    <a:pt x="197" y="188"/>
                  </a:lnTo>
                  <a:lnTo>
                    <a:pt x="204" y="183"/>
                  </a:lnTo>
                  <a:lnTo>
                    <a:pt x="212" y="177"/>
                  </a:lnTo>
                  <a:lnTo>
                    <a:pt x="220" y="173"/>
                  </a:lnTo>
                  <a:lnTo>
                    <a:pt x="228" y="171"/>
                  </a:lnTo>
                  <a:lnTo>
                    <a:pt x="234" y="16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0" name="Freeform 106"/>
            <p:cNvSpPr>
              <a:spLocks/>
            </p:cNvSpPr>
            <p:nvPr/>
          </p:nvSpPr>
          <p:spPr bwMode="auto">
            <a:xfrm>
              <a:off x="6069334" y="2466975"/>
              <a:ext cx="107950" cy="101600"/>
            </a:xfrm>
            <a:custGeom>
              <a:avLst/>
              <a:gdLst/>
              <a:ahLst/>
              <a:cxnLst>
                <a:cxn ang="0">
                  <a:pos x="45" y="1"/>
                </a:cxn>
                <a:cxn ang="0">
                  <a:pos x="38" y="6"/>
                </a:cxn>
                <a:cxn ang="0">
                  <a:pos x="28" y="22"/>
                </a:cxn>
                <a:cxn ang="0">
                  <a:pos x="12" y="50"/>
                </a:cxn>
                <a:cxn ang="0">
                  <a:pos x="1" y="76"/>
                </a:cxn>
                <a:cxn ang="0">
                  <a:pos x="1" y="96"/>
                </a:cxn>
                <a:cxn ang="0">
                  <a:pos x="9" y="113"/>
                </a:cxn>
                <a:cxn ang="0">
                  <a:pos x="20" y="129"/>
                </a:cxn>
                <a:cxn ang="0">
                  <a:pos x="29" y="146"/>
                </a:cxn>
                <a:cxn ang="0">
                  <a:pos x="29" y="168"/>
                </a:cxn>
                <a:cxn ang="0">
                  <a:pos x="22" y="180"/>
                </a:cxn>
                <a:cxn ang="0">
                  <a:pos x="13" y="188"/>
                </a:cxn>
                <a:cxn ang="0">
                  <a:pos x="6" y="198"/>
                </a:cxn>
                <a:cxn ang="0">
                  <a:pos x="12" y="209"/>
                </a:cxn>
                <a:cxn ang="0">
                  <a:pos x="21" y="210"/>
                </a:cxn>
                <a:cxn ang="0">
                  <a:pos x="28" y="200"/>
                </a:cxn>
                <a:cxn ang="0">
                  <a:pos x="38" y="181"/>
                </a:cxn>
                <a:cxn ang="0">
                  <a:pos x="44" y="172"/>
                </a:cxn>
                <a:cxn ang="0">
                  <a:pos x="50" y="164"/>
                </a:cxn>
                <a:cxn ang="0">
                  <a:pos x="66" y="157"/>
                </a:cxn>
                <a:cxn ang="0">
                  <a:pos x="104" y="149"/>
                </a:cxn>
                <a:cxn ang="0">
                  <a:pos x="138" y="138"/>
                </a:cxn>
                <a:cxn ang="0">
                  <a:pos x="173" y="125"/>
                </a:cxn>
                <a:cxn ang="0">
                  <a:pos x="197" y="112"/>
                </a:cxn>
                <a:cxn ang="0">
                  <a:pos x="209" y="101"/>
                </a:cxn>
                <a:cxn ang="0">
                  <a:pos x="217" y="88"/>
                </a:cxn>
                <a:cxn ang="0">
                  <a:pos x="222" y="70"/>
                </a:cxn>
                <a:cxn ang="0">
                  <a:pos x="222" y="54"/>
                </a:cxn>
                <a:cxn ang="0">
                  <a:pos x="220" y="42"/>
                </a:cxn>
                <a:cxn ang="0">
                  <a:pos x="212" y="29"/>
                </a:cxn>
                <a:cxn ang="0">
                  <a:pos x="194" y="14"/>
                </a:cxn>
                <a:cxn ang="0">
                  <a:pos x="170" y="6"/>
                </a:cxn>
                <a:cxn ang="0">
                  <a:pos x="129" y="1"/>
                </a:cxn>
                <a:cxn ang="0">
                  <a:pos x="73" y="1"/>
                </a:cxn>
              </a:cxnLst>
              <a:rect l="0" t="0" r="r" b="b"/>
              <a:pathLst>
                <a:path w="222" h="212">
                  <a:moveTo>
                    <a:pt x="48" y="1"/>
                  </a:moveTo>
                  <a:lnTo>
                    <a:pt x="45" y="1"/>
                  </a:lnTo>
                  <a:lnTo>
                    <a:pt x="42" y="4"/>
                  </a:lnTo>
                  <a:lnTo>
                    <a:pt x="38" y="6"/>
                  </a:lnTo>
                  <a:lnTo>
                    <a:pt x="36" y="12"/>
                  </a:lnTo>
                  <a:lnTo>
                    <a:pt x="28" y="22"/>
                  </a:lnTo>
                  <a:lnTo>
                    <a:pt x="20" y="36"/>
                  </a:lnTo>
                  <a:lnTo>
                    <a:pt x="12" y="50"/>
                  </a:lnTo>
                  <a:lnTo>
                    <a:pt x="5" y="64"/>
                  </a:lnTo>
                  <a:lnTo>
                    <a:pt x="1" y="76"/>
                  </a:lnTo>
                  <a:lnTo>
                    <a:pt x="0" y="85"/>
                  </a:lnTo>
                  <a:lnTo>
                    <a:pt x="1" y="96"/>
                  </a:lnTo>
                  <a:lnTo>
                    <a:pt x="4" y="105"/>
                  </a:lnTo>
                  <a:lnTo>
                    <a:pt x="9" y="113"/>
                  </a:lnTo>
                  <a:lnTo>
                    <a:pt x="14" y="121"/>
                  </a:lnTo>
                  <a:lnTo>
                    <a:pt x="20" y="129"/>
                  </a:lnTo>
                  <a:lnTo>
                    <a:pt x="25" y="137"/>
                  </a:lnTo>
                  <a:lnTo>
                    <a:pt x="29" y="146"/>
                  </a:lnTo>
                  <a:lnTo>
                    <a:pt x="30" y="157"/>
                  </a:lnTo>
                  <a:lnTo>
                    <a:pt x="29" y="168"/>
                  </a:lnTo>
                  <a:lnTo>
                    <a:pt x="26" y="174"/>
                  </a:lnTo>
                  <a:lnTo>
                    <a:pt x="22" y="180"/>
                  </a:lnTo>
                  <a:lnTo>
                    <a:pt x="17" y="184"/>
                  </a:lnTo>
                  <a:lnTo>
                    <a:pt x="13" y="188"/>
                  </a:lnTo>
                  <a:lnTo>
                    <a:pt x="9" y="192"/>
                  </a:lnTo>
                  <a:lnTo>
                    <a:pt x="6" y="198"/>
                  </a:lnTo>
                  <a:lnTo>
                    <a:pt x="5" y="205"/>
                  </a:lnTo>
                  <a:lnTo>
                    <a:pt x="12" y="209"/>
                  </a:lnTo>
                  <a:lnTo>
                    <a:pt x="17" y="212"/>
                  </a:lnTo>
                  <a:lnTo>
                    <a:pt x="21" y="210"/>
                  </a:lnTo>
                  <a:lnTo>
                    <a:pt x="24" y="206"/>
                  </a:lnTo>
                  <a:lnTo>
                    <a:pt x="28" y="200"/>
                  </a:lnTo>
                  <a:lnTo>
                    <a:pt x="32" y="193"/>
                  </a:lnTo>
                  <a:lnTo>
                    <a:pt x="38" y="181"/>
                  </a:lnTo>
                  <a:lnTo>
                    <a:pt x="42" y="176"/>
                  </a:lnTo>
                  <a:lnTo>
                    <a:pt x="44" y="172"/>
                  </a:lnTo>
                  <a:lnTo>
                    <a:pt x="46" y="168"/>
                  </a:lnTo>
                  <a:lnTo>
                    <a:pt x="50" y="164"/>
                  </a:lnTo>
                  <a:lnTo>
                    <a:pt x="54" y="161"/>
                  </a:lnTo>
                  <a:lnTo>
                    <a:pt x="66" y="157"/>
                  </a:lnTo>
                  <a:lnTo>
                    <a:pt x="78" y="153"/>
                  </a:lnTo>
                  <a:lnTo>
                    <a:pt x="104" y="149"/>
                  </a:lnTo>
                  <a:lnTo>
                    <a:pt x="120" y="145"/>
                  </a:lnTo>
                  <a:lnTo>
                    <a:pt x="138" y="138"/>
                  </a:lnTo>
                  <a:lnTo>
                    <a:pt x="157" y="132"/>
                  </a:lnTo>
                  <a:lnTo>
                    <a:pt x="173" y="125"/>
                  </a:lnTo>
                  <a:lnTo>
                    <a:pt x="189" y="117"/>
                  </a:lnTo>
                  <a:lnTo>
                    <a:pt x="197" y="112"/>
                  </a:lnTo>
                  <a:lnTo>
                    <a:pt x="202" y="106"/>
                  </a:lnTo>
                  <a:lnTo>
                    <a:pt x="209" y="101"/>
                  </a:lnTo>
                  <a:lnTo>
                    <a:pt x="213" y="94"/>
                  </a:lnTo>
                  <a:lnTo>
                    <a:pt x="217" y="88"/>
                  </a:lnTo>
                  <a:lnTo>
                    <a:pt x="220" y="80"/>
                  </a:lnTo>
                  <a:lnTo>
                    <a:pt x="222" y="70"/>
                  </a:lnTo>
                  <a:lnTo>
                    <a:pt x="222" y="61"/>
                  </a:lnTo>
                  <a:lnTo>
                    <a:pt x="222" y="54"/>
                  </a:lnTo>
                  <a:lnTo>
                    <a:pt x="221" y="49"/>
                  </a:lnTo>
                  <a:lnTo>
                    <a:pt x="220" y="42"/>
                  </a:lnTo>
                  <a:lnTo>
                    <a:pt x="217" y="37"/>
                  </a:lnTo>
                  <a:lnTo>
                    <a:pt x="212" y="29"/>
                  </a:lnTo>
                  <a:lnTo>
                    <a:pt x="204" y="21"/>
                  </a:lnTo>
                  <a:lnTo>
                    <a:pt x="194" y="14"/>
                  </a:lnTo>
                  <a:lnTo>
                    <a:pt x="184" y="10"/>
                  </a:lnTo>
                  <a:lnTo>
                    <a:pt x="170" y="6"/>
                  </a:lnTo>
                  <a:lnTo>
                    <a:pt x="158" y="4"/>
                  </a:lnTo>
                  <a:lnTo>
                    <a:pt x="129" y="1"/>
                  </a:lnTo>
                  <a:lnTo>
                    <a:pt x="101" y="0"/>
                  </a:lnTo>
                  <a:lnTo>
                    <a:pt x="73" y="1"/>
                  </a:lnTo>
                  <a:lnTo>
                    <a:pt x="48" y="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1" name="Freeform 107"/>
            <p:cNvSpPr>
              <a:spLocks/>
            </p:cNvSpPr>
            <p:nvPr/>
          </p:nvSpPr>
          <p:spPr bwMode="auto">
            <a:xfrm>
              <a:off x="2130747" y="3509963"/>
              <a:ext cx="1250950" cy="769937"/>
            </a:xfrm>
            <a:custGeom>
              <a:avLst/>
              <a:gdLst/>
              <a:ahLst/>
              <a:cxnLst>
                <a:cxn ang="0">
                  <a:pos x="1446" y="1419"/>
                </a:cxn>
                <a:cxn ang="0">
                  <a:pos x="1531" y="1168"/>
                </a:cxn>
                <a:cxn ang="0">
                  <a:pos x="1639" y="1014"/>
                </a:cxn>
                <a:cxn ang="0">
                  <a:pos x="1720" y="863"/>
                </a:cxn>
                <a:cxn ang="0">
                  <a:pos x="1800" y="875"/>
                </a:cxn>
                <a:cxn ang="0">
                  <a:pos x="1900" y="845"/>
                </a:cxn>
                <a:cxn ang="0">
                  <a:pos x="2073" y="743"/>
                </a:cxn>
                <a:cxn ang="0">
                  <a:pos x="2344" y="607"/>
                </a:cxn>
                <a:cxn ang="0">
                  <a:pos x="2537" y="490"/>
                </a:cxn>
                <a:cxn ang="0">
                  <a:pos x="2555" y="408"/>
                </a:cxn>
                <a:cxn ang="0">
                  <a:pos x="2517" y="338"/>
                </a:cxn>
                <a:cxn ang="0">
                  <a:pos x="2568" y="264"/>
                </a:cxn>
                <a:cxn ang="0">
                  <a:pos x="2444" y="281"/>
                </a:cxn>
                <a:cxn ang="0">
                  <a:pos x="2201" y="445"/>
                </a:cxn>
                <a:cxn ang="0">
                  <a:pos x="1834" y="332"/>
                </a:cxn>
                <a:cxn ang="0">
                  <a:pos x="1380" y="46"/>
                </a:cxn>
                <a:cxn ang="0">
                  <a:pos x="1291" y="0"/>
                </a:cxn>
                <a:cxn ang="0">
                  <a:pos x="1063" y="40"/>
                </a:cxn>
                <a:cxn ang="0">
                  <a:pos x="878" y="80"/>
                </a:cxn>
                <a:cxn ang="0">
                  <a:pos x="789" y="214"/>
                </a:cxn>
                <a:cxn ang="0">
                  <a:pos x="827" y="260"/>
                </a:cxn>
                <a:cxn ang="0">
                  <a:pos x="841" y="433"/>
                </a:cxn>
                <a:cxn ang="0">
                  <a:pos x="785" y="449"/>
                </a:cxn>
                <a:cxn ang="0">
                  <a:pos x="719" y="412"/>
                </a:cxn>
                <a:cxn ang="0">
                  <a:pos x="686" y="384"/>
                </a:cxn>
                <a:cxn ang="0">
                  <a:pos x="582" y="373"/>
                </a:cxn>
                <a:cxn ang="0">
                  <a:pos x="393" y="248"/>
                </a:cxn>
                <a:cxn ang="0">
                  <a:pos x="338" y="278"/>
                </a:cxn>
                <a:cxn ang="0">
                  <a:pos x="380" y="401"/>
                </a:cxn>
                <a:cxn ang="0">
                  <a:pos x="352" y="537"/>
                </a:cxn>
                <a:cxn ang="0">
                  <a:pos x="357" y="587"/>
                </a:cxn>
                <a:cxn ang="0">
                  <a:pos x="250" y="661"/>
                </a:cxn>
                <a:cxn ang="0">
                  <a:pos x="234" y="757"/>
                </a:cxn>
                <a:cxn ang="0">
                  <a:pos x="350" y="782"/>
                </a:cxn>
                <a:cxn ang="0">
                  <a:pos x="417" y="729"/>
                </a:cxn>
                <a:cxn ang="0">
                  <a:pos x="488" y="793"/>
                </a:cxn>
                <a:cxn ang="0">
                  <a:pos x="361" y="914"/>
                </a:cxn>
                <a:cxn ang="0">
                  <a:pos x="306" y="970"/>
                </a:cxn>
                <a:cxn ang="0">
                  <a:pos x="308" y="1046"/>
                </a:cxn>
                <a:cxn ang="0">
                  <a:pos x="161" y="1078"/>
                </a:cxn>
                <a:cxn ang="0">
                  <a:pos x="84" y="1155"/>
                </a:cxn>
                <a:cxn ang="0">
                  <a:pos x="17" y="1306"/>
                </a:cxn>
                <a:cxn ang="0">
                  <a:pos x="17" y="1366"/>
                </a:cxn>
                <a:cxn ang="0">
                  <a:pos x="42" y="1511"/>
                </a:cxn>
                <a:cxn ang="0">
                  <a:pos x="106" y="1511"/>
                </a:cxn>
                <a:cxn ang="0">
                  <a:pos x="224" y="1470"/>
                </a:cxn>
                <a:cxn ang="0">
                  <a:pos x="313" y="1464"/>
                </a:cxn>
                <a:cxn ang="0">
                  <a:pos x="349" y="1510"/>
                </a:cxn>
                <a:cxn ang="0">
                  <a:pos x="414" y="1474"/>
                </a:cxn>
                <a:cxn ang="0">
                  <a:pos x="474" y="1451"/>
                </a:cxn>
                <a:cxn ang="0">
                  <a:pos x="464" y="1351"/>
                </a:cxn>
                <a:cxn ang="0">
                  <a:pos x="526" y="1352"/>
                </a:cxn>
                <a:cxn ang="0">
                  <a:pos x="655" y="1388"/>
                </a:cxn>
                <a:cxn ang="0">
                  <a:pos x="685" y="1443"/>
                </a:cxn>
                <a:cxn ang="0">
                  <a:pos x="771" y="1503"/>
                </a:cxn>
                <a:cxn ang="0">
                  <a:pos x="994" y="1502"/>
                </a:cxn>
                <a:cxn ang="0">
                  <a:pos x="1097" y="1498"/>
                </a:cxn>
                <a:cxn ang="0">
                  <a:pos x="1296" y="1584"/>
                </a:cxn>
              </a:cxnLst>
              <a:rect l="0" t="0" r="r" b="b"/>
              <a:pathLst>
                <a:path w="2577" h="1584">
                  <a:moveTo>
                    <a:pt x="1396" y="1503"/>
                  </a:moveTo>
                  <a:lnTo>
                    <a:pt x="1398" y="1496"/>
                  </a:lnTo>
                  <a:lnTo>
                    <a:pt x="1399" y="1490"/>
                  </a:lnTo>
                  <a:lnTo>
                    <a:pt x="1400" y="1484"/>
                  </a:lnTo>
                  <a:lnTo>
                    <a:pt x="1403" y="1478"/>
                  </a:lnTo>
                  <a:lnTo>
                    <a:pt x="1411" y="1464"/>
                  </a:lnTo>
                  <a:lnTo>
                    <a:pt x="1419" y="1452"/>
                  </a:lnTo>
                  <a:lnTo>
                    <a:pt x="1428" y="1442"/>
                  </a:lnTo>
                  <a:lnTo>
                    <a:pt x="1438" y="1430"/>
                  </a:lnTo>
                  <a:lnTo>
                    <a:pt x="1446" y="1419"/>
                  </a:lnTo>
                  <a:lnTo>
                    <a:pt x="1451" y="1407"/>
                  </a:lnTo>
                  <a:lnTo>
                    <a:pt x="1463" y="1371"/>
                  </a:lnTo>
                  <a:lnTo>
                    <a:pt x="1472" y="1338"/>
                  </a:lnTo>
                  <a:lnTo>
                    <a:pt x="1479" y="1304"/>
                  </a:lnTo>
                  <a:lnTo>
                    <a:pt x="1487" y="1271"/>
                  </a:lnTo>
                  <a:lnTo>
                    <a:pt x="1496" y="1240"/>
                  </a:lnTo>
                  <a:lnTo>
                    <a:pt x="1507" y="1211"/>
                  </a:lnTo>
                  <a:lnTo>
                    <a:pt x="1514" y="1196"/>
                  </a:lnTo>
                  <a:lnTo>
                    <a:pt x="1522" y="1182"/>
                  </a:lnTo>
                  <a:lnTo>
                    <a:pt x="1531" y="1168"/>
                  </a:lnTo>
                  <a:lnTo>
                    <a:pt x="1542" y="1154"/>
                  </a:lnTo>
                  <a:lnTo>
                    <a:pt x="1563" y="1130"/>
                  </a:lnTo>
                  <a:lnTo>
                    <a:pt x="1594" y="1101"/>
                  </a:lnTo>
                  <a:lnTo>
                    <a:pt x="1608" y="1085"/>
                  </a:lnTo>
                  <a:lnTo>
                    <a:pt x="1620" y="1070"/>
                  </a:lnTo>
                  <a:lnTo>
                    <a:pt x="1624" y="1063"/>
                  </a:lnTo>
                  <a:lnTo>
                    <a:pt x="1628" y="1057"/>
                  </a:lnTo>
                  <a:lnTo>
                    <a:pt x="1631" y="1051"/>
                  </a:lnTo>
                  <a:lnTo>
                    <a:pt x="1631" y="1046"/>
                  </a:lnTo>
                  <a:lnTo>
                    <a:pt x="1639" y="1014"/>
                  </a:lnTo>
                  <a:lnTo>
                    <a:pt x="1647" y="981"/>
                  </a:lnTo>
                  <a:lnTo>
                    <a:pt x="1652" y="963"/>
                  </a:lnTo>
                  <a:lnTo>
                    <a:pt x="1658" y="947"/>
                  </a:lnTo>
                  <a:lnTo>
                    <a:pt x="1664" y="933"/>
                  </a:lnTo>
                  <a:lnTo>
                    <a:pt x="1671" y="918"/>
                  </a:lnTo>
                  <a:lnTo>
                    <a:pt x="1679" y="905"/>
                  </a:lnTo>
                  <a:lnTo>
                    <a:pt x="1687" y="891"/>
                  </a:lnTo>
                  <a:lnTo>
                    <a:pt x="1698" y="881"/>
                  </a:lnTo>
                  <a:lnTo>
                    <a:pt x="1708" y="871"/>
                  </a:lnTo>
                  <a:lnTo>
                    <a:pt x="1720" y="863"/>
                  </a:lnTo>
                  <a:lnTo>
                    <a:pt x="1734" y="858"/>
                  </a:lnTo>
                  <a:lnTo>
                    <a:pt x="1748" y="854"/>
                  </a:lnTo>
                  <a:lnTo>
                    <a:pt x="1764" y="853"/>
                  </a:lnTo>
                  <a:lnTo>
                    <a:pt x="1771" y="853"/>
                  </a:lnTo>
                  <a:lnTo>
                    <a:pt x="1775" y="853"/>
                  </a:lnTo>
                  <a:lnTo>
                    <a:pt x="1782" y="853"/>
                  </a:lnTo>
                  <a:lnTo>
                    <a:pt x="1794" y="853"/>
                  </a:lnTo>
                  <a:lnTo>
                    <a:pt x="1795" y="861"/>
                  </a:lnTo>
                  <a:lnTo>
                    <a:pt x="1798" y="870"/>
                  </a:lnTo>
                  <a:lnTo>
                    <a:pt x="1800" y="875"/>
                  </a:lnTo>
                  <a:lnTo>
                    <a:pt x="1802" y="879"/>
                  </a:lnTo>
                  <a:lnTo>
                    <a:pt x="1804" y="882"/>
                  </a:lnTo>
                  <a:lnTo>
                    <a:pt x="1806" y="883"/>
                  </a:lnTo>
                  <a:lnTo>
                    <a:pt x="1823" y="882"/>
                  </a:lnTo>
                  <a:lnTo>
                    <a:pt x="1838" y="879"/>
                  </a:lnTo>
                  <a:lnTo>
                    <a:pt x="1851" y="875"/>
                  </a:lnTo>
                  <a:lnTo>
                    <a:pt x="1864" y="869"/>
                  </a:lnTo>
                  <a:lnTo>
                    <a:pt x="1878" y="862"/>
                  </a:lnTo>
                  <a:lnTo>
                    <a:pt x="1888" y="854"/>
                  </a:lnTo>
                  <a:lnTo>
                    <a:pt x="1900" y="845"/>
                  </a:lnTo>
                  <a:lnTo>
                    <a:pt x="1912" y="835"/>
                  </a:lnTo>
                  <a:lnTo>
                    <a:pt x="1935" y="815"/>
                  </a:lnTo>
                  <a:lnTo>
                    <a:pt x="1959" y="797"/>
                  </a:lnTo>
                  <a:lnTo>
                    <a:pt x="1972" y="789"/>
                  </a:lnTo>
                  <a:lnTo>
                    <a:pt x="1986" y="781"/>
                  </a:lnTo>
                  <a:lnTo>
                    <a:pt x="2000" y="774"/>
                  </a:lnTo>
                  <a:lnTo>
                    <a:pt x="2017" y="769"/>
                  </a:lnTo>
                  <a:lnTo>
                    <a:pt x="2036" y="761"/>
                  </a:lnTo>
                  <a:lnTo>
                    <a:pt x="2056" y="751"/>
                  </a:lnTo>
                  <a:lnTo>
                    <a:pt x="2073" y="743"/>
                  </a:lnTo>
                  <a:lnTo>
                    <a:pt x="2091" y="734"/>
                  </a:lnTo>
                  <a:lnTo>
                    <a:pt x="2124" y="714"/>
                  </a:lnTo>
                  <a:lnTo>
                    <a:pt x="2157" y="694"/>
                  </a:lnTo>
                  <a:lnTo>
                    <a:pt x="2192" y="673"/>
                  </a:lnTo>
                  <a:lnTo>
                    <a:pt x="2228" y="654"/>
                  </a:lnTo>
                  <a:lnTo>
                    <a:pt x="2247" y="645"/>
                  </a:lnTo>
                  <a:lnTo>
                    <a:pt x="2268" y="635"/>
                  </a:lnTo>
                  <a:lnTo>
                    <a:pt x="2289" y="626"/>
                  </a:lnTo>
                  <a:lnTo>
                    <a:pt x="2312" y="618"/>
                  </a:lnTo>
                  <a:lnTo>
                    <a:pt x="2344" y="607"/>
                  </a:lnTo>
                  <a:lnTo>
                    <a:pt x="2381" y="593"/>
                  </a:lnTo>
                  <a:lnTo>
                    <a:pt x="2401" y="585"/>
                  </a:lnTo>
                  <a:lnTo>
                    <a:pt x="2421" y="575"/>
                  </a:lnTo>
                  <a:lnTo>
                    <a:pt x="2443" y="565"/>
                  </a:lnTo>
                  <a:lnTo>
                    <a:pt x="2463" y="554"/>
                  </a:lnTo>
                  <a:lnTo>
                    <a:pt x="2481" y="541"/>
                  </a:lnTo>
                  <a:lnTo>
                    <a:pt x="2500" y="528"/>
                  </a:lnTo>
                  <a:lnTo>
                    <a:pt x="2516" y="514"/>
                  </a:lnTo>
                  <a:lnTo>
                    <a:pt x="2531" y="498"/>
                  </a:lnTo>
                  <a:lnTo>
                    <a:pt x="2537" y="490"/>
                  </a:lnTo>
                  <a:lnTo>
                    <a:pt x="2543" y="482"/>
                  </a:lnTo>
                  <a:lnTo>
                    <a:pt x="2547" y="473"/>
                  </a:lnTo>
                  <a:lnTo>
                    <a:pt x="2552" y="464"/>
                  </a:lnTo>
                  <a:lnTo>
                    <a:pt x="2555" y="456"/>
                  </a:lnTo>
                  <a:lnTo>
                    <a:pt x="2557" y="445"/>
                  </a:lnTo>
                  <a:lnTo>
                    <a:pt x="2559" y="436"/>
                  </a:lnTo>
                  <a:lnTo>
                    <a:pt x="2559" y="426"/>
                  </a:lnTo>
                  <a:lnTo>
                    <a:pt x="2559" y="420"/>
                  </a:lnTo>
                  <a:lnTo>
                    <a:pt x="2557" y="413"/>
                  </a:lnTo>
                  <a:lnTo>
                    <a:pt x="2555" y="408"/>
                  </a:lnTo>
                  <a:lnTo>
                    <a:pt x="2552" y="401"/>
                  </a:lnTo>
                  <a:lnTo>
                    <a:pt x="2545" y="392"/>
                  </a:lnTo>
                  <a:lnTo>
                    <a:pt x="2537" y="382"/>
                  </a:lnTo>
                  <a:lnTo>
                    <a:pt x="2531" y="373"/>
                  </a:lnTo>
                  <a:lnTo>
                    <a:pt x="2524" y="365"/>
                  </a:lnTo>
                  <a:lnTo>
                    <a:pt x="2521" y="361"/>
                  </a:lnTo>
                  <a:lnTo>
                    <a:pt x="2519" y="356"/>
                  </a:lnTo>
                  <a:lnTo>
                    <a:pt x="2517" y="352"/>
                  </a:lnTo>
                  <a:lnTo>
                    <a:pt x="2517" y="348"/>
                  </a:lnTo>
                  <a:lnTo>
                    <a:pt x="2517" y="338"/>
                  </a:lnTo>
                  <a:lnTo>
                    <a:pt x="2519" y="332"/>
                  </a:lnTo>
                  <a:lnTo>
                    <a:pt x="2521" y="324"/>
                  </a:lnTo>
                  <a:lnTo>
                    <a:pt x="2524" y="318"/>
                  </a:lnTo>
                  <a:lnTo>
                    <a:pt x="2531" y="308"/>
                  </a:lnTo>
                  <a:lnTo>
                    <a:pt x="2540" y="298"/>
                  </a:lnTo>
                  <a:lnTo>
                    <a:pt x="2548" y="289"/>
                  </a:lnTo>
                  <a:lnTo>
                    <a:pt x="2557" y="280"/>
                  </a:lnTo>
                  <a:lnTo>
                    <a:pt x="2561" y="274"/>
                  </a:lnTo>
                  <a:lnTo>
                    <a:pt x="2565" y="269"/>
                  </a:lnTo>
                  <a:lnTo>
                    <a:pt x="2568" y="264"/>
                  </a:lnTo>
                  <a:lnTo>
                    <a:pt x="2571" y="257"/>
                  </a:lnTo>
                  <a:lnTo>
                    <a:pt x="2577" y="245"/>
                  </a:lnTo>
                  <a:lnTo>
                    <a:pt x="2559" y="246"/>
                  </a:lnTo>
                  <a:lnTo>
                    <a:pt x="2540" y="248"/>
                  </a:lnTo>
                  <a:lnTo>
                    <a:pt x="2523" y="250"/>
                  </a:lnTo>
                  <a:lnTo>
                    <a:pt x="2505" y="256"/>
                  </a:lnTo>
                  <a:lnTo>
                    <a:pt x="2489" y="261"/>
                  </a:lnTo>
                  <a:lnTo>
                    <a:pt x="2475" y="266"/>
                  </a:lnTo>
                  <a:lnTo>
                    <a:pt x="2459" y="273"/>
                  </a:lnTo>
                  <a:lnTo>
                    <a:pt x="2444" y="281"/>
                  </a:lnTo>
                  <a:lnTo>
                    <a:pt x="2416" y="298"/>
                  </a:lnTo>
                  <a:lnTo>
                    <a:pt x="2389" y="318"/>
                  </a:lnTo>
                  <a:lnTo>
                    <a:pt x="2363" y="338"/>
                  </a:lnTo>
                  <a:lnTo>
                    <a:pt x="2337" y="360"/>
                  </a:lnTo>
                  <a:lnTo>
                    <a:pt x="2311" y="380"/>
                  </a:lnTo>
                  <a:lnTo>
                    <a:pt x="2285" y="400"/>
                  </a:lnTo>
                  <a:lnTo>
                    <a:pt x="2259" y="417"/>
                  </a:lnTo>
                  <a:lnTo>
                    <a:pt x="2231" y="433"/>
                  </a:lnTo>
                  <a:lnTo>
                    <a:pt x="2216" y="440"/>
                  </a:lnTo>
                  <a:lnTo>
                    <a:pt x="2201" y="445"/>
                  </a:lnTo>
                  <a:lnTo>
                    <a:pt x="2187" y="450"/>
                  </a:lnTo>
                  <a:lnTo>
                    <a:pt x="2171" y="454"/>
                  </a:lnTo>
                  <a:lnTo>
                    <a:pt x="2153" y="456"/>
                  </a:lnTo>
                  <a:lnTo>
                    <a:pt x="2137" y="457"/>
                  </a:lnTo>
                  <a:lnTo>
                    <a:pt x="2120" y="457"/>
                  </a:lnTo>
                  <a:lnTo>
                    <a:pt x="2101" y="456"/>
                  </a:lnTo>
                  <a:lnTo>
                    <a:pt x="2071" y="442"/>
                  </a:lnTo>
                  <a:lnTo>
                    <a:pt x="2011" y="416"/>
                  </a:lnTo>
                  <a:lnTo>
                    <a:pt x="1928" y="377"/>
                  </a:lnTo>
                  <a:lnTo>
                    <a:pt x="1834" y="332"/>
                  </a:lnTo>
                  <a:lnTo>
                    <a:pt x="1734" y="282"/>
                  </a:lnTo>
                  <a:lnTo>
                    <a:pt x="1636" y="233"/>
                  </a:lnTo>
                  <a:lnTo>
                    <a:pt x="1550" y="188"/>
                  </a:lnTo>
                  <a:lnTo>
                    <a:pt x="1482" y="149"/>
                  </a:lnTo>
                  <a:lnTo>
                    <a:pt x="1467" y="138"/>
                  </a:lnTo>
                  <a:lnTo>
                    <a:pt x="1454" y="128"/>
                  </a:lnTo>
                  <a:lnTo>
                    <a:pt x="1440" y="114"/>
                  </a:lnTo>
                  <a:lnTo>
                    <a:pt x="1428" y="101"/>
                  </a:lnTo>
                  <a:lnTo>
                    <a:pt x="1404" y="74"/>
                  </a:lnTo>
                  <a:lnTo>
                    <a:pt x="1380" y="46"/>
                  </a:lnTo>
                  <a:lnTo>
                    <a:pt x="1370" y="34"/>
                  </a:lnTo>
                  <a:lnTo>
                    <a:pt x="1358" y="24"/>
                  </a:lnTo>
                  <a:lnTo>
                    <a:pt x="1346" y="14"/>
                  </a:lnTo>
                  <a:lnTo>
                    <a:pt x="1332" y="8"/>
                  </a:lnTo>
                  <a:lnTo>
                    <a:pt x="1326" y="5"/>
                  </a:lnTo>
                  <a:lnTo>
                    <a:pt x="1320" y="2"/>
                  </a:lnTo>
                  <a:lnTo>
                    <a:pt x="1312" y="1"/>
                  </a:lnTo>
                  <a:lnTo>
                    <a:pt x="1306" y="0"/>
                  </a:lnTo>
                  <a:lnTo>
                    <a:pt x="1299" y="0"/>
                  </a:lnTo>
                  <a:lnTo>
                    <a:pt x="1291" y="0"/>
                  </a:lnTo>
                  <a:lnTo>
                    <a:pt x="1284" y="2"/>
                  </a:lnTo>
                  <a:lnTo>
                    <a:pt x="1276" y="4"/>
                  </a:lnTo>
                  <a:lnTo>
                    <a:pt x="1259" y="10"/>
                  </a:lnTo>
                  <a:lnTo>
                    <a:pt x="1242" y="16"/>
                  </a:lnTo>
                  <a:lnTo>
                    <a:pt x="1226" y="21"/>
                  </a:lnTo>
                  <a:lnTo>
                    <a:pt x="1209" y="25"/>
                  </a:lnTo>
                  <a:lnTo>
                    <a:pt x="1174" y="32"/>
                  </a:lnTo>
                  <a:lnTo>
                    <a:pt x="1138" y="36"/>
                  </a:lnTo>
                  <a:lnTo>
                    <a:pt x="1101" y="38"/>
                  </a:lnTo>
                  <a:lnTo>
                    <a:pt x="1063" y="40"/>
                  </a:lnTo>
                  <a:lnTo>
                    <a:pt x="1023" y="40"/>
                  </a:lnTo>
                  <a:lnTo>
                    <a:pt x="982" y="40"/>
                  </a:lnTo>
                  <a:lnTo>
                    <a:pt x="961" y="40"/>
                  </a:lnTo>
                  <a:lnTo>
                    <a:pt x="943" y="37"/>
                  </a:lnTo>
                  <a:lnTo>
                    <a:pt x="926" y="33"/>
                  </a:lnTo>
                  <a:lnTo>
                    <a:pt x="909" y="28"/>
                  </a:lnTo>
                  <a:lnTo>
                    <a:pt x="903" y="42"/>
                  </a:lnTo>
                  <a:lnTo>
                    <a:pt x="895" y="56"/>
                  </a:lnTo>
                  <a:lnTo>
                    <a:pt x="887" y="68"/>
                  </a:lnTo>
                  <a:lnTo>
                    <a:pt x="878" y="80"/>
                  </a:lnTo>
                  <a:lnTo>
                    <a:pt x="858" y="101"/>
                  </a:lnTo>
                  <a:lnTo>
                    <a:pt x="838" y="121"/>
                  </a:lnTo>
                  <a:lnTo>
                    <a:pt x="827" y="132"/>
                  </a:lnTo>
                  <a:lnTo>
                    <a:pt x="819" y="142"/>
                  </a:lnTo>
                  <a:lnTo>
                    <a:pt x="810" y="153"/>
                  </a:lnTo>
                  <a:lnTo>
                    <a:pt x="803" y="164"/>
                  </a:lnTo>
                  <a:lnTo>
                    <a:pt x="797" y="176"/>
                  </a:lnTo>
                  <a:lnTo>
                    <a:pt x="793" y="188"/>
                  </a:lnTo>
                  <a:lnTo>
                    <a:pt x="790" y="201"/>
                  </a:lnTo>
                  <a:lnTo>
                    <a:pt x="789" y="214"/>
                  </a:lnTo>
                  <a:lnTo>
                    <a:pt x="789" y="224"/>
                  </a:lnTo>
                  <a:lnTo>
                    <a:pt x="790" y="230"/>
                  </a:lnTo>
                  <a:lnTo>
                    <a:pt x="791" y="236"/>
                  </a:lnTo>
                  <a:lnTo>
                    <a:pt x="794" y="240"/>
                  </a:lnTo>
                  <a:lnTo>
                    <a:pt x="801" y="245"/>
                  </a:lnTo>
                  <a:lnTo>
                    <a:pt x="807" y="249"/>
                  </a:lnTo>
                  <a:lnTo>
                    <a:pt x="815" y="252"/>
                  </a:lnTo>
                  <a:lnTo>
                    <a:pt x="822" y="254"/>
                  </a:lnTo>
                  <a:lnTo>
                    <a:pt x="825" y="257"/>
                  </a:lnTo>
                  <a:lnTo>
                    <a:pt x="827" y="260"/>
                  </a:lnTo>
                  <a:lnTo>
                    <a:pt x="829" y="264"/>
                  </a:lnTo>
                  <a:lnTo>
                    <a:pt x="831" y="269"/>
                  </a:lnTo>
                  <a:lnTo>
                    <a:pt x="837" y="289"/>
                  </a:lnTo>
                  <a:lnTo>
                    <a:pt x="841" y="309"/>
                  </a:lnTo>
                  <a:lnTo>
                    <a:pt x="842" y="328"/>
                  </a:lnTo>
                  <a:lnTo>
                    <a:pt x="843" y="346"/>
                  </a:lnTo>
                  <a:lnTo>
                    <a:pt x="843" y="381"/>
                  </a:lnTo>
                  <a:lnTo>
                    <a:pt x="843" y="414"/>
                  </a:lnTo>
                  <a:lnTo>
                    <a:pt x="842" y="424"/>
                  </a:lnTo>
                  <a:lnTo>
                    <a:pt x="841" y="433"/>
                  </a:lnTo>
                  <a:lnTo>
                    <a:pt x="838" y="440"/>
                  </a:lnTo>
                  <a:lnTo>
                    <a:pt x="834" y="446"/>
                  </a:lnTo>
                  <a:lnTo>
                    <a:pt x="830" y="450"/>
                  </a:lnTo>
                  <a:lnTo>
                    <a:pt x="825" y="453"/>
                  </a:lnTo>
                  <a:lnTo>
                    <a:pt x="819" y="456"/>
                  </a:lnTo>
                  <a:lnTo>
                    <a:pt x="813" y="456"/>
                  </a:lnTo>
                  <a:lnTo>
                    <a:pt x="805" y="456"/>
                  </a:lnTo>
                  <a:lnTo>
                    <a:pt x="797" y="454"/>
                  </a:lnTo>
                  <a:lnTo>
                    <a:pt x="790" y="452"/>
                  </a:lnTo>
                  <a:lnTo>
                    <a:pt x="785" y="449"/>
                  </a:lnTo>
                  <a:lnTo>
                    <a:pt x="779" y="445"/>
                  </a:lnTo>
                  <a:lnTo>
                    <a:pt x="775" y="441"/>
                  </a:lnTo>
                  <a:lnTo>
                    <a:pt x="771" y="437"/>
                  </a:lnTo>
                  <a:lnTo>
                    <a:pt x="767" y="432"/>
                  </a:lnTo>
                  <a:lnTo>
                    <a:pt x="755" y="410"/>
                  </a:lnTo>
                  <a:lnTo>
                    <a:pt x="741" y="389"/>
                  </a:lnTo>
                  <a:lnTo>
                    <a:pt x="735" y="398"/>
                  </a:lnTo>
                  <a:lnTo>
                    <a:pt x="727" y="406"/>
                  </a:lnTo>
                  <a:lnTo>
                    <a:pt x="723" y="409"/>
                  </a:lnTo>
                  <a:lnTo>
                    <a:pt x="719" y="412"/>
                  </a:lnTo>
                  <a:lnTo>
                    <a:pt x="715" y="413"/>
                  </a:lnTo>
                  <a:lnTo>
                    <a:pt x="710" y="414"/>
                  </a:lnTo>
                  <a:lnTo>
                    <a:pt x="706" y="413"/>
                  </a:lnTo>
                  <a:lnTo>
                    <a:pt x="702" y="410"/>
                  </a:lnTo>
                  <a:lnTo>
                    <a:pt x="698" y="408"/>
                  </a:lnTo>
                  <a:lnTo>
                    <a:pt x="694" y="404"/>
                  </a:lnTo>
                  <a:lnTo>
                    <a:pt x="690" y="398"/>
                  </a:lnTo>
                  <a:lnTo>
                    <a:pt x="689" y="393"/>
                  </a:lnTo>
                  <a:lnTo>
                    <a:pt x="687" y="389"/>
                  </a:lnTo>
                  <a:lnTo>
                    <a:pt x="686" y="384"/>
                  </a:lnTo>
                  <a:lnTo>
                    <a:pt x="666" y="384"/>
                  </a:lnTo>
                  <a:lnTo>
                    <a:pt x="651" y="384"/>
                  </a:lnTo>
                  <a:lnTo>
                    <a:pt x="639" y="384"/>
                  </a:lnTo>
                  <a:lnTo>
                    <a:pt x="626" y="384"/>
                  </a:lnTo>
                  <a:lnTo>
                    <a:pt x="615" y="384"/>
                  </a:lnTo>
                  <a:lnTo>
                    <a:pt x="606" y="382"/>
                  </a:lnTo>
                  <a:lnTo>
                    <a:pt x="599" y="381"/>
                  </a:lnTo>
                  <a:lnTo>
                    <a:pt x="593" y="378"/>
                  </a:lnTo>
                  <a:lnTo>
                    <a:pt x="587" y="376"/>
                  </a:lnTo>
                  <a:lnTo>
                    <a:pt x="582" y="373"/>
                  </a:lnTo>
                  <a:lnTo>
                    <a:pt x="579" y="369"/>
                  </a:lnTo>
                  <a:lnTo>
                    <a:pt x="575" y="365"/>
                  </a:lnTo>
                  <a:lnTo>
                    <a:pt x="565" y="345"/>
                  </a:lnTo>
                  <a:lnTo>
                    <a:pt x="547" y="324"/>
                  </a:lnTo>
                  <a:lnTo>
                    <a:pt x="521" y="306"/>
                  </a:lnTo>
                  <a:lnTo>
                    <a:pt x="495" y="292"/>
                  </a:lnTo>
                  <a:lnTo>
                    <a:pt x="470" y="280"/>
                  </a:lnTo>
                  <a:lnTo>
                    <a:pt x="445" y="269"/>
                  </a:lnTo>
                  <a:lnTo>
                    <a:pt x="420" y="258"/>
                  </a:lnTo>
                  <a:lnTo>
                    <a:pt x="393" y="248"/>
                  </a:lnTo>
                  <a:lnTo>
                    <a:pt x="366" y="238"/>
                  </a:lnTo>
                  <a:lnTo>
                    <a:pt x="337" y="226"/>
                  </a:lnTo>
                  <a:lnTo>
                    <a:pt x="333" y="233"/>
                  </a:lnTo>
                  <a:lnTo>
                    <a:pt x="332" y="237"/>
                  </a:lnTo>
                  <a:lnTo>
                    <a:pt x="332" y="240"/>
                  </a:lnTo>
                  <a:lnTo>
                    <a:pt x="333" y="242"/>
                  </a:lnTo>
                  <a:lnTo>
                    <a:pt x="336" y="250"/>
                  </a:lnTo>
                  <a:lnTo>
                    <a:pt x="337" y="264"/>
                  </a:lnTo>
                  <a:lnTo>
                    <a:pt x="337" y="270"/>
                  </a:lnTo>
                  <a:lnTo>
                    <a:pt x="338" y="278"/>
                  </a:lnTo>
                  <a:lnTo>
                    <a:pt x="341" y="286"/>
                  </a:lnTo>
                  <a:lnTo>
                    <a:pt x="344" y="293"/>
                  </a:lnTo>
                  <a:lnTo>
                    <a:pt x="350" y="308"/>
                  </a:lnTo>
                  <a:lnTo>
                    <a:pt x="358" y="324"/>
                  </a:lnTo>
                  <a:lnTo>
                    <a:pt x="366" y="340"/>
                  </a:lnTo>
                  <a:lnTo>
                    <a:pt x="373" y="358"/>
                  </a:lnTo>
                  <a:lnTo>
                    <a:pt x="376" y="368"/>
                  </a:lnTo>
                  <a:lnTo>
                    <a:pt x="377" y="378"/>
                  </a:lnTo>
                  <a:lnTo>
                    <a:pt x="378" y="389"/>
                  </a:lnTo>
                  <a:lnTo>
                    <a:pt x="380" y="401"/>
                  </a:lnTo>
                  <a:lnTo>
                    <a:pt x="378" y="421"/>
                  </a:lnTo>
                  <a:lnTo>
                    <a:pt x="374" y="437"/>
                  </a:lnTo>
                  <a:lnTo>
                    <a:pt x="370" y="450"/>
                  </a:lnTo>
                  <a:lnTo>
                    <a:pt x="364" y="464"/>
                  </a:lnTo>
                  <a:lnTo>
                    <a:pt x="358" y="477"/>
                  </a:lnTo>
                  <a:lnTo>
                    <a:pt x="354" y="490"/>
                  </a:lnTo>
                  <a:lnTo>
                    <a:pt x="350" y="505"/>
                  </a:lnTo>
                  <a:lnTo>
                    <a:pt x="349" y="522"/>
                  </a:lnTo>
                  <a:lnTo>
                    <a:pt x="350" y="530"/>
                  </a:lnTo>
                  <a:lnTo>
                    <a:pt x="352" y="537"/>
                  </a:lnTo>
                  <a:lnTo>
                    <a:pt x="354" y="543"/>
                  </a:lnTo>
                  <a:lnTo>
                    <a:pt x="358" y="549"/>
                  </a:lnTo>
                  <a:lnTo>
                    <a:pt x="361" y="553"/>
                  </a:lnTo>
                  <a:lnTo>
                    <a:pt x="365" y="558"/>
                  </a:lnTo>
                  <a:lnTo>
                    <a:pt x="366" y="563"/>
                  </a:lnTo>
                  <a:lnTo>
                    <a:pt x="368" y="570"/>
                  </a:lnTo>
                  <a:lnTo>
                    <a:pt x="366" y="575"/>
                  </a:lnTo>
                  <a:lnTo>
                    <a:pt x="365" y="579"/>
                  </a:lnTo>
                  <a:lnTo>
                    <a:pt x="361" y="585"/>
                  </a:lnTo>
                  <a:lnTo>
                    <a:pt x="357" y="587"/>
                  </a:lnTo>
                  <a:lnTo>
                    <a:pt x="348" y="593"/>
                  </a:lnTo>
                  <a:lnTo>
                    <a:pt x="336" y="597"/>
                  </a:lnTo>
                  <a:lnTo>
                    <a:pt x="312" y="602"/>
                  </a:lnTo>
                  <a:lnTo>
                    <a:pt x="294" y="606"/>
                  </a:lnTo>
                  <a:lnTo>
                    <a:pt x="290" y="609"/>
                  </a:lnTo>
                  <a:lnTo>
                    <a:pt x="285" y="614"/>
                  </a:lnTo>
                  <a:lnTo>
                    <a:pt x="280" y="619"/>
                  </a:lnTo>
                  <a:lnTo>
                    <a:pt x="273" y="626"/>
                  </a:lnTo>
                  <a:lnTo>
                    <a:pt x="261" y="642"/>
                  </a:lnTo>
                  <a:lnTo>
                    <a:pt x="250" y="661"/>
                  </a:lnTo>
                  <a:lnTo>
                    <a:pt x="240" y="682"/>
                  </a:lnTo>
                  <a:lnTo>
                    <a:pt x="230" y="702"/>
                  </a:lnTo>
                  <a:lnTo>
                    <a:pt x="228" y="711"/>
                  </a:lnTo>
                  <a:lnTo>
                    <a:pt x="225" y="722"/>
                  </a:lnTo>
                  <a:lnTo>
                    <a:pt x="224" y="730"/>
                  </a:lnTo>
                  <a:lnTo>
                    <a:pt x="222" y="739"/>
                  </a:lnTo>
                  <a:lnTo>
                    <a:pt x="224" y="743"/>
                  </a:lnTo>
                  <a:lnTo>
                    <a:pt x="226" y="747"/>
                  </a:lnTo>
                  <a:lnTo>
                    <a:pt x="229" y="753"/>
                  </a:lnTo>
                  <a:lnTo>
                    <a:pt x="234" y="757"/>
                  </a:lnTo>
                  <a:lnTo>
                    <a:pt x="248" y="766"/>
                  </a:lnTo>
                  <a:lnTo>
                    <a:pt x="264" y="775"/>
                  </a:lnTo>
                  <a:lnTo>
                    <a:pt x="281" y="782"/>
                  </a:lnTo>
                  <a:lnTo>
                    <a:pt x="298" y="787"/>
                  </a:lnTo>
                  <a:lnTo>
                    <a:pt x="316" y="791"/>
                  </a:lnTo>
                  <a:lnTo>
                    <a:pt x="332" y="793"/>
                  </a:lnTo>
                  <a:lnTo>
                    <a:pt x="337" y="793"/>
                  </a:lnTo>
                  <a:lnTo>
                    <a:pt x="341" y="790"/>
                  </a:lnTo>
                  <a:lnTo>
                    <a:pt x="346" y="787"/>
                  </a:lnTo>
                  <a:lnTo>
                    <a:pt x="350" y="782"/>
                  </a:lnTo>
                  <a:lnTo>
                    <a:pt x="358" y="771"/>
                  </a:lnTo>
                  <a:lnTo>
                    <a:pt x="365" y="759"/>
                  </a:lnTo>
                  <a:lnTo>
                    <a:pt x="373" y="747"/>
                  </a:lnTo>
                  <a:lnTo>
                    <a:pt x="381" y="737"/>
                  </a:lnTo>
                  <a:lnTo>
                    <a:pt x="386" y="733"/>
                  </a:lnTo>
                  <a:lnTo>
                    <a:pt x="392" y="730"/>
                  </a:lnTo>
                  <a:lnTo>
                    <a:pt x="397" y="727"/>
                  </a:lnTo>
                  <a:lnTo>
                    <a:pt x="404" y="726"/>
                  </a:lnTo>
                  <a:lnTo>
                    <a:pt x="410" y="727"/>
                  </a:lnTo>
                  <a:lnTo>
                    <a:pt x="417" y="729"/>
                  </a:lnTo>
                  <a:lnTo>
                    <a:pt x="425" y="731"/>
                  </a:lnTo>
                  <a:lnTo>
                    <a:pt x="432" y="734"/>
                  </a:lnTo>
                  <a:lnTo>
                    <a:pt x="446" y="741"/>
                  </a:lnTo>
                  <a:lnTo>
                    <a:pt x="460" y="751"/>
                  </a:lnTo>
                  <a:lnTo>
                    <a:pt x="470" y="762"/>
                  </a:lnTo>
                  <a:lnTo>
                    <a:pt x="480" y="773"/>
                  </a:lnTo>
                  <a:lnTo>
                    <a:pt x="484" y="778"/>
                  </a:lnTo>
                  <a:lnTo>
                    <a:pt x="485" y="783"/>
                  </a:lnTo>
                  <a:lnTo>
                    <a:pt x="488" y="789"/>
                  </a:lnTo>
                  <a:lnTo>
                    <a:pt x="488" y="793"/>
                  </a:lnTo>
                  <a:lnTo>
                    <a:pt x="486" y="798"/>
                  </a:lnTo>
                  <a:lnTo>
                    <a:pt x="484" y="803"/>
                  </a:lnTo>
                  <a:lnTo>
                    <a:pt x="478" y="810"/>
                  </a:lnTo>
                  <a:lnTo>
                    <a:pt x="472" y="818"/>
                  </a:lnTo>
                  <a:lnTo>
                    <a:pt x="454" y="834"/>
                  </a:lnTo>
                  <a:lnTo>
                    <a:pt x="433" y="851"/>
                  </a:lnTo>
                  <a:lnTo>
                    <a:pt x="412" y="869"/>
                  </a:lnTo>
                  <a:lnTo>
                    <a:pt x="392" y="885"/>
                  </a:lnTo>
                  <a:lnTo>
                    <a:pt x="373" y="901"/>
                  </a:lnTo>
                  <a:lnTo>
                    <a:pt x="361" y="914"/>
                  </a:lnTo>
                  <a:lnTo>
                    <a:pt x="356" y="919"/>
                  </a:lnTo>
                  <a:lnTo>
                    <a:pt x="349" y="925"/>
                  </a:lnTo>
                  <a:lnTo>
                    <a:pt x="342" y="930"/>
                  </a:lnTo>
                  <a:lnTo>
                    <a:pt x="334" y="934"/>
                  </a:lnTo>
                  <a:lnTo>
                    <a:pt x="318" y="942"/>
                  </a:lnTo>
                  <a:lnTo>
                    <a:pt x="308" y="950"/>
                  </a:lnTo>
                  <a:lnTo>
                    <a:pt x="305" y="954"/>
                  </a:lnTo>
                  <a:lnTo>
                    <a:pt x="304" y="958"/>
                  </a:lnTo>
                  <a:lnTo>
                    <a:pt x="305" y="963"/>
                  </a:lnTo>
                  <a:lnTo>
                    <a:pt x="306" y="970"/>
                  </a:lnTo>
                  <a:lnTo>
                    <a:pt x="313" y="983"/>
                  </a:lnTo>
                  <a:lnTo>
                    <a:pt x="321" y="998"/>
                  </a:lnTo>
                  <a:lnTo>
                    <a:pt x="324" y="1005"/>
                  </a:lnTo>
                  <a:lnTo>
                    <a:pt x="326" y="1013"/>
                  </a:lnTo>
                  <a:lnTo>
                    <a:pt x="328" y="1019"/>
                  </a:lnTo>
                  <a:lnTo>
                    <a:pt x="328" y="1026"/>
                  </a:lnTo>
                  <a:lnTo>
                    <a:pt x="325" y="1031"/>
                  </a:lnTo>
                  <a:lnTo>
                    <a:pt x="322" y="1037"/>
                  </a:lnTo>
                  <a:lnTo>
                    <a:pt x="316" y="1042"/>
                  </a:lnTo>
                  <a:lnTo>
                    <a:pt x="308" y="1046"/>
                  </a:lnTo>
                  <a:lnTo>
                    <a:pt x="293" y="1053"/>
                  </a:lnTo>
                  <a:lnTo>
                    <a:pt x="277" y="1058"/>
                  </a:lnTo>
                  <a:lnTo>
                    <a:pt x="261" y="1063"/>
                  </a:lnTo>
                  <a:lnTo>
                    <a:pt x="244" y="1067"/>
                  </a:lnTo>
                  <a:lnTo>
                    <a:pt x="226" y="1071"/>
                  </a:lnTo>
                  <a:lnTo>
                    <a:pt x="210" y="1074"/>
                  </a:lnTo>
                  <a:lnTo>
                    <a:pt x="194" y="1075"/>
                  </a:lnTo>
                  <a:lnTo>
                    <a:pt x="181" y="1077"/>
                  </a:lnTo>
                  <a:lnTo>
                    <a:pt x="170" y="1077"/>
                  </a:lnTo>
                  <a:lnTo>
                    <a:pt x="161" y="1078"/>
                  </a:lnTo>
                  <a:lnTo>
                    <a:pt x="153" y="1079"/>
                  </a:lnTo>
                  <a:lnTo>
                    <a:pt x="145" y="1082"/>
                  </a:lnTo>
                  <a:lnTo>
                    <a:pt x="137" y="1086"/>
                  </a:lnTo>
                  <a:lnTo>
                    <a:pt x="130" y="1090"/>
                  </a:lnTo>
                  <a:lnTo>
                    <a:pt x="124" y="1094"/>
                  </a:lnTo>
                  <a:lnTo>
                    <a:pt x="118" y="1099"/>
                  </a:lnTo>
                  <a:lnTo>
                    <a:pt x="108" y="1111"/>
                  </a:lnTo>
                  <a:lnTo>
                    <a:pt x="98" y="1124"/>
                  </a:lnTo>
                  <a:lnTo>
                    <a:pt x="90" y="1139"/>
                  </a:lnTo>
                  <a:lnTo>
                    <a:pt x="84" y="1155"/>
                  </a:lnTo>
                  <a:lnTo>
                    <a:pt x="73" y="1190"/>
                  </a:lnTo>
                  <a:lnTo>
                    <a:pt x="64" y="1223"/>
                  </a:lnTo>
                  <a:lnTo>
                    <a:pt x="58" y="1239"/>
                  </a:lnTo>
                  <a:lnTo>
                    <a:pt x="54" y="1255"/>
                  </a:lnTo>
                  <a:lnTo>
                    <a:pt x="48" y="1268"/>
                  </a:lnTo>
                  <a:lnTo>
                    <a:pt x="42" y="1280"/>
                  </a:lnTo>
                  <a:lnTo>
                    <a:pt x="37" y="1288"/>
                  </a:lnTo>
                  <a:lnTo>
                    <a:pt x="30" y="1295"/>
                  </a:lnTo>
                  <a:lnTo>
                    <a:pt x="24" y="1300"/>
                  </a:lnTo>
                  <a:lnTo>
                    <a:pt x="17" y="1306"/>
                  </a:lnTo>
                  <a:lnTo>
                    <a:pt x="10" y="1312"/>
                  </a:lnTo>
                  <a:lnTo>
                    <a:pt x="5" y="1319"/>
                  </a:lnTo>
                  <a:lnTo>
                    <a:pt x="2" y="1324"/>
                  </a:lnTo>
                  <a:lnTo>
                    <a:pt x="1" y="1328"/>
                  </a:lnTo>
                  <a:lnTo>
                    <a:pt x="0" y="1335"/>
                  </a:lnTo>
                  <a:lnTo>
                    <a:pt x="0" y="1340"/>
                  </a:lnTo>
                  <a:lnTo>
                    <a:pt x="1" y="1348"/>
                  </a:lnTo>
                  <a:lnTo>
                    <a:pt x="5" y="1356"/>
                  </a:lnTo>
                  <a:lnTo>
                    <a:pt x="10" y="1362"/>
                  </a:lnTo>
                  <a:lnTo>
                    <a:pt x="17" y="1366"/>
                  </a:lnTo>
                  <a:lnTo>
                    <a:pt x="30" y="1372"/>
                  </a:lnTo>
                  <a:lnTo>
                    <a:pt x="42" y="1376"/>
                  </a:lnTo>
                  <a:lnTo>
                    <a:pt x="12" y="1450"/>
                  </a:lnTo>
                  <a:lnTo>
                    <a:pt x="17" y="1454"/>
                  </a:lnTo>
                  <a:lnTo>
                    <a:pt x="21" y="1458"/>
                  </a:lnTo>
                  <a:lnTo>
                    <a:pt x="25" y="1464"/>
                  </a:lnTo>
                  <a:lnTo>
                    <a:pt x="28" y="1470"/>
                  </a:lnTo>
                  <a:lnTo>
                    <a:pt x="33" y="1484"/>
                  </a:lnTo>
                  <a:lnTo>
                    <a:pt x="37" y="1498"/>
                  </a:lnTo>
                  <a:lnTo>
                    <a:pt x="42" y="1511"/>
                  </a:lnTo>
                  <a:lnTo>
                    <a:pt x="49" y="1523"/>
                  </a:lnTo>
                  <a:lnTo>
                    <a:pt x="53" y="1527"/>
                  </a:lnTo>
                  <a:lnTo>
                    <a:pt x="58" y="1531"/>
                  </a:lnTo>
                  <a:lnTo>
                    <a:pt x="65" y="1532"/>
                  </a:lnTo>
                  <a:lnTo>
                    <a:pt x="72" y="1534"/>
                  </a:lnTo>
                  <a:lnTo>
                    <a:pt x="78" y="1532"/>
                  </a:lnTo>
                  <a:lnTo>
                    <a:pt x="85" y="1531"/>
                  </a:lnTo>
                  <a:lnTo>
                    <a:pt x="90" y="1527"/>
                  </a:lnTo>
                  <a:lnTo>
                    <a:pt x="96" y="1522"/>
                  </a:lnTo>
                  <a:lnTo>
                    <a:pt x="106" y="1511"/>
                  </a:lnTo>
                  <a:lnTo>
                    <a:pt x="117" y="1498"/>
                  </a:lnTo>
                  <a:lnTo>
                    <a:pt x="129" y="1484"/>
                  </a:lnTo>
                  <a:lnTo>
                    <a:pt x="144" y="1472"/>
                  </a:lnTo>
                  <a:lnTo>
                    <a:pt x="152" y="1468"/>
                  </a:lnTo>
                  <a:lnTo>
                    <a:pt x="160" y="1464"/>
                  </a:lnTo>
                  <a:lnTo>
                    <a:pt x="170" y="1462"/>
                  </a:lnTo>
                  <a:lnTo>
                    <a:pt x="181" y="1462"/>
                  </a:lnTo>
                  <a:lnTo>
                    <a:pt x="198" y="1463"/>
                  </a:lnTo>
                  <a:lnTo>
                    <a:pt x="214" y="1467"/>
                  </a:lnTo>
                  <a:lnTo>
                    <a:pt x="224" y="1470"/>
                  </a:lnTo>
                  <a:lnTo>
                    <a:pt x="232" y="1471"/>
                  </a:lnTo>
                  <a:lnTo>
                    <a:pt x="242" y="1472"/>
                  </a:lnTo>
                  <a:lnTo>
                    <a:pt x="253" y="1474"/>
                  </a:lnTo>
                  <a:lnTo>
                    <a:pt x="264" y="1472"/>
                  </a:lnTo>
                  <a:lnTo>
                    <a:pt x="272" y="1471"/>
                  </a:lnTo>
                  <a:lnTo>
                    <a:pt x="278" y="1470"/>
                  </a:lnTo>
                  <a:lnTo>
                    <a:pt x="285" y="1467"/>
                  </a:lnTo>
                  <a:lnTo>
                    <a:pt x="298" y="1460"/>
                  </a:lnTo>
                  <a:lnTo>
                    <a:pt x="313" y="1455"/>
                  </a:lnTo>
                  <a:lnTo>
                    <a:pt x="313" y="1464"/>
                  </a:lnTo>
                  <a:lnTo>
                    <a:pt x="314" y="1474"/>
                  </a:lnTo>
                  <a:lnTo>
                    <a:pt x="316" y="1483"/>
                  </a:lnTo>
                  <a:lnTo>
                    <a:pt x="320" y="1491"/>
                  </a:lnTo>
                  <a:lnTo>
                    <a:pt x="324" y="1499"/>
                  </a:lnTo>
                  <a:lnTo>
                    <a:pt x="328" y="1504"/>
                  </a:lnTo>
                  <a:lnTo>
                    <a:pt x="332" y="1507"/>
                  </a:lnTo>
                  <a:lnTo>
                    <a:pt x="334" y="1508"/>
                  </a:lnTo>
                  <a:lnTo>
                    <a:pt x="338" y="1510"/>
                  </a:lnTo>
                  <a:lnTo>
                    <a:pt x="344" y="1510"/>
                  </a:lnTo>
                  <a:lnTo>
                    <a:pt x="349" y="1510"/>
                  </a:lnTo>
                  <a:lnTo>
                    <a:pt x="354" y="1508"/>
                  </a:lnTo>
                  <a:lnTo>
                    <a:pt x="358" y="1506"/>
                  </a:lnTo>
                  <a:lnTo>
                    <a:pt x="362" y="1504"/>
                  </a:lnTo>
                  <a:lnTo>
                    <a:pt x="372" y="1498"/>
                  </a:lnTo>
                  <a:lnTo>
                    <a:pt x="380" y="1491"/>
                  </a:lnTo>
                  <a:lnTo>
                    <a:pt x="389" y="1484"/>
                  </a:lnTo>
                  <a:lnTo>
                    <a:pt x="398" y="1479"/>
                  </a:lnTo>
                  <a:lnTo>
                    <a:pt x="404" y="1476"/>
                  </a:lnTo>
                  <a:lnTo>
                    <a:pt x="409" y="1475"/>
                  </a:lnTo>
                  <a:lnTo>
                    <a:pt x="414" y="1474"/>
                  </a:lnTo>
                  <a:lnTo>
                    <a:pt x="421" y="1474"/>
                  </a:lnTo>
                  <a:lnTo>
                    <a:pt x="430" y="1474"/>
                  </a:lnTo>
                  <a:lnTo>
                    <a:pt x="440" y="1474"/>
                  </a:lnTo>
                  <a:lnTo>
                    <a:pt x="445" y="1472"/>
                  </a:lnTo>
                  <a:lnTo>
                    <a:pt x="450" y="1472"/>
                  </a:lnTo>
                  <a:lnTo>
                    <a:pt x="456" y="1470"/>
                  </a:lnTo>
                  <a:lnTo>
                    <a:pt x="462" y="1467"/>
                  </a:lnTo>
                  <a:lnTo>
                    <a:pt x="468" y="1463"/>
                  </a:lnTo>
                  <a:lnTo>
                    <a:pt x="472" y="1458"/>
                  </a:lnTo>
                  <a:lnTo>
                    <a:pt x="474" y="1451"/>
                  </a:lnTo>
                  <a:lnTo>
                    <a:pt x="476" y="1443"/>
                  </a:lnTo>
                  <a:lnTo>
                    <a:pt x="476" y="1428"/>
                  </a:lnTo>
                  <a:lnTo>
                    <a:pt x="474" y="1416"/>
                  </a:lnTo>
                  <a:lnTo>
                    <a:pt x="472" y="1406"/>
                  </a:lnTo>
                  <a:lnTo>
                    <a:pt x="469" y="1396"/>
                  </a:lnTo>
                  <a:lnTo>
                    <a:pt x="468" y="1386"/>
                  </a:lnTo>
                  <a:lnTo>
                    <a:pt x="465" y="1376"/>
                  </a:lnTo>
                  <a:lnTo>
                    <a:pt x="464" y="1366"/>
                  </a:lnTo>
                  <a:lnTo>
                    <a:pt x="464" y="1352"/>
                  </a:lnTo>
                  <a:lnTo>
                    <a:pt x="464" y="1351"/>
                  </a:lnTo>
                  <a:lnTo>
                    <a:pt x="465" y="1350"/>
                  </a:lnTo>
                  <a:lnTo>
                    <a:pt x="466" y="1348"/>
                  </a:lnTo>
                  <a:lnTo>
                    <a:pt x="469" y="1348"/>
                  </a:lnTo>
                  <a:lnTo>
                    <a:pt x="474" y="1347"/>
                  </a:lnTo>
                  <a:lnTo>
                    <a:pt x="480" y="1348"/>
                  </a:lnTo>
                  <a:lnTo>
                    <a:pt x="494" y="1351"/>
                  </a:lnTo>
                  <a:lnTo>
                    <a:pt x="506" y="1352"/>
                  </a:lnTo>
                  <a:lnTo>
                    <a:pt x="515" y="1352"/>
                  </a:lnTo>
                  <a:lnTo>
                    <a:pt x="521" y="1352"/>
                  </a:lnTo>
                  <a:lnTo>
                    <a:pt x="526" y="1352"/>
                  </a:lnTo>
                  <a:lnTo>
                    <a:pt x="535" y="1352"/>
                  </a:lnTo>
                  <a:lnTo>
                    <a:pt x="575" y="1350"/>
                  </a:lnTo>
                  <a:lnTo>
                    <a:pt x="614" y="1350"/>
                  </a:lnTo>
                  <a:lnTo>
                    <a:pt x="622" y="1351"/>
                  </a:lnTo>
                  <a:lnTo>
                    <a:pt x="630" y="1354"/>
                  </a:lnTo>
                  <a:lnTo>
                    <a:pt x="638" y="1358"/>
                  </a:lnTo>
                  <a:lnTo>
                    <a:pt x="645" y="1363"/>
                  </a:lnTo>
                  <a:lnTo>
                    <a:pt x="649" y="1370"/>
                  </a:lnTo>
                  <a:lnTo>
                    <a:pt x="653" y="1378"/>
                  </a:lnTo>
                  <a:lnTo>
                    <a:pt x="655" y="1388"/>
                  </a:lnTo>
                  <a:lnTo>
                    <a:pt x="657" y="1402"/>
                  </a:lnTo>
                  <a:lnTo>
                    <a:pt x="657" y="1412"/>
                  </a:lnTo>
                  <a:lnTo>
                    <a:pt x="658" y="1427"/>
                  </a:lnTo>
                  <a:lnTo>
                    <a:pt x="659" y="1434"/>
                  </a:lnTo>
                  <a:lnTo>
                    <a:pt x="661" y="1438"/>
                  </a:lnTo>
                  <a:lnTo>
                    <a:pt x="665" y="1442"/>
                  </a:lnTo>
                  <a:lnTo>
                    <a:pt x="669" y="1443"/>
                  </a:lnTo>
                  <a:lnTo>
                    <a:pt x="679" y="1443"/>
                  </a:lnTo>
                  <a:lnTo>
                    <a:pt x="682" y="1443"/>
                  </a:lnTo>
                  <a:lnTo>
                    <a:pt x="685" y="1443"/>
                  </a:lnTo>
                  <a:lnTo>
                    <a:pt x="693" y="1443"/>
                  </a:lnTo>
                  <a:lnTo>
                    <a:pt x="699" y="1444"/>
                  </a:lnTo>
                  <a:lnTo>
                    <a:pt x="706" y="1446"/>
                  </a:lnTo>
                  <a:lnTo>
                    <a:pt x="713" y="1450"/>
                  </a:lnTo>
                  <a:lnTo>
                    <a:pt x="718" y="1454"/>
                  </a:lnTo>
                  <a:lnTo>
                    <a:pt x="729" y="1464"/>
                  </a:lnTo>
                  <a:lnTo>
                    <a:pt x="739" y="1476"/>
                  </a:lnTo>
                  <a:lnTo>
                    <a:pt x="751" y="1488"/>
                  </a:lnTo>
                  <a:lnTo>
                    <a:pt x="765" y="1499"/>
                  </a:lnTo>
                  <a:lnTo>
                    <a:pt x="771" y="1503"/>
                  </a:lnTo>
                  <a:lnTo>
                    <a:pt x="781" y="1507"/>
                  </a:lnTo>
                  <a:lnTo>
                    <a:pt x="790" y="1508"/>
                  </a:lnTo>
                  <a:lnTo>
                    <a:pt x="801" y="1510"/>
                  </a:lnTo>
                  <a:lnTo>
                    <a:pt x="842" y="1510"/>
                  </a:lnTo>
                  <a:lnTo>
                    <a:pt x="879" y="1510"/>
                  </a:lnTo>
                  <a:lnTo>
                    <a:pt x="918" y="1510"/>
                  </a:lnTo>
                  <a:lnTo>
                    <a:pt x="963" y="1510"/>
                  </a:lnTo>
                  <a:lnTo>
                    <a:pt x="975" y="1508"/>
                  </a:lnTo>
                  <a:lnTo>
                    <a:pt x="986" y="1506"/>
                  </a:lnTo>
                  <a:lnTo>
                    <a:pt x="994" y="1502"/>
                  </a:lnTo>
                  <a:lnTo>
                    <a:pt x="1002" y="1498"/>
                  </a:lnTo>
                  <a:lnTo>
                    <a:pt x="1009" y="1492"/>
                  </a:lnTo>
                  <a:lnTo>
                    <a:pt x="1017" y="1490"/>
                  </a:lnTo>
                  <a:lnTo>
                    <a:pt x="1025" y="1487"/>
                  </a:lnTo>
                  <a:lnTo>
                    <a:pt x="1035" y="1486"/>
                  </a:lnTo>
                  <a:lnTo>
                    <a:pt x="1046" y="1486"/>
                  </a:lnTo>
                  <a:lnTo>
                    <a:pt x="1057" y="1487"/>
                  </a:lnTo>
                  <a:lnTo>
                    <a:pt x="1067" y="1488"/>
                  </a:lnTo>
                  <a:lnTo>
                    <a:pt x="1078" y="1491"/>
                  </a:lnTo>
                  <a:lnTo>
                    <a:pt x="1097" y="1498"/>
                  </a:lnTo>
                  <a:lnTo>
                    <a:pt x="1114" y="1506"/>
                  </a:lnTo>
                  <a:lnTo>
                    <a:pt x="1149" y="1526"/>
                  </a:lnTo>
                  <a:lnTo>
                    <a:pt x="1183" y="1547"/>
                  </a:lnTo>
                  <a:lnTo>
                    <a:pt x="1201" y="1556"/>
                  </a:lnTo>
                  <a:lnTo>
                    <a:pt x="1219" y="1566"/>
                  </a:lnTo>
                  <a:lnTo>
                    <a:pt x="1239" y="1574"/>
                  </a:lnTo>
                  <a:lnTo>
                    <a:pt x="1260" y="1579"/>
                  </a:lnTo>
                  <a:lnTo>
                    <a:pt x="1272" y="1582"/>
                  </a:lnTo>
                  <a:lnTo>
                    <a:pt x="1284" y="1583"/>
                  </a:lnTo>
                  <a:lnTo>
                    <a:pt x="1296" y="1584"/>
                  </a:lnTo>
                  <a:lnTo>
                    <a:pt x="1308" y="1584"/>
                  </a:lnTo>
                  <a:lnTo>
                    <a:pt x="1322" y="1583"/>
                  </a:lnTo>
                  <a:lnTo>
                    <a:pt x="1336" y="1582"/>
                  </a:lnTo>
                  <a:lnTo>
                    <a:pt x="1351" y="1579"/>
                  </a:lnTo>
                  <a:lnTo>
                    <a:pt x="1367" y="1576"/>
                  </a:lnTo>
                  <a:lnTo>
                    <a:pt x="1396" y="150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2" name="Freeform 108"/>
            <p:cNvSpPr>
              <a:spLocks/>
            </p:cNvSpPr>
            <p:nvPr/>
          </p:nvSpPr>
          <p:spPr bwMode="auto">
            <a:xfrm>
              <a:off x="1760859" y="4356100"/>
              <a:ext cx="263525" cy="188912"/>
            </a:xfrm>
            <a:custGeom>
              <a:avLst/>
              <a:gdLst/>
              <a:ahLst/>
              <a:cxnLst>
                <a:cxn ang="0">
                  <a:pos x="158" y="13"/>
                </a:cxn>
                <a:cxn ang="0">
                  <a:pos x="132" y="1"/>
                </a:cxn>
                <a:cxn ang="0">
                  <a:pos x="98" y="1"/>
                </a:cxn>
                <a:cxn ang="0">
                  <a:pos x="66" y="11"/>
                </a:cxn>
                <a:cxn ang="0">
                  <a:pos x="38" y="27"/>
                </a:cxn>
                <a:cxn ang="0">
                  <a:pos x="16" y="49"/>
                </a:cxn>
                <a:cxn ang="0">
                  <a:pos x="2" y="79"/>
                </a:cxn>
                <a:cxn ang="0">
                  <a:pos x="4" y="116"/>
                </a:cxn>
                <a:cxn ang="0">
                  <a:pos x="24" y="181"/>
                </a:cxn>
                <a:cxn ang="0">
                  <a:pos x="124" y="188"/>
                </a:cxn>
                <a:cxn ang="0">
                  <a:pos x="154" y="201"/>
                </a:cxn>
                <a:cxn ang="0">
                  <a:pos x="166" y="217"/>
                </a:cxn>
                <a:cxn ang="0">
                  <a:pos x="173" y="237"/>
                </a:cxn>
                <a:cxn ang="0">
                  <a:pos x="176" y="267"/>
                </a:cxn>
                <a:cxn ang="0">
                  <a:pos x="181" y="280"/>
                </a:cxn>
                <a:cxn ang="0">
                  <a:pos x="197" y="288"/>
                </a:cxn>
                <a:cxn ang="0">
                  <a:pos x="208" y="335"/>
                </a:cxn>
                <a:cxn ang="0">
                  <a:pos x="217" y="360"/>
                </a:cxn>
                <a:cxn ang="0">
                  <a:pos x="244" y="376"/>
                </a:cxn>
                <a:cxn ang="0">
                  <a:pos x="282" y="379"/>
                </a:cxn>
                <a:cxn ang="0">
                  <a:pos x="298" y="373"/>
                </a:cxn>
                <a:cxn ang="0">
                  <a:pos x="325" y="355"/>
                </a:cxn>
                <a:cxn ang="0">
                  <a:pos x="345" y="345"/>
                </a:cxn>
                <a:cxn ang="0">
                  <a:pos x="364" y="344"/>
                </a:cxn>
                <a:cxn ang="0">
                  <a:pos x="388" y="356"/>
                </a:cxn>
                <a:cxn ang="0">
                  <a:pos x="409" y="367"/>
                </a:cxn>
                <a:cxn ang="0">
                  <a:pos x="452" y="349"/>
                </a:cxn>
                <a:cxn ang="0">
                  <a:pos x="465" y="357"/>
                </a:cxn>
                <a:cxn ang="0">
                  <a:pos x="488" y="380"/>
                </a:cxn>
                <a:cxn ang="0">
                  <a:pos x="513" y="381"/>
                </a:cxn>
                <a:cxn ang="0">
                  <a:pos x="527" y="357"/>
                </a:cxn>
                <a:cxn ang="0">
                  <a:pos x="541" y="337"/>
                </a:cxn>
                <a:cxn ang="0">
                  <a:pos x="538" y="317"/>
                </a:cxn>
                <a:cxn ang="0">
                  <a:pos x="526" y="295"/>
                </a:cxn>
                <a:cxn ang="0">
                  <a:pos x="518" y="277"/>
                </a:cxn>
                <a:cxn ang="0">
                  <a:pos x="518" y="251"/>
                </a:cxn>
                <a:cxn ang="0">
                  <a:pos x="505" y="233"/>
                </a:cxn>
                <a:cxn ang="0">
                  <a:pos x="494" y="224"/>
                </a:cxn>
                <a:cxn ang="0">
                  <a:pos x="492" y="209"/>
                </a:cxn>
                <a:cxn ang="0">
                  <a:pos x="489" y="185"/>
                </a:cxn>
                <a:cxn ang="0">
                  <a:pos x="482" y="175"/>
                </a:cxn>
                <a:cxn ang="0">
                  <a:pos x="452" y="173"/>
                </a:cxn>
                <a:cxn ang="0">
                  <a:pos x="440" y="161"/>
                </a:cxn>
                <a:cxn ang="0">
                  <a:pos x="428" y="144"/>
                </a:cxn>
                <a:cxn ang="0">
                  <a:pos x="412" y="132"/>
                </a:cxn>
                <a:cxn ang="0">
                  <a:pos x="388" y="125"/>
                </a:cxn>
                <a:cxn ang="0">
                  <a:pos x="345" y="123"/>
                </a:cxn>
                <a:cxn ang="0">
                  <a:pos x="301" y="112"/>
                </a:cxn>
                <a:cxn ang="0">
                  <a:pos x="277" y="97"/>
                </a:cxn>
                <a:cxn ang="0">
                  <a:pos x="249" y="79"/>
                </a:cxn>
                <a:cxn ang="0">
                  <a:pos x="224" y="68"/>
                </a:cxn>
                <a:cxn ang="0">
                  <a:pos x="202" y="49"/>
                </a:cxn>
                <a:cxn ang="0">
                  <a:pos x="193" y="31"/>
                </a:cxn>
              </a:cxnLst>
              <a:rect l="0" t="0" r="r" b="b"/>
              <a:pathLst>
                <a:path w="542" h="392">
                  <a:moveTo>
                    <a:pt x="193" y="36"/>
                  </a:moveTo>
                  <a:lnTo>
                    <a:pt x="176" y="25"/>
                  </a:lnTo>
                  <a:lnTo>
                    <a:pt x="158" y="13"/>
                  </a:lnTo>
                  <a:lnTo>
                    <a:pt x="150" y="8"/>
                  </a:lnTo>
                  <a:lnTo>
                    <a:pt x="141" y="4"/>
                  </a:lnTo>
                  <a:lnTo>
                    <a:pt x="132" y="1"/>
                  </a:lnTo>
                  <a:lnTo>
                    <a:pt x="121" y="0"/>
                  </a:lnTo>
                  <a:lnTo>
                    <a:pt x="109" y="0"/>
                  </a:lnTo>
                  <a:lnTo>
                    <a:pt x="98" y="1"/>
                  </a:lnTo>
                  <a:lnTo>
                    <a:pt x="88" y="4"/>
                  </a:lnTo>
                  <a:lnTo>
                    <a:pt x="76" y="7"/>
                  </a:lnTo>
                  <a:lnTo>
                    <a:pt x="66" y="11"/>
                  </a:lnTo>
                  <a:lnTo>
                    <a:pt x="56" y="15"/>
                  </a:lnTo>
                  <a:lnTo>
                    <a:pt x="46" y="20"/>
                  </a:lnTo>
                  <a:lnTo>
                    <a:pt x="38" y="27"/>
                  </a:lnTo>
                  <a:lnTo>
                    <a:pt x="29" y="33"/>
                  </a:lnTo>
                  <a:lnTo>
                    <a:pt x="22" y="41"/>
                  </a:lnTo>
                  <a:lnTo>
                    <a:pt x="16" y="49"/>
                  </a:lnTo>
                  <a:lnTo>
                    <a:pt x="10" y="59"/>
                  </a:lnTo>
                  <a:lnTo>
                    <a:pt x="6" y="68"/>
                  </a:lnTo>
                  <a:lnTo>
                    <a:pt x="2" y="79"/>
                  </a:lnTo>
                  <a:lnTo>
                    <a:pt x="1" y="91"/>
                  </a:lnTo>
                  <a:lnTo>
                    <a:pt x="0" y="103"/>
                  </a:lnTo>
                  <a:lnTo>
                    <a:pt x="4" y="116"/>
                  </a:lnTo>
                  <a:lnTo>
                    <a:pt x="12" y="141"/>
                  </a:lnTo>
                  <a:lnTo>
                    <a:pt x="21" y="167"/>
                  </a:lnTo>
                  <a:lnTo>
                    <a:pt x="24" y="181"/>
                  </a:lnTo>
                  <a:lnTo>
                    <a:pt x="60" y="181"/>
                  </a:lnTo>
                  <a:lnTo>
                    <a:pt x="102" y="184"/>
                  </a:lnTo>
                  <a:lnTo>
                    <a:pt x="124" y="188"/>
                  </a:lnTo>
                  <a:lnTo>
                    <a:pt x="141" y="193"/>
                  </a:lnTo>
                  <a:lnTo>
                    <a:pt x="149" y="197"/>
                  </a:lnTo>
                  <a:lnTo>
                    <a:pt x="154" y="201"/>
                  </a:lnTo>
                  <a:lnTo>
                    <a:pt x="160" y="205"/>
                  </a:lnTo>
                  <a:lnTo>
                    <a:pt x="162" y="211"/>
                  </a:lnTo>
                  <a:lnTo>
                    <a:pt x="166" y="217"/>
                  </a:lnTo>
                  <a:lnTo>
                    <a:pt x="169" y="224"/>
                  </a:lnTo>
                  <a:lnTo>
                    <a:pt x="172" y="231"/>
                  </a:lnTo>
                  <a:lnTo>
                    <a:pt x="173" y="237"/>
                  </a:lnTo>
                  <a:lnTo>
                    <a:pt x="174" y="249"/>
                  </a:lnTo>
                  <a:lnTo>
                    <a:pt x="174" y="261"/>
                  </a:lnTo>
                  <a:lnTo>
                    <a:pt x="176" y="267"/>
                  </a:lnTo>
                  <a:lnTo>
                    <a:pt x="177" y="271"/>
                  </a:lnTo>
                  <a:lnTo>
                    <a:pt x="178" y="276"/>
                  </a:lnTo>
                  <a:lnTo>
                    <a:pt x="181" y="280"/>
                  </a:lnTo>
                  <a:lnTo>
                    <a:pt x="185" y="283"/>
                  </a:lnTo>
                  <a:lnTo>
                    <a:pt x="190" y="285"/>
                  </a:lnTo>
                  <a:lnTo>
                    <a:pt x="197" y="288"/>
                  </a:lnTo>
                  <a:lnTo>
                    <a:pt x="205" y="289"/>
                  </a:lnTo>
                  <a:lnTo>
                    <a:pt x="205" y="315"/>
                  </a:lnTo>
                  <a:lnTo>
                    <a:pt x="208" y="335"/>
                  </a:lnTo>
                  <a:lnTo>
                    <a:pt x="209" y="344"/>
                  </a:lnTo>
                  <a:lnTo>
                    <a:pt x="213" y="353"/>
                  </a:lnTo>
                  <a:lnTo>
                    <a:pt x="217" y="360"/>
                  </a:lnTo>
                  <a:lnTo>
                    <a:pt x="222" y="368"/>
                  </a:lnTo>
                  <a:lnTo>
                    <a:pt x="232" y="372"/>
                  </a:lnTo>
                  <a:lnTo>
                    <a:pt x="244" y="376"/>
                  </a:lnTo>
                  <a:lnTo>
                    <a:pt x="258" y="379"/>
                  </a:lnTo>
                  <a:lnTo>
                    <a:pt x="277" y="380"/>
                  </a:lnTo>
                  <a:lnTo>
                    <a:pt x="282" y="379"/>
                  </a:lnTo>
                  <a:lnTo>
                    <a:pt x="288" y="379"/>
                  </a:lnTo>
                  <a:lnTo>
                    <a:pt x="293" y="376"/>
                  </a:lnTo>
                  <a:lnTo>
                    <a:pt x="298" y="373"/>
                  </a:lnTo>
                  <a:lnTo>
                    <a:pt x="308" y="368"/>
                  </a:lnTo>
                  <a:lnTo>
                    <a:pt x="316" y="361"/>
                  </a:lnTo>
                  <a:lnTo>
                    <a:pt x="325" y="355"/>
                  </a:lnTo>
                  <a:lnTo>
                    <a:pt x="334" y="349"/>
                  </a:lnTo>
                  <a:lnTo>
                    <a:pt x="340" y="347"/>
                  </a:lnTo>
                  <a:lnTo>
                    <a:pt x="345" y="345"/>
                  </a:lnTo>
                  <a:lnTo>
                    <a:pt x="350" y="344"/>
                  </a:lnTo>
                  <a:lnTo>
                    <a:pt x="356" y="344"/>
                  </a:lnTo>
                  <a:lnTo>
                    <a:pt x="364" y="344"/>
                  </a:lnTo>
                  <a:lnTo>
                    <a:pt x="373" y="347"/>
                  </a:lnTo>
                  <a:lnTo>
                    <a:pt x="381" y="351"/>
                  </a:lnTo>
                  <a:lnTo>
                    <a:pt x="388" y="356"/>
                  </a:lnTo>
                  <a:lnTo>
                    <a:pt x="396" y="360"/>
                  </a:lnTo>
                  <a:lnTo>
                    <a:pt x="402" y="364"/>
                  </a:lnTo>
                  <a:lnTo>
                    <a:pt x="409" y="367"/>
                  </a:lnTo>
                  <a:lnTo>
                    <a:pt x="416" y="368"/>
                  </a:lnTo>
                  <a:lnTo>
                    <a:pt x="434" y="359"/>
                  </a:lnTo>
                  <a:lnTo>
                    <a:pt x="452" y="349"/>
                  </a:lnTo>
                  <a:lnTo>
                    <a:pt x="457" y="351"/>
                  </a:lnTo>
                  <a:lnTo>
                    <a:pt x="461" y="353"/>
                  </a:lnTo>
                  <a:lnTo>
                    <a:pt x="465" y="357"/>
                  </a:lnTo>
                  <a:lnTo>
                    <a:pt x="470" y="363"/>
                  </a:lnTo>
                  <a:lnTo>
                    <a:pt x="478" y="372"/>
                  </a:lnTo>
                  <a:lnTo>
                    <a:pt x="488" y="380"/>
                  </a:lnTo>
                  <a:lnTo>
                    <a:pt x="511" y="380"/>
                  </a:lnTo>
                  <a:lnTo>
                    <a:pt x="511" y="392"/>
                  </a:lnTo>
                  <a:lnTo>
                    <a:pt x="513" y="381"/>
                  </a:lnTo>
                  <a:lnTo>
                    <a:pt x="517" y="372"/>
                  </a:lnTo>
                  <a:lnTo>
                    <a:pt x="521" y="364"/>
                  </a:lnTo>
                  <a:lnTo>
                    <a:pt x="527" y="357"/>
                  </a:lnTo>
                  <a:lnTo>
                    <a:pt x="533" y="351"/>
                  </a:lnTo>
                  <a:lnTo>
                    <a:pt x="537" y="344"/>
                  </a:lnTo>
                  <a:lnTo>
                    <a:pt x="541" y="337"/>
                  </a:lnTo>
                  <a:lnTo>
                    <a:pt x="542" y="332"/>
                  </a:lnTo>
                  <a:lnTo>
                    <a:pt x="541" y="324"/>
                  </a:lnTo>
                  <a:lnTo>
                    <a:pt x="538" y="317"/>
                  </a:lnTo>
                  <a:lnTo>
                    <a:pt x="534" y="309"/>
                  </a:lnTo>
                  <a:lnTo>
                    <a:pt x="530" y="303"/>
                  </a:lnTo>
                  <a:lnTo>
                    <a:pt x="526" y="295"/>
                  </a:lnTo>
                  <a:lnTo>
                    <a:pt x="522" y="288"/>
                  </a:lnTo>
                  <a:lnTo>
                    <a:pt x="519" y="283"/>
                  </a:lnTo>
                  <a:lnTo>
                    <a:pt x="518" y="277"/>
                  </a:lnTo>
                  <a:lnTo>
                    <a:pt x="518" y="269"/>
                  </a:lnTo>
                  <a:lnTo>
                    <a:pt x="518" y="260"/>
                  </a:lnTo>
                  <a:lnTo>
                    <a:pt x="518" y="251"/>
                  </a:lnTo>
                  <a:lnTo>
                    <a:pt x="518" y="235"/>
                  </a:lnTo>
                  <a:lnTo>
                    <a:pt x="510" y="235"/>
                  </a:lnTo>
                  <a:lnTo>
                    <a:pt x="505" y="233"/>
                  </a:lnTo>
                  <a:lnTo>
                    <a:pt x="501" y="231"/>
                  </a:lnTo>
                  <a:lnTo>
                    <a:pt x="497" y="227"/>
                  </a:lnTo>
                  <a:lnTo>
                    <a:pt x="494" y="224"/>
                  </a:lnTo>
                  <a:lnTo>
                    <a:pt x="493" y="219"/>
                  </a:lnTo>
                  <a:lnTo>
                    <a:pt x="492" y="215"/>
                  </a:lnTo>
                  <a:lnTo>
                    <a:pt x="492" y="209"/>
                  </a:lnTo>
                  <a:lnTo>
                    <a:pt x="490" y="199"/>
                  </a:lnTo>
                  <a:lnTo>
                    <a:pt x="489" y="189"/>
                  </a:lnTo>
                  <a:lnTo>
                    <a:pt x="489" y="185"/>
                  </a:lnTo>
                  <a:lnTo>
                    <a:pt x="486" y="181"/>
                  </a:lnTo>
                  <a:lnTo>
                    <a:pt x="485" y="177"/>
                  </a:lnTo>
                  <a:lnTo>
                    <a:pt x="482" y="175"/>
                  </a:lnTo>
                  <a:lnTo>
                    <a:pt x="470" y="175"/>
                  </a:lnTo>
                  <a:lnTo>
                    <a:pt x="458" y="175"/>
                  </a:lnTo>
                  <a:lnTo>
                    <a:pt x="452" y="173"/>
                  </a:lnTo>
                  <a:lnTo>
                    <a:pt x="448" y="171"/>
                  </a:lnTo>
                  <a:lnTo>
                    <a:pt x="444" y="167"/>
                  </a:lnTo>
                  <a:lnTo>
                    <a:pt x="440" y="161"/>
                  </a:lnTo>
                  <a:lnTo>
                    <a:pt x="437" y="156"/>
                  </a:lnTo>
                  <a:lnTo>
                    <a:pt x="433" y="149"/>
                  </a:lnTo>
                  <a:lnTo>
                    <a:pt x="428" y="144"/>
                  </a:lnTo>
                  <a:lnTo>
                    <a:pt x="422" y="139"/>
                  </a:lnTo>
                  <a:lnTo>
                    <a:pt x="417" y="135"/>
                  </a:lnTo>
                  <a:lnTo>
                    <a:pt x="412" y="132"/>
                  </a:lnTo>
                  <a:lnTo>
                    <a:pt x="406" y="129"/>
                  </a:lnTo>
                  <a:lnTo>
                    <a:pt x="401" y="127"/>
                  </a:lnTo>
                  <a:lnTo>
                    <a:pt x="388" y="125"/>
                  </a:lnTo>
                  <a:lnTo>
                    <a:pt x="374" y="124"/>
                  </a:lnTo>
                  <a:lnTo>
                    <a:pt x="360" y="124"/>
                  </a:lnTo>
                  <a:lnTo>
                    <a:pt x="345" y="123"/>
                  </a:lnTo>
                  <a:lnTo>
                    <a:pt x="329" y="120"/>
                  </a:lnTo>
                  <a:lnTo>
                    <a:pt x="313" y="115"/>
                  </a:lnTo>
                  <a:lnTo>
                    <a:pt x="301" y="112"/>
                  </a:lnTo>
                  <a:lnTo>
                    <a:pt x="292" y="108"/>
                  </a:lnTo>
                  <a:lnTo>
                    <a:pt x="284" y="103"/>
                  </a:lnTo>
                  <a:lnTo>
                    <a:pt x="277" y="97"/>
                  </a:lnTo>
                  <a:lnTo>
                    <a:pt x="269" y="92"/>
                  </a:lnTo>
                  <a:lnTo>
                    <a:pt x="260" y="85"/>
                  </a:lnTo>
                  <a:lnTo>
                    <a:pt x="249" y="79"/>
                  </a:lnTo>
                  <a:lnTo>
                    <a:pt x="234" y="72"/>
                  </a:lnTo>
                  <a:lnTo>
                    <a:pt x="230" y="71"/>
                  </a:lnTo>
                  <a:lnTo>
                    <a:pt x="224" y="68"/>
                  </a:lnTo>
                  <a:lnTo>
                    <a:pt x="217" y="63"/>
                  </a:lnTo>
                  <a:lnTo>
                    <a:pt x="209" y="56"/>
                  </a:lnTo>
                  <a:lnTo>
                    <a:pt x="202" y="49"/>
                  </a:lnTo>
                  <a:lnTo>
                    <a:pt x="198" y="41"/>
                  </a:lnTo>
                  <a:lnTo>
                    <a:pt x="194" y="36"/>
                  </a:lnTo>
                  <a:lnTo>
                    <a:pt x="193" y="31"/>
                  </a:lnTo>
                  <a:lnTo>
                    <a:pt x="193" y="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3" name="Freeform 109"/>
            <p:cNvSpPr>
              <a:spLocks/>
            </p:cNvSpPr>
            <p:nvPr/>
          </p:nvSpPr>
          <p:spPr bwMode="auto">
            <a:xfrm>
              <a:off x="1717997" y="4521200"/>
              <a:ext cx="471488" cy="403225"/>
            </a:xfrm>
            <a:custGeom>
              <a:avLst/>
              <a:gdLst/>
              <a:ahLst/>
              <a:cxnLst>
                <a:cxn ang="0">
                  <a:pos x="555" y="13"/>
                </a:cxn>
                <a:cxn ang="0">
                  <a:pos x="506" y="24"/>
                </a:cxn>
                <a:cxn ang="0">
                  <a:pos x="471" y="7"/>
                </a:cxn>
                <a:cxn ang="0">
                  <a:pos x="435" y="1"/>
                </a:cxn>
                <a:cxn ang="0">
                  <a:pos x="398" y="24"/>
                </a:cxn>
                <a:cxn ang="0">
                  <a:pos x="367" y="36"/>
                </a:cxn>
                <a:cxn ang="0">
                  <a:pos x="276" y="43"/>
                </a:cxn>
                <a:cxn ang="0">
                  <a:pos x="191" y="93"/>
                </a:cxn>
                <a:cxn ang="0">
                  <a:pos x="175" y="144"/>
                </a:cxn>
                <a:cxn ang="0">
                  <a:pos x="171" y="179"/>
                </a:cxn>
                <a:cxn ang="0">
                  <a:pos x="132" y="202"/>
                </a:cxn>
                <a:cxn ang="0">
                  <a:pos x="88" y="188"/>
                </a:cxn>
                <a:cxn ang="0">
                  <a:pos x="22" y="191"/>
                </a:cxn>
                <a:cxn ang="0">
                  <a:pos x="22" y="232"/>
                </a:cxn>
                <a:cxn ang="0">
                  <a:pos x="79" y="249"/>
                </a:cxn>
                <a:cxn ang="0">
                  <a:pos x="138" y="252"/>
                </a:cxn>
                <a:cxn ang="0">
                  <a:pos x="155" y="284"/>
                </a:cxn>
                <a:cxn ang="0">
                  <a:pos x="172" y="318"/>
                </a:cxn>
                <a:cxn ang="0">
                  <a:pos x="218" y="329"/>
                </a:cxn>
                <a:cxn ang="0">
                  <a:pos x="282" y="326"/>
                </a:cxn>
                <a:cxn ang="0">
                  <a:pos x="294" y="340"/>
                </a:cxn>
                <a:cxn ang="0">
                  <a:pos x="302" y="409"/>
                </a:cxn>
                <a:cxn ang="0">
                  <a:pos x="332" y="473"/>
                </a:cxn>
                <a:cxn ang="0">
                  <a:pos x="378" y="525"/>
                </a:cxn>
                <a:cxn ang="0">
                  <a:pos x="432" y="542"/>
                </a:cxn>
                <a:cxn ang="0">
                  <a:pos x="471" y="532"/>
                </a:cxn>
                <a:cxn ang="0">
                  <a:pos x="491" y="508"/>
                </a:cxn>
                <a:cxn ang="0">
                  <a:pos x="567" y="638"/>
                </a:cxn>
                <a:cxn ang="0">
                  <a:pos x="617" y="684"/>
                </a:cxn>
                <a:cxn ang="0">
                  <a:pos x="663" y="710"/>
                </a:cxn>
                <a:cxn ang="0">
                  <a:pos x="640" y="742"/>
                </a:cxn>
                <a:cxn ang="0">
                  <a:pos x="637" y="785"/>
                </a:cxn>
                <a:cxn ang="0">
                  <a:pos x="677" y="825"/>
                </a:cxn>
                <a:cxn ang="0">
                  <a:pos x="691" y="778"/>
                </a:cxn>
                <a:cxn ang="0">
                  <a:pos x="715" y="742"/>
                </a:cxn>
                <a:cxn ang="0">
                  <a:pos x="777" y="692"/>
                </a:cxn>
                <a:cxn ang="0">
                  <a:pos x="805" y="644"/>
                </a:cxn>
                <a:cxn ang="0">
                  <a:pos x="795" y="596"/>
                </a:cxn>
                <a:cxn ang="0">
                  <a:pos x="807" y="565"/>
                </a:cxn>
                <a:cxn ang="0">
                  <a:pos x="928" y="545"/>
                </a:cxn>
                <a:cxn ang="0">
                  <a:pos x="972" y="518"/>
                </a:cxn>
                <a:cxn ang="0">
                  <a:pos x="973" y="493"/>
                </a:cxn>
                <a:cxn ang="0">
                  <a:pos x="948" y="456"/>
                </a:cxn>
                <a:cxn ang="0">
                  <a:pos x="939" y="414"/>
                </a:cxn>
                <a:cxn ang="0">
                  <a:pos x="905" y="418"/>
                </a:cxn>
                <a:cxn ang="0">
                  <a:pos x="925" y="381"/>
                </a:cxn>
                <a:cxn ang="0">
                  <a:pos x="949" y="353"/>
                </a:cxn>
                <a:cxn ang="0">
                  <a:pos x="899" y="326"/>
                </a:cxn>
                <a:cxn ang="0">
                  <a:pos x="927" y="252"/>
                </a:cxn>
                <a:cxn ang="0">
                  <a:pos x="859" y="268"/>
                </a:cxn>
                <a:cxn ang="0">
                  <a:pos x="863" y="301"/>
                </a:cxn>
                <a:cxn ang="0">
                  <a:pos x="843" y="320"/>
                </a:cxn>
                <a:cxn ang="0">
                  <a:pos x="759" y="312"/>
                </a:cxn>
                <a:cxn ang="0">
                  <a:pos x="709" y="294"/>
                </a:cxn>
                <a:cxn ang="0">
                  <a:pos x="693" y="266"/>
                </a:cxn>
                <a:cxn ang="0">
                  <a:pos x="688" y="230"/>
                </a:cxn>
                <a:cxn ang="0">
                  <a:pos x="645" y="168"/>
                </a:cxn>
                <a:cxn ang="0">
                  <a:pos x="604" y="65"/>
                </a:cxn>
              </a:cxnLst>
              <a:rect l="0" t="0" r="r" b="b"/>
              <a:pathLst>
                <a:path w="975" h="830">
                  <a:moveTo>
                    <a:pt x="601" y="36"/>
                  </a:moveTo>
                  <a:lnTo>
                    <a:pt x="578" y="36"/>
                  </a:lnTo>
                  <a:lnTo>
                    <a:pt x="568" y="28"/>
                  </a:lnTo>
                  <a:lnTo>
                    <a:pt x="560" y="19"/>
                  </a:lnTo>
                  <a:lnTo>
                    <a:pt x="555" y="13"/>
                  </a:lnTo>
                  <a:lnTo>
                    <a:pt x="551" y="9"/>
                  </a:lnTo>
                  <a:lnTo>
                    <a:pt x="547" y="7"/>
                  </a:lnTo>
                  <a:lnTo>
                    <a:pt x="542" y="5"/>
                  </a:lnTo>
                  <a:lnTo>
                    <a:pt x="524" y="15"/>
                  </a:lnTo>
                  <a:lnTo>
                    <a:pt x="506" y="24"/>
                  </a:lnTo>
                  <a:lnTo>
                    <a:pt x="499" y="23"/>
                  </a:lnTo>
                  <a:lnTo>
                    <a:pt x="492" y="20"/>
                  </a:lnTo>
                  <a:lnTo>
                    <a:pt x="486" y="16"/>
                  </a:lnTo>
                  <a:lnTo>
                    <a:pt x="478" y="12"/>
                  </a:lnTo>
                  <a:lnTo>
                    <a:pt x="471" y="7"/>
                  </a:lnTo>
                  <a:lnTo>
                    <a:pt x="463" y="3"/>
                  </a:lnTo>
                  <a:lnTo>
                    <a:pt x="454" y="0"/>
                  </a:lnTo>
                  <a:lnTo>
                    <a:pt x="446" y="0"/>
                  </a:lnTo>
                  <a:lnTo>
                    <a:pt x="440" y="0"/>
                  </a:lnTo>
                  <a:lnTo>
                    <a:pt x="435" y="1"/>
                  </a:lnTo>
                  <a:lnTo>
                    <a:pt x="430" y="3"/>
                  </a:lnTo>
                  <a:lnTo>
                    <a:pt x="424" y="5"/>
                  </a:lnTo>
                  <a:lnTo>
                    <a:pt x="415" y="11"/>
                  </a:lnTo>
                  <a:lnTo>
                    <a:pt x="406" y="17"/>
                  </a:lnTo>
                  <a:lnTo>
                    <a:pt x="398" y="24"/>
                  </a:lnTo>
                  <a:lnTo>
                    <a:pt x="388" y="29"/>
                  </a:lnTo>
                  <a:lnTo>
                    <a:pt x="383" y="32"/>
                  </a:lnTo>
                  <a:lnTo>
                    <a:pt x="378" y="35"/>
                  </a:lnTo>
                  <a:lnTo>
                    <a:pt x="372" y="35"/>
                  </a:lnTo>
                  <a:lnTo>
                    <a:pt x="367" y="36"/>
                  </a:lnTo>
                  <a:lnTo>
                    <a:pt x="348" y="35"/>
                  </a:lnTo>
                  <a:lnTo>
                    <a:pt x="334" y="32"/>
                  </a:lnTo>
                  <a:lnTo>
                    <a:pt x="322" y="28"/>
                  </a:lnTo>
                  <a:lnTo>
                    <a:pt x="312" y="24"/>
                  </a:lnTo>
                  <a:lnTo>
                    <a:pt x="276" y="43"/>
                  </a:lnTo>
                  <a:lnTo>
                    <a:pt x="230" y="65"/>
                  </a:lnTo>
                  <a:lnTo>
                    <a:pt x="219" y="72"/>
                  </a:lnTo>
                  <a:lnTo>
                    <a:pt x="208" y="79"/>
                  </a:lnTo>
                  <a:lnTo>
                    <a:pt x="199" y="85"/>
                  </a:lnTo>
                  <a:lnTo>
                    <a:pt x="191" y="93"/>
                  </a:lnTo>
                  <a:lnTo>
                    <a:pt x="184" y="100"/>
                  </a:lnTo>
                  <a:lnTo>
                    <a:pt x="179" y="109"/>
                  </a:lnTo>
                  <a:lnTo>
                    <a:pt x="175" y="117"/>
                  </a:lnTo>
                  <a:lnTo>
                    <a:pt x="175" y="125"/>
                  </a:lnTo>
                  <a:lnTo>
                    <a:pt x="175" y="144"/>
                  </a:lnTo>
                  <a:lnTo>
                    <a:pt x="175" y="153"/>
                  </a:lnTo>
                  <a:lnTo>
                    <a:pt x="175" y="161"/>
                  </a:lnTo>
                  <a:lnTo>
                    <a:pt x="175" y="168"/>
                  </a:lnTo>
                  <a:lnTo>
                    <a:pt x="174" y="173"/>
                  </a:lnTo>
                  <a:lnTo>
                    <a:pt x="171" y="179"/>
                  </a:lnTo>
                  <a:lnTo>
                    <a:pt x="167" y="185"/>
                  </a:lnTo>
                  <a:lnTo>
                    <a:pt x="160" y="191"/>
                  </a:lnTo>
                  <a:lnTo>
                    <a:pt x="154" y="196"/>
                  </a:lnTo>
                  <a:lnTo>
                    <a:pt x="144" y="200"/>
                  </a:lnTo>
                  <a:lnTo>
                    <a:pt x="132" y="202"/>
                  </a:lnTo>
                  <a:lnTo>
                    <a:pt x="120" y="204"/>
                  </a:lnTo>
                  <a:lnTo>
                    <a:pt x="111" y="202"/>
                  </a:lnTo>
                  <a:lnTo>
                    <a:pt x="103" y="200"/>
                  </a:lnTo>
                  <a:lnTo>
                    <a:pt x="95" y="195"/>
                  </a:lnTo>
                  <a:lnTo>
                    <a:pt x="88" y="188"/>
                  </a:lnTo>
                  <a:lnTo>
                    <a:pt x="76" y="176"/>
                  </a:lnTo>
                  <a:lnTo>
                    <a:pt x="66" y="168"/>
                  </a:lnTo>
                  <a:lnTo>
                    <a:pt x="48" y="179"/>
                  </a:lnTo>
                  <a:lnTo>
                    <a:pt x="31" y="187"/>
                  </a:lnTo>
                  <a:lnTo>
                    <a:pt x="22" y="191"/>
                  </a:lnTo>
                  <a:lnTo>
                    <a:pt x="14" y="196"/>
                  </a:lnTo>
                  <a:lnTo>
                    <a:pt x="7" y="202"/>
                  </a:lnTo>
                  <a:lnTo>
                    <a:pt x="0" y="210"/>
                  </a:lnTo>
                  <a:lnTo>
                    <a:pt x="12" y="222"/>
                  </a:lnTo>
                  <a:lnTo>
                    <a:pt x="22" y="232"/>
                  </a:lnTo>
                  <a:lnTo>
                    <a:pt x="30" y="238"/>
                  </a:lnTo>
                  <a:lnTo>
                    <a:pt x="36" y="240"/>
                  </a:lnTo>
                  <a:lnTo>
                    <a:pt x="51" y="245"/>
                  </a:lnTo>
                  <a:lnTo>
                    <a:pt x="66" y="248"/>
                  </a:lnTo>
                  <a:lnTo>
                    <a:pt x="79" y="249"/>
                  </a:lnTo>
                  <a:lnTo>
                    <a:pt x="91" y="249"/>
                  </a:lnTo>
                  <a:lnTo>
                    <a:pt x="104" y="248"/>
                  </a:lnTo>
                  <a:lnTo>
                    <a:pt x="115" y="248"/>
                  </a:lnTo>
                  <a:lnTo>
                    <a:pt x="127" y="249"/>
                  </a:lnTo>
                  <a:lnTo>
                    <a:pt x="138" y="252"/>
                  </a:lnTo>
                  <a:lnTo>
                    <a:pt x="143" y="256"/>
                  </a:lnTo>
                  <a:lnTo>
                    <a:pt x="146" y="261"/>
                  </a:lnTo>
                  <a:lnTo>
                    <a:pt x="148" y="265"/>
                  </a:lnTo>
                  <a:lnTo>
                    <a:pt x="151" y="272"/>
                  </a:lnTo>
                  <a:lnTo>
                    <a:pt x="155" y="284"/>
                  </a:lnTo>
                  <a:lnTo>
                    <a:pt x="159" y="296"/>
                  </a:lnTo>
                  <a:lnTo>
                    <a:pt x="162" y="302"/>
                  </a:lnTo>
                  <a:lnTo>
                    <a:pt x="164" y="308"/>
                  </a:lnTo>
                  <a:lnTo>
                    <a:pt x="168" y="313"/>
                  </a:lnTo>
                  <a:lnTo>
                    <a:pt x="172" y="318"/>
                  </a:lnTo>
                  <a:lnTo>
                    <a:pt x="178" y="322"/>
                  </a:lnTo>
                  <a:lnTo>
                    <a:pt x="183" y="326"/>
                  </a:lnTo>
                  <a:lnTo>
                    <a:pt x="190" y="329"/>
                  </a:lnTo>
                  <a:lnTo>
                    <a:pt x="199" y="330"/>
                  </a:lnTo>
                  <a:lnTo>
                    <a:pt x="218" y="329"/>
                  </a:lnTo>
                  <a:lnTo>
                    <a:pt x="239" y="328"/>
                  </a:lnTo>
                  <a:lnTo>
                    <a:pt x="258" y="325"/>
                  </a:lnTo>
                  <a:lnTo>
                    <a:pt x="271" y="325"/>
                  </a:lnTo>
                  <a:lnTo>
                    <a:pt x="276" y="325"/>
                  </a:lnTo>
                  <a:lnTo>
                    <a:pt x="282" y="326"/>
                  </a:lnTo>
                  <a:lnTo>
                    <a:pt x="286" y="328"/>
                  </a:lnTo>
                  <a:lnTo>
                    <a:pt x="288" y="329"/>
                  </a:lnTo>
                  <a:lnTo>
                    <a:pt x="291" y="332"/>
                  </a:lnTo>
                  <a:lnTo>
                    <a:pt x="292" y="336"/>
                  </a:lnTo>
                  <a:lnTo>
                    <a:pt x="294" y="340"/>
                  </a:lnTo>
                  <a:lnTo>
                    <a:pt x="294" y="344"/>
                  </a:lnTo>
                  <a:lnTo>
                    <a:pt x="294" y="362"/>
                  </a:lnTo>
                  <a:lnTo>
                    <a:pt x="295" y="385"/>
                  </a:lnTo>
                  <a:lnTo>
                    <a:pt x="298" y="397"/>
                  </a:lnTo>
                  <a:lnTo>
                    <a:pt x="302" y="409"/>
                  </a:lnTo>
                  <a:lnTo>
                    <a:pt x="306" y="421"/>
                  </a:lnTo>
                  <a:lnTo>
                    <a:pt x="311" y="434"/>
                  </a:lnTo>
                  <a:lnTo>
                    <a:pt x="318" y="448"/>
                  </a:lnTo>
                  <a:lnTo>
                    <a:pt x="324" y="461"/>
                  </a:lnTo>
                  <a:lnTo>
                    <a:pt x="332" y="473"/>
                  </a:lnTo>
                  <a:lnTo>
                    <a:pt x="340" y="485"/>
                  </a:lnTo>
                  <a:lnTo>
                    <a:pt x="348" y="497"/>
                  </a:lnTo>
                  <a:lnTo>
                    <a:pt x="358" y="508"/>
                  </a:lnTo>
                  <a:lnTo>
                    <a:pt x="368" y="517"/>
                  </a:lnTo>
                  <a:lnTo>
                    <a:pt x="378" y="525"/>
                  </a:lnTo>
                  <a:lnTo>
                    <a:pt x="388" y="532"/>
                  </a:lnTo>
                  <a:lnTo>
                    <a:pt x="399" y="537"/>
                  </a:lnTo>
                  <a:lnTo>
                    <a:pt x="410" y="540"/>
                  </a:lnTo>
                  <a:lnTo>
                    <a:pt x="422" y="541"/>
                  </a:lnTo>
                  <a:lnTo>
                    <a:pt x="432" y="542"/>
                  </a:lnTo>
                  <a:lnTo>
                    <a:pt x="446" y="544"/>
                  </a:lnTo>
                  <a:lnTo>
                    <a:pt x="459" y="546"/>
                  </a:lnTo>
                  <a:lnTo>
                    <a:pt x="470" y="548"/>
                  </a:lnTo>
                  <a:lnTo>
                    <a:pt x="470" y="538"/>
                  </a:lnTo>
                  <a:lnTo>
                    <a:pt x="471" y="532"/>
                  </a:lnTo>
                  <a:lnTo>
                    <a:pt x="472" y="525"/>
                  </a:lnTo>
                  <a:lnTo>
                    <a:pt x="475" y="520"/>
                  </a:lnTo>
                  <a:lnTo>
                    <a:pt x="479" y="514"/>
                  </a:lnTo>
                  <a:lnTo>
                    <a:pt x="484" y="510"/>
                  </a:lnTo>
                  <a:lnTo>
                    <a:pt x="491" y="508"/>
                  </a:lnTo>
                  <a:lnTo>
                    <a:pt x="500" y="505"/>
                  </a:lnTo>
                  <a:lnTo>
                    <a:pt x="522" y="550"/>
                  </a:lnTo>
                  <a:lnTo>
                    <a:pt x="544" y="596"/>
                  </a:lnTo>
                  <a:lnTo>
                    <a:pt x="556" y="618"/>
                  </a:lnTo>
                  <a:lnTo>
                    <a:pt x="567" y="638"/>
                  </a:lnTo>
                  <a:lnTo>
                    <a:pt x="579" y="657"/>
                  </a:lnTo>
                  <a:lnTo>
                    <a:pt x="589" y="674"/>
                  </a:lnTo>
                  <a:lnTo>
                    <a:pt x="600" y="676"/>
                  </a:lnTo>
                  <a:lnTo>
                    <a:pt x="609" y="678"/>
                  </a:lnTo>
                  <a:lnTo>
                    <a:pt x="617" y="684"/>
                  </a:lnTo>
                  <a:lnTo>
                    <a:pt x="625" y="689"/>
                  </a:lnTo>
                  <a:lnTo>
                    <a:pt x="633" y="696"/>
                  </a:lnTo>
                  <a:lnTo>
                    <a:pt x="643" y="702"/>
                  </a:lnTo>
                  <a:lnTo>
                    <a:pt x="652" y="706"/>
                  </a:lnTo>
                  <a:lnTo>
                    <a:pt x="663" y="710"/>
                  </a:lnTo>
                  <a:lnTo>
                    <a:pt x="659" y="718"/>
                  </a:lnTo>
                  <a:lnTo>
                    <a:pt x="655" y="725"/>
                  </a:lnTo>
                  <a:lnTo>
                    <a:pt x="649" y="732"/>
                  </a:lnTo>
                  <a:lnTo>
                    <a:pt x="645" y="737"/>
                  </a:lnTo>
                  <a:lnTo>
                    <a:pt x="640" y="742"/>
                  </a:lnTo>
                  <a:lnTo>
                    <a:pt x="636" y="749"/>
                  </a:lnTo>
                  <a:lnTo>
                    <a:pt x="633" y="756"/>
                  </a:lnTo>
                  <a:lnTo>
                    <a:pt x="632" y="764"/>
                  </a:lnTo>
                  <a:lnTo>
                    <a:pt x="633" y="776"/>
                  </a:lnTo>
                  <a:lnTo>
                    <a:pt x="637" y="785"/>
                  </a:lnTo>
                  <a:lnTo>
                    <a:pt x="643" y="795"/>
                  </a:lnTo>
                  <a:lnTo>
                    <a:pt x="649" y="803"/>
                  </a:lnTo>
                  <a:lnTo>
                    <a:pt x="659" y="811"/>
                  </a:lnTo>
                  <a:lnTo>
                    <a:pt x="668" y="819"/>
                  </a:lnTo>
                  <a:lnTo>
                    <a:pt x="677" y="825"/>
                  </a:lnTo>
                  <a:lnTo>
                    <a:pt x="687" y="830"/>
                  </a:lnTo>
                  <a:lnTo>
                    <a:pt x="687" y="813"/>
                  </a:lnTo>
                  <a:lnTo>
                    <a:pt x="688" y="795"/>
                  </a:lnTo>
                  <a:lnTo>
                    <a:pt x="689" y="786"/>
                  </a:lnTo>
                  <a:lnTo>
                    <a:pt x="691" y="778"/>
                  </a:lnTo>
                  <a:lnTo>
                    <a:pt x="695" y="772"/>
                  </a:lnTo>
                  <a:lnTo>
                    <a:pt x="699" y="764"/>
                  </a:lnTo>
                  <a:lnTo>
                    <a:pt x="703" y="757"/>
                  </a:lnTo>
                  <a:lnTo>
                    <a:pt x="708" y="749"/>
                  </a:lnTo>
                  <a:lnTo>
                    <a:pt x="715" y="742"/>
                  </a:lnTo>
                  <a:lnTo>
                    <a:pt x="723" y="734"/>
                  </a:lnTo>
                  <a:lnTo>
                    <a:pt x="740" y="721"/>
                  </a:lnTo>
                  <a:lnTo>
                    <a:pt x="759" y="706"/>
                  </a:lnTo>
                  <a:lnTo>
                    <a:pt x="768" y="700"/>
                  </a:lnTo>
                  <a:lnTo>
                    <a:pt x="777" y="692"/>
                  </a:lnTo>
                  <a:lnTo>
                    <a:pt x="785" y="684"/>
                  </a:lnTo>
                  <a:lnTo>
                    <a:pt x="792" y="674"/>
                  </a:lnTo>
                  <a:lnTo>
                    <a:pt x="799" y="665"/>
                  </a:lnTo>
                  <a:lnTo>
                    <a:pt x="803" y="654"/>
                  </a:lnTo>
                  <a:lnTo>
                    <a:pt x="805" y="644"/>
                  </a:lnTo>
                  <a:lnTo>
                    <a:pt x="807" y="632"/>
                  </a:lnTo>
                  <a:lnTo>
                    <a:pt x="805" y="621"/>
                  </a:lnTo>
                  <a:lnTo>
                    <a:pt x="803" y="612"/>
                  </a:lnTo>
                  <a:lnTo>
                    <a:pt x="799" y="604"/>
                  </a:lnTo>
                  <a:lnTo>
                    <a:pt x="795" y="596"/>
                  </a:lnTo>
                  <a:lnTo>
                    <a:pt x="791" y="589"/>
                  </a:lnTo>
                  <a:lnTo>
                    <a:pt x="787" y="581"/>
                  </a:lnTo>
                  <a:lnTo>
                    <a:pt x="784" y="574"/>
                  </a:lnTo>
                  <a:lnTo>
                    <a:pt x="783" y="565"/>
                  </a:lnTo>
                  <a:lnTo>
                    <a:pt x="807" y="565"/>
                  </a:lnTo>
                  <a:lnTo>
                    <a:pt x="836" y="562"/>
                  </a:lnTo>
                  <a:lnTo>
                    <a:pt x="867" y="560"/>
                  </a:lnTo>
                  <a:lnTo>
                    <a:pt x="899" y="553"/>
                  </a:lnTo>
                  <a:lnTo>
                    <a:pt x="915" y="549"/>
                  </a:lnTo>
                  <a:lnTo>
                    <a:pt x="928" y="545"/>
                  </a:lnTo>
                  <a:lnTo>
                    <a:pt x="941" y="541"/>
                  </a:lnTo>
                  <a:lnTo>
                    <a:pt x="953" y="534"/>
                  </a:lnTo>
                  <a:lnTo>
                    <a:pt x="963" y="529"/>
                  </a:lnTo>
                  <a:lnTo>
                    <a:pt x="969" y="521"/>
                  </a:lnTo>
                  <a:lnTo>
                    <a:pt x="972" y="518"/>
                  </a:lnTo>
                  <a:lnTo>
                    <a:pt x="973" y="514"/>
                  </a:lnTo>
                  <a:lnTo>
                    <a:pt x="975" y="509"/>
                  </a:lnTo>
                  <a:lnTo>
                    <a:pt x="975" y="505"/>
                  </a:lnTo>
                  <a:lnTo>
                    <a:pt x="975" y="498"/>
                  </a:lnTo>
                  <a:lnTo>
                    <a:pt x="973" y="493"/>
                  </a:lnTo>
                  <a:lnTo>
                    <a:pt x="972" y="488"/>
                  </a:lnTo>
                  <a:lnTo>
                    <a:pt x="969" y="482"/>
                  </a:lnTo>
                  <a:lnTo>
                    <a:pt x="963" y="473"/>
                  </a:lnTo>
                  <a:lnTo>
                    <a:pt x="955" y="465"/>
                  </a:lnTo>
                  <a:lnTo>
                    <a:pt x="948" y="456"/>
                  </a:lnTo>
                  <a:lnTo>
                    <a:pt x="943" y="444"/>
                  </a:lnTo>
                  <a:lnTo>
                    <a:pt x="940" y="438"/>
                  </a:lnTo>
                  <a:lnTo>
                    <a:pt x="939" y="432"/>
                  </a:lnTo>
                  <a:lnTo>
                    <a:pt x="939" y="424"/>
                  </a:lnTo>
                  <a:lnTo>
                    <a:pt x="939" y="414"/>
                  </a:lnTo>
                  <a:lnTo>
                    <a:pt x="928" y="420"/>
                  </a:lnTo>
                  <a:lnTo>
                    <a:pt x="920" y="421"/>
                  </a:lnTo>
                  <a:lnTo>
                    <a:pt x="916" y="421"/>
                  </a:lnTo>
                  <a:lnTo>
                    <a:pt x="911" y="421"/>
                  </a:lnTo>
                  <a:lnTo>
                    <a:pt x="905" y="418"/>
                  </a:lnTo>
                  <a:lnTo>
                    <a:pt x="897" y="414"/>
                  </a:lnTo>
                  <a:lnTo>
                    <a:pt x="897" y="390"/>
                  </a:lnTo>
                  <a:lnTo>
                    <a:pt x="907" y="388"/>
                  </a:lnTo>
                  <a:lnTo>
                    <a:pt x="916" y="385"/>
                  </a:lnTo>
                  <a:lnTo>
                    <a:pt x="925" y="381"/>
                  </a:lnTo>
                  <a:lnTo>
                    <a:pt x="933" y="376"/>
                  </a:lnTo>
                  <a:lnTo>
                    <a:pt x="940" y="369"/>
                  </a:lnTo>
                  <a:lnTo>
                    <a:pt x="947" y="362"/>
                  </a:lnTo>
                  <a:lnTo>
                    <a:pt x="948" y="357"/>
                  </a:lnTo>
                  <a:lnTo>
                    <a:pt x="949" y="353"/>
                  </a:lnTo>
                  <a:lnTo>
                    <a:pt x="951" y="348"/>
                  </a:lnTo>
                  <a:lnTo>
                    <a:pt x="951" y="342"/>
                  </a:lnTo>
                  <a:lnTo>
                    <a:pt x="897" y="342"/>
                  </a:lnTo>
                  <a:lnTo>
                    <a:pt x="897" y="334"/>
                  </a:lnTo>
                  <a:lnTo>
                    <a:pt x="899" y="326"/>
                  </a:lnTo>
                  <a:lnTo>
                    <a:pt x="901" y="320"/>
                  </a:lnTo>
                  <a:lnTo>
                    <a:pt x="905" y="313"/>
                  </a:lnTo>
                  <a:lnTo>
                    <a:pt x="915" y="301"/>
                  </a:lnTo>
                  <a:lnTo>
                    <a:pt x="927" y="288"/>
                  </a:lnTo>
                  <a:lnTo>
                    <a:pt x="927" y="252"/>
                  </a:lnTo>
                  <a:lnTo>
                    <a:pt x="891" y="252"/>
                  </a:lnTo>
                  <a:lnTo>
                    <a:pt x="880" y="257"/>
                  </a:lnTo>
                  <a:lnTo>
                    <a:pt x="868" y="262"/>
                  </a:lnTo>
                  <a:lnTo>
                    <a:pt x="863" y="265"/>
                  </a:lnTo>
                  <a:lnTo>
                    <a:pt x="859" y="268"/>
                  </a:lnTo>
                  <a:lnTo>
                    <a:pt x="856" y="272"/>
                  </a:lnTo>
                  <a:lnTo>
                    <a:pt x="855" y="276"/>
                  </a:lnTo>
                  <a:lnTo>
                    <a:pt x="856" y="286"/>
                  </a:lnTo>
                  <a:lnTo>
                    <a:pt x="859" y="294"/>
                  </a:lnTo>
                  <a:lnTo>
                    <a:pt x="863" y="301"/>
                  </a:lnTo>
                  <a:lnTo>
                    <a:pt x="867" y="313"/>
                  </a:lnTo>
                  <a:lnTo>
                    <a:pt x="861" y="316"/>
                  </a:lnTo>
                  <a:lnTo>
                    <a:pt x="855" y="317"/>
                  </a:lnTo>
                  <a:lnTo>
                    <a:pt x="849" y="320"/>
                  </a:lnTo>
                  <a:lnTo>
                    <a:pt x="843" y="320"/>
                  </a:lnTo>
                  <a:lnTo>
                    <a:pt x="831" y="320"/>
                  </a:lnTo>
                  <a:lnTo>
                    <a:pt x="819" y="320"/>
                  </a:lnTo>
                  <a:lnTo>
                    <a:pt x="793" y="314"/>
                  </a:lnTo>
                  <a:lnTo>
                    <a:pt x="771" y="313"/>
                  </a:lnTo>
                  <a:lnTo>
                    <a:pt x="759" y="312"/>
                  </a:lnTo>
                  <a:lnTo>
                    <a:pt x="745" y="310"/>
                  </a:lnTo>
                  <a:lnTo>
                    <a:pt x="732" y="306"/>
                  </a:lnTo>
                  <a:lnTo>
                    <a:pt x="720" y="301"/>
                  </a:lnTo>
                  <a:lnTo>
                    <a:pt x="715" y="298"/>
                  </a:lnTo>
                  <a:lnTo>
                    <a:pt x="709" y="294"/>
                  </a:lnTo>
                  <a:lnTo>
                    <a:pt x="704" y="289"/>
                  </a:lnTo>
                  <a:lnTo>
                    <a:pt x="700" y="285"/>
                  </a:lnTo>
                  <a:lnTo>
                    <a:pt x="697" y="278"/>
                  </a:lnTo>
                  <a:lnTo>
                    <a:pt x="695" y="273"/>
                  </a:lnTo>
                  <a:lnTo>
                    <a:pt x="693" y="266"/>
                  </a:lnTo>
                  <a:lnTo>
                    <a:pt x="692" y="258"/>
                  </a:lnTo>
                  <a:lnTo>
                    <a:pt x="699" y="249"/>
                  </a:lnTo>
                  <a:lnTo>
                    <a:pt x="704" y="240"/>
                  </a:lnTo>
                  <a:lnTo>
                    <a:pt x="696" y="236"/>
                  </a:lnTo>
                  <a:lnTo>
                    <a:pt x="688" y="230"/>
                  </a:lnTo>
                  <a:lnTo>
                    <a:pt x="679" y="221"/>
                  </a:lnTo>
                  <a:lnTo>
                    <a:pt x="671" y="210"/>
                  </a:lnTo>
                  <a:lnTo>
                    <a:pt x="661" y="197"/>
                  </a:lnTo>
                  <a:lnTo>
                    <a:pt x="653" y="184"/>
                  </a:lnTo>
                  <a:lnTo>
                    <a:pt x="645" y="168"/>
                  </a:lnTo>
                  <a:lnTo>
                    <a:pt x="637" y="153"/>
                  </a:lnTo>
                  <a:lnTo>
                    <a:pt x="623" y="121"/>
                  </a:lnTo>
                  <a:lnTo>
                    <a:pt x="612" y="91"/>
                  </a:lnTo>
                  <a:lnTo>
                    <a:pt x="608" y="77"/>
                  </a:lnTo>
                  <a:lnTo>
                    <a:pt x="604" y="65"/>
                  </a:lnTo>
                  <a:lnTo>
                    <a:pt x="603" y="56"/>
                  </a:lnTo>
                  <a:lnTo>
                    <a:pt x="601" y="48"/>
                  </a:lnTo>
                  <a:lnTo>
                    <a:pt x="601" y="3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4" name="Freeform 110"/>
            <p:cNvSpPr>
              <a:spLocks/>
            </p:cNvSpPr>
            <p:nvPr/>
          </p:nvSpPr>
          <p:spPr bwMode="auto">
            <a:xfrm>
              <a:off x="1684659" y="4443413"/>
              <a:ext cx="185738" cy="180975"/>
            </a:xfrm>
            <a:custGeom>
              <a:avLst/>
              <a:gdLst/>
              <a:ahLst/>
              <a:cxnLst>
                <a:cxn ang="0">
                  <a:pos x="348" y="206"/>
                </a:cxn>
                <a:cxn ang="0">
                  <a:pos x="288" y="235"/>
                </a:cxn>
                <a:cxn ang="0">
                  <a:pos x="266" y="248"/>
                </a:cxn>
                <a:cxn ang="0">
                  <a:pos x="250" y="263"/>
                </a:cxn>
                <a:cxn ang="0">
                  <a:pos x="241" y="280"/>
                </a:cxn>
                <a:cxn ang="0">
                  <a:pos x="241" y="307"/>
                </a:cxn>
                <a:cxn ang="0">
                  <a:pos x="241" y="324"/>
                </a:cxn>
                <a:cxn ang="0">
                  <a:pos x="240" y="336"/>
                </a:cxn>
                <a:cxn ang="0">
                  <a:pos x="233" y="348"/>
                </a:cxn>
                <a:cxn ang="0">
                  <a:pos x="220" y="359"/>
                </a:cxn>
                <a:cxn ang="0">
                  <a:pos x="198" y="365"/>
                </a:cxn>
                <a:cxn ang="0">
                  <a:pos x="177" y="365"/>
                </a:cxn>
                <a:cxn ang="0">
                  <a:pos x="161" y="358"/>
                </a:cxn>
                <a:cxn ang="0">
                  <a:pos x="142" y="339"/>
                </a:cxn>
                <a:cxn ang="0">
                  <a:pos x="114" y="342"/>
                </a:cxn>
                <a:cxn ang="0">
                  <a:pos x="88" y="354"/>
                </a:cxn>
                <a:cxn ang="0">
                  <a:pos x="73" y="365"/>
                </a:cxn>
                <a:cxn ang="0">
                  <a:pos x="42" y="350"/>
                </a:cxn>
                <a:cxn ang="0">
                  <a:pos x="13" y="312"/>
                </a:cxn>
                <a:cxn ang="0">
                  <a:pos x="1" y="295"/>
                </a:cxn>
                <a:cxn ang="0">
                  <a:pos x="0" y="286"/>
                </a:cxn>
                <a:cxn ang="0">
                  <a:pos x="2" y="280"/>
                </a:cxn>
                <a:cxn ang="0">
                  <a:pos x="10" y="272"/>
                </a:cxn>
                <a:cxn ang="0">
                  <a:pos x="24" y="263"/>
                </a:cxn>
                <a:cxn ang="0">
                  <a:pos x="34" y="254"/>
                </a:cxn>
                <a:cxn ang="0">
                  <a:pos x="36" y="243"/>
                </a:cxn>
                <a:cxn ang="0">
                  <a:pos x="32" y="235"/>
                </a:cxn>
                <a:cxn ang="0">
                  <a:pos x="24" y="226"/>
                </a:cxn>
                <a:cxn ang="0">
                  <a:pos x="10" y="214"/>
                </a:cxn>
                <a:cxn ang="0">
                  <a:pos x="2" y="204"/>
                </a:cxn>
                <a:cxn ang="0">
                  <a:pos x="0" y="196"/>
                </a:cxn>
                <a:cxn ang="0">
                  <a:pos x="1" y="186"/>
                </a:cxn>
                <a:cxn ang="0">
                  <a:pos x="8" y="175"/>
                </a:cxn>
                <a:cxn ang="0">
                  <a:pos x="26" y="160"/>
                </a:cxn>
                <a:cxn ang="0">
                  <a:pos x="60" y="143"/>
                </a:cxn>
                <a:cxn ang="0">
                  <a:pos x="82" y="130"/>
                </a:cxn>
                <a:cxn ang="0">
                  <a:pos x="93" y="120"/>
                </a:cxn>
                <a:cxn ang="0">
                  <a:pos x="101" y="103"/>
                </a:cxn>
                <a:cxn ang="0">
                  <a:pos x="106" y="82"/>
                </a:cxn>
                <a:cxn ang="0">
                  <a:pos x="110" y="51"/>
                </a:cxn>
                <a:cxn ang="0">
                  <a:pos x="116" y="27"/>
                </a:cxn>
                <a:cxn ang="0">
                  <a:pos x="124" y="14"/>
                </a:cxn>
                <a:cxn ang="0">
                  <a:pos x="140" y="6"/>
                </a:cxn>
                <a:cxn ang="0">
                  <a:pos x="164" y="0"/>
                </a:cxn>
                <a:cxn ang="0">
                  <a:pos x="216" y="0"/>
                </a:cxn>
                <a:cxn ang="0">
                  <a:pos x="280" y="7"/>
                </a:cxn>
                <a:cxn ang="0">
                  <a:pos x="305" y="16"/>
                </a:cxn>
                <a:cxn ang="0">
                  <a:pos x="316" y="24"/>
                </a:cxn>
                <a:cxn ang="0">
                  <a:pos x="322" y="36"/>
                </a:cxn>
                <a:cxn ang="0">
                  <a:pos x="328" y="50"/>
                </a:cxn>
                <a:cxn ang="0">
                  <a:pos x="330" y="68"/>
                </a:cxn>
                <a:cxn ang="0">
                  <a:pos x="332" y="86"/>
                </a:cxn>
                <a:cxn ang="0">
                  <a:pos x="334" y="95"/>
                </a:cxn>
                <a:cxn ang="0">
                  <a:pos x="341" y="102"/>
                </a:cxn>
                <a:cxn ang="0">
                  <a:pos x="353" y="107"/>
                </a:cxn>
                <a:cxn ang="0">
                  <a:pos x="361" y="134"/>
                </a:cxn>
                <a:cxn ang="0">
                  <a:pos x="365" y="163"/>
                </a:cxn>
                <a:cxn ang="0">
                  <a:pos x="373" y="179"/>
                </a:cxn>
                <a:cxn ang="0">
                  <a:pos x="385" y="187"/>
                </a:cxn>
              </a:cxnLst>
              <a:rect l="0" t="0" r="r" b="b"/>
              <a:pathLst>
                <a:path w="385" h="373">
                  <a:moveTo>
                    <a:pt x="385" y="187"/>
                  </a:moveTo>
                  <a:lnTo>
                    <a:pt x="348" y="206"/>
                  </a:lnTo>
                  <a:lnTo>
                    <a:pt x="300" y="228"/>
                  </a:lnTo>
                  <a:lnTo>
                    <a:pt x="288" y="235"/>
                  </a:lnTo>
                  <a:lnTo>
                    <a:pt x="277" y="242"/>
                  </a:lnTo>
                  <a:lnTo>
                    <a:pt x="266" y="248"/>
                  </a:lnTo>
                  <a:lnTo>
                    <a:pt x="258" y="256"/>
                  </a:lnTo>
                  <a:lnTo>
                    <a:pt x="250" y="263"/>
                  </a:lnTo>
                  <a:lnTo>
                    <a:pt x="245" y="272"/>
                  </a:lnTo>
                  <a:lnTo>
                    <a:pt x="241" y="280"/>
                  </a:lnTo>
                  <a:lnTo>
                    <a:pt x="241" y="288"/>
                  </a:lnTo>
                  <a:lnTo>
                    <a:pt x="241" y="307"/>
                  </a:lnTo>
                  <a:lnTo>
                    <a:pt x="241" y="316"/>
                  </a:lnTo>
                  <a:lnTo>
                    <a:pt x="241" y="324"/>
                  </a:lnTo>
                  <a:lnTo>
                    <a:pt x="241" y="331"/>
                  </a:lnTo>
                  <a:lnTo>
                    <a:pt x="240" y="336"/>
                  </a:lnTo>
                  <a:lnTo>
                    <a:pt x="237" y="342"/>
                  </a:lnTo>
                  <a:lnTo>
                    <a:pt x="233" y="348"/>
                  </a:lnTo>
                  <a:lnTo>
                    <a:pt x="226" y="354"/>
                  </a:lnTo>
                  <a:lnTo>
                    <a:pt x="220" y="359"/>
                  </a:lnTo>
                  <a:lnTo>
                    <a:pt x="210" y="363"/>
                  </a:lnTo>
                  <a:lnTo>
                    <a:pt x="198" y="365"/>
                  </a:lnTo>
                  <a:lnTo>
                    <a:pt x="186" y="367"/>
                  </a:lnTo>
                  <a:lnTo>
                    <a:pt x="177" y="365"/>
                  </a:lnTo>
                  <a:lnTo>
                    <a:pt x="169" y="363"/>
                  </a:lnTo>
                  <a:lnTo>
                    <a:pt x="161" y="358"/>
                  </a:lnTo>
                  <a:lnTo>
                    <a:pt x="154" y="351"/>
                  </a:lnTo>
                  <a:lnTo>
                    <a:pt x="142" y="339"/>
                  </a:lnTo>
                  <a:lnTo>
                    <a:pt x="132" y="331"/>
                  </a:lnTo>
                  <a:lnTo>
                    <a:pt x="114" y="342"/>
                  </a:lnTo>
                  <a:lnTo>
                    <a:pt x="97" y="350"/>
                  </a:lnTo>
                  <a:lnTo>
                    <a:pt x="88" y="354"/>
                  </a:lnTo>
                  <a:lnTo>
                    <a:pt x="80" y="359"/>
                  </a:lnTo>
                  <a:lnTo>
                    <a:pt x="73" y="365"/>
                  </a:lnTo>
                  <a:lnTo>
                    <a:pt x="66" y="373"/>
                  </a:lnTo>
                  <a:lnTo>
                    <a:pt x="42" y="350"/>
                  </a:lnTo>
                  <a:lnTo>
                    <a:pt x="21" y="324"/>
                  </a:lnTo>
                  <a:lnTo>
                    <a:pt x="13" y="312"/>
                  </a:lnTo>
                  <a:lnTo>
                    <a:pt x="5" y="303"/>
                  </a:lnTo>
                  <a:lnTo>
                    <a:pt x="1" y="295"/>
                  </a:lnTo>
                  <a:lnTo>
                    <a:pt x="0" y="288"/>
                  </a:lnTo>
                  <a:lnTo>
                    <a:pt x="0" y="286"/>
                  </a:lnTo>
                  <a:lnTo>
                    <a:pt x="1" y="283"/>
                  </a:lnTo>
                  <a:lnTo>
                    <a:pt x="2" y="280"/>
                  </a:lnTo>
                  <a:lnTo>
                    <a:pt x="5" y="278"/>
                  </a:lnTo>
                  <a:lnTo>
                    <a:pt x="10" y="272"/>
                  </a:lnTo>
                  <a:lnTo>
                    <a:pt x="17" y="268"/>
                  </a:lnTo>
                  <a:lnTo>
                    <a:pt x="24" y="263"/>
                  </a:lnTo>
                  <a:lnTo>
                    <a:pt x="30" y="259"/>
                  </a:lnTo>
                  <a:lnTo>
                    <a:pt x="34" y="254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4" y="239"/>
                  </a:lnTo>
                  <a:lnTo>
                    <a:pt x="32" y="235"/>
                  </a:lnTo>
                  <a:lnTo>
                    <a:pt x="30" y="231"/>
                  </a:lnTo>
                  <a:lnTo>
                    <a:pt x="24" y="226"/>
                  </a:lnTo>
                  <a:lnTo>
                    <a:pt x="17" y="219"/>
                  </a:lnTo>
                  <a:lnTo>
                    <a:pt x="10" y="214"/>
                  </a:lnTo>
                  <a:lnTo>
                    <a:pt x="5" y="208"/>
                  </a:lnTo>
                  <a:lnTo>
                    <a:pt x="2" y="204"/>
                  </a:lnTo>
                  <a:lnTo>
                    <a:pt x="1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1" y="186"/>
                  </a:lnTo>
                  <a:lnTo>
                    <a:pt x="4" y="180"/>
                  </a:lnTo>
                  <a:lnTo>
                    <a:pt x="8" y="175"/>
                  </a:lnTo>
                  <a:lnTo>
                    <a:pt x="13" y="170"/>
                  </a:lnTo>
                  <a:lnTo>
                    <a:pt x="26" y="160"/>
                  </a:lnTo>
                  <a:lnTo>
                    <a:pt x="44" y="151"/>
                  </a:lnTo>
                  <a:lnTo>
                    <a:pt x="60" y="143"/>
                  </a:lnTo>
                  <a:lnTo>
                    <a:pt x="76" y="134"/>
                  </a:lnTo>
                  <a:lnTo>
                    <a:pt x="82" y="130"/>
                  </a:lnTo>
                  <a:lnTo>
                    <a:pt x="88" y="124"/>
                  </a:lnTo>
                  <a:lnTo>
                    <a:pt x="93" y="120"/>
                  </a:lnTo>
                  <a:lnTo>
                    <a:pt x="96" y="114"/>
                  </a:lnTo>
                  <a:lnTo>
                    <a:pt x="101" y="103"/>
                  </a:lnTo>
                  <a:lnTo>
                    <a:pt x="104" y="92"/>
                  </a:lnTo>
                  <a:lnTo>
                    <a:pt x="106" y="82"/>
                  </a:lnTo>
                  <a:lnTo>
                    <a:pt x="108" y="71"/>
                  </a:lnTo>
                  <a:lnTo>
                    <a:pt x="110" y="51"/>
                  </a:lnTo>
                  <a:lnTo>
                    <a:pt x="113" y="35"/>
                  </a:lnTo>
                  <a:lnTo>
                    <a:pt x="116" y="27"/>
                  </a:lnTo>
                  <a:lnTo>
                    <a:pt x="120" y="20"/>
                  </a:lnTo>
                  <a:lnTo>
                    <a:pt x="124" y="14"/>
                  </a:lnTo>
                  <a:lnTo>
                    <a:pt x="130" y="10"/>
                  </a:lnTo>
                  <a:lnTo>
                    <a:pt x="140" y="6"/>
                  </a:lnTo>
                  <a:lnTo>
                    <a:pt x="150" y="2"/>
                  </a:lnTo>
                  <a:lnTo>
                    <a:pt x="164" y="0"/>
                  </a:lnTo>
                  <a:lnTo>
                    <a:pt x="180" y="0"/>
                  </a:lnTo>
                  <a:lnTo>
                    <a:pt x="216" y="0"/>
                  </a:lnTo>
                  <a:lnTo>
                    <a:pt x="258" y="3"/>
                  </a:lnTo>
                  <a:lnTo>
                    <a:pt x="280" y="7"/>
                  </a:lnTo>
                  <a:lnTo>
                    <a:pt x="297" y="12"/>
                  </a:lnTo>
                  <a:lnTo>
                    <a:pt x="305" y="16"/>
                  </a:lnTo>
                  <a:lnTo>
                    <a:pt x="310" y="20"/>
                  </a:lnTo>
                  <a:lnTo>
                    <a:pt x="316" y="24"/>
                  </a:lnTo>
                  <a:lnTo>
                    <a:pt x="318" y="30"/>
                  </a:lnTo>
                  <a:lnTo>
                    <a:pt x="322" y="36"/>
                  </a:lnTo>
                  <a:lnTo>
                    <a:pt x="325" y="43"/>
                  </a:lnTo>
                  <a:lnTo>
                    <a:pt x="328" y="50"/>
                  </a:lnTo>
                  <a:lnTo>
                    <a:pt x="329" y="56"/>
                  </a:lnTo>
                  <a:lnTo>
                    <a:pt x="330" y="68"/>
                  </a:lnTo>
                  <a:lnTo>
                    <a:pt x="330" y="80"/>
                  </a:lnTo>
                  <a:lnTo>
                    <a:pt x="332" y="86"/>
                  </a:lnTo>
                  <a:lnTo>
                    <a:pt x="333" y="90"/>
                  </a:lnTo>
                  <a:lnTo>
                    <a:pt x="334" y="95"/>
                  </a:lnTo>
                  <a:lnTo>
                    <a:pt x="337" y="99"/>
                  </a:lnTo>
                  <a:lnTo>
                    <a:pt x="341" y="102"/>
                  </a:lnTo>
                  <a:lnTo>
                    <a:pt x="346" y="104"/>
                  </a:lnTo>
                  <a:lnTo>
                    <a:pt x="353" y="107"/>
                  </a:lnTo>
                  <a:lnTo>
                    <a:pt x="361" y="108"/>
                  </a:lnTo>
                  <a:lnTo>
                    <a:pt x="361" y="134"/>
                  </a:lnTo>
                  <a:lnTo>
                    <a:pt x="364" y="154"/>
                  </a:lnTo>
                  <a:lnTo>
                    <a:pt x="365" y="163"/>
                  </a:lnTo>
                  <a:lnTo>
                    <a:pt x="369" y="172"/>
                  </a:lnTo>
                  <a:lnTo>
                    <a:pt x="373" y="179"/>
                  </a:lnTo>
                  <a:lnTo>
                    <a:pt x="378" y="187"/>
                  </a:lnTo>
                  <a:lnTo>
                    <a:pt x="385" y="18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5" name="Freeform 111"/>
            <p:cNvSpPr>
              <a:spLocks/>
            </p:cNvSpPr>
            <p:nvPr/>
          </p:nvSpPr>
          <p:spPr bwMode="auto">
            <a:xfrm>
              <a:off x="4365947" y="5599113"/>
              <a:ext cx="744538" cy="485775"/>
            </a:xfrm>
            <a:custGeom>
              <a:avLst/>
              <a:gdLst/>
              <a:ahLst/>
              <a:cxnLst>
                <a:cxn ang="0">
                  <a:pos x="302" y="872"/>
                </a:cxn>
                <a:cxn ang="0">
                  <a:pos x="432" y="795"/>
                </a:cxn>
                <a:cxn ang="0">
                  <a:pos x="509" y="776"/>
                </a:cxn>
                <a:cxn ang="0">
                  <a:pos x="672" y="776"/>
                </a:cxn>
                <a:cxn ang="0">
                  <a:pos x="807" y="812"/>
                </a:cxn>
                <a:cxn ang="0">
                  <a:pos x="840" y="839"/>
                </a:cxn>
                <a:cxn ang="0">
                  <a:pos x="843" y="875"/>
                </a:cxn>
                <a:cxn ang="0">
                  <a:pos x="857" y="910"/>
                </a:cxn>
                <a:cxn ang="0">
                  <a:pos x="891" y="934"/>
                </a:cxn>
                <a:cxn ang="0">
                  <a:pos x="993" y="956"/>
                </a:cxn>
                <a:cxn ang="0">
                  <a:pos x="1191" y="957"/>
                </a:cxn>
                <a:cxn ang="0">
                  <a:pos x="1344" y="938"/>
                </a:cxn>
                <a:cxn ang="0">
                  <a:pos x="1406" y="909"/>
                </a:cxn>
                <a:cxn ang="0">
                  <a:pos x="1440" y="869"/>
                </a:cxn>
                <a:cxn ang="0">
                  <a:pos x="1456" y="812"/>
                </a:cxn>
                <a:cxn ang="0">
                  <a:pos x="1449" y="763"/>
                </a:cxn>
                <a:cxn ang="0">
                  <a:pos x="1396" y="711"/>
                </a:cxn>
                <a:cxn ang="0">
                  <a:pos x="1368" y="657"/>
                </a:cxn>
                <a:cxn ang="0">
                  <a:pos x="1382" y="564"/>
                </a:cxn>
                <a:cxn ang="0">
                  <a:pos x="1442" y="460"/>
                </a:cxn>
                <a:cxn ang="0">
                  <a:pos x="1465" y="340"/>
                </a:cxn>
                <a:cxn ang="0">
                  <a:pos x="1440" y="296"/>
                </a:cxn>
                <a:cxn ang="0">
                  <a:pos x="1445" y="260"/>
                </a:cxn>
                <a:cxn ang="0">
                  <a:pos x="1462" y="232"/>
                </a:cxn>
                <a:cxn ang="0">
                  <a:pos x="1453" y="194"/>
                </a:cxn>
                <a:cxn ang="0">
                  <a:pos x="1473" y="178"/>
                </a:cxn>
                <a:cxn ang="0">
                  <a:pos x="1521" y="154"/>
                </a:cxn>
                <a:cxn ang="0">
                  <a:pos x="1485" y="127"/>
                </a:cxn>
                <a:cxn ang="0">
                  <a:pos x="1464" y="108"/>
                </a:cxn>
                <a:cxn ang="0">
                  <a:pos x="1413" y="126"/>
                </a:cxn>
                <a:cxn ang="0">
                  <a:pos x="1354" y="119"/>
                </a:cxn>
                <a:cxn ang="0">
                  <a:pos x="1225" y="47"/>
                </a:cxn>
                <a:cxn ang="0">
                  <a:pos x="1188" y="6"/>
                </a:cxn>
                <a:cxn ang="0">
                  <a:pos x="1143" y="2"/>
                </a:cxn>
                <a:cxn ang="0">
                  <a:pos x="1108" y="22"/>
                </a:cxn>
                <a:cxn ang="0">
                  <a:pos x="1077" y="55"/>
                </a:cxn>
                <a:cxn ang="0">
                  <a:pos x="911" y="84"/>
                </a:cxn>
                <a:cxn ang="0">
                  <a:pos x="851" y="111"/>
                </a:cxn>
                <a:cxn ang="0">
                  <a:pos x="841" y="155"/>
                </a:cxn>
                <a:cxn ang="0">
                  <a:pos x="835" y="200"/>
                </a:cxn>
                <a:cxn ang="0">
                  <a:pos x="789" y="227"/>
                </a:cxn>
                <a:cxn ang="0">
                  <a:pos x="723" y="363"/>
                </a:cxn>
                <a:cxn ang="0">
                  <a:pos x="643" y="468"/>
                </a:cxn>
                <a:cxn ang="0">
                  <a:pos x="588" y="503"/>
                </a:cxn>
                <a:cxn ang="0">
                  <a:pos x="523" y="523"/>
                </a:cxn>
                <a:cxn ang="0">
                  <a:pos x="460" y="520"/>
                </a:cxn>
                <a:cxn ang="0">
                  <a:pos x="416" y="493"/>
                </a:cxn>
                <a:cxn ang="0">
                  <a:pos x="266" y="433"/>
                </a:cxn>
                <a:cxn ang="0">
                  <a:pos x="212" y="436"/>
                </a:cxn>
                <a:cxn ang="0">
                  <a:pos x="198" y="465"/>
                </a:cxn>
                <a:cxn ang="0">
                  <a:pos x="188" y="524"/>
                </a:cxn>
                <a:cxn ang="0">
                  <a:pos x="144" y="563"/>
                </a:cxn>
                <a:cxn ang="0">
                  <a:pos x="84" y="577"/>
                </a:cxn>
                <a:cxn ang="0">
                  <a:pos x="0" y="596"/>
                </a:cxn>
                <a:cxn ang="0">
                  <a:pos x="28" y="676"/>
                </a:cxn>
                <a:cxn ang="0">
                  <a:pos x="55" y="739"/>
                </a:cxn>
                <a:cxn ang="0">
                  <a:pos x="130" y="804"/>
                </a:cxn>
                <a:cxn ang="0">
                  <a:pos x="156" y="861"/>
                </a:cxn>
                <a:cxn ang="0">
                  <a:pos x="99" y="881"/>
                </a:cxn>
                <a:cxn ang="0">
                  <a:pos x="92" y="928"/>
                </a:cxn>
                <a:cxn ang="0">
                  <a:pos x="132" y="993"/>
                </a:cxn>
              </a:cxnLst>
              <a:rect l="0" t="0" r="r" b="b"/>
              <a:pathLst>
                <a:path w="1536" h="1000">
                  <a:moveTo>
                    <a:pt x="132" y="1000"/>
                  </a:moveTo>
                  <a:lnTo>
                    <a:pt x="179" y="965"/>
                  </a:lnTo>
                  <a:lnTo>
                    <a:pt x="222" y="933"/>
                  </a:lnTo>
                  <a:lnTo>
                    <a:pt x="263" y="901"/>
                  </a:lnTo>
                  <a:lnTo>
                    <a:pt x="302" y="872"/>
                  </a:lnTo>
                  <a:lnTo>
                    <a:pt x="339" y="845"/>
                  </a:lnTo>
                  <a:lnTo>
                    <a:pt x="376" y="821"/>
                  </a:lnTo>
                  <a:lnTo>
                    <a:pt x="395" y="812"/>
                  </a:lnTo>
                  <a:lnTo>
                    <a:pt x="414" y="803"/>
                  </a:lnTo>
                  <a:lnTo>
                    <a:pt x="432" y="795"/>
                  </a:lnTo>
                  <a:lnTo>
                    <a:pt x="452" y="789"/>
                  </a:lnTo>
                  <a:lnTo>
                    <a:pt x="465" y="784"/>
                  </a:lnTo>
                  <a:lnTo>
                    <a:pt x="479" y="781"/>
                  </a:lnTo>
                  <a:lnTo>
                    <a:pt x="493" y="777"/>
                  </a:lnTo>
                  <a:lnTo>
                    <a:pt x="509" y="776"/>
                  </a:lnTo>
                  <a:lnTo>
                    <a:pt x="540" y="772"/>
                  </a:lnTo>
                  <a:lnTo>
                    <a:pt x="573" y="771"/>
                  </a:lnTo>
                  <a:lnTo>
                    <a:pt x="607" y="771"/>
                  </a:lnTo>
                  <a:lnTo>
                    <a:pt x="640" y="773"/>
                  </a:lnTo>
                  <a:lnTo>
                    <a:pt x="672" y="776"/>
                  </a:lnTo>
                  <a:lnTo>
                    <a:pt x="704" y="781"/>
                  </a:lnTo>
                  <a:lnTo>
                    <a:pt x="733" y="788"/>
                  </a:lnTo>
                  <a:lnTo>
                    <a:pt x="761" y="795"/>
                  </a:lnTo>
                  <a:lnTo>
                    <a:pt x="785" y="804"/>
                  </a:lnTo>
                  <a:lnTo>
                    <a:pt x="807" y="812"/>
                  </a:lnTo>
                  <a:lnTo>
                    <a:pt x="816" y="817"/>
                  </a:lnTo>
                  <a:lnTo>
                    <a:pt x="824" y="823"/>
                  </a:lnTo>
                  <a:lnTo>
                    <a:pt x="831" y="828"/>
                  </a:lnTo>
                  <a:lnTo>
                    <a:pt x="836" y="833"/>
                  </a:lnTo>
                  <a:lnTo>
                    <a:pt x="840" y="839"/>
                  </a:lnTo>
                  <a:lnTo>
                    <a:pt x="843" y="844"/>
                  </a:lnTo>
                  <a:lnTo>
                    <a:pt x="844" y="849"/>
                  </a:lnTo>
                  <a:lnTo>
                    <a:pt x="843" y="855"/>
                  </a:lnTo>
                  <a:lnTo>
                    <a:pt x="843" y="865"/>
                  </a:lnTo>
                  <a:lnTo>
                    <a:pt x="843" y="875"/>
                  </a:lnTo>
                  <a:lnTo>
                    <a:pt x="844" y="883"/>
                  </a:lnTo>
                  <a:lnTo>
                    <a:pt x="847" y="891"/>
                  </a:lnTo>
                  <a:lnTo>
                    <a:pt x="849" y="898"/>
                  </a:lnTo>
                  <a:lnTo>
                    <a:pt x="853" y="905"/>
                  </a:lnTo>
                  <a:lnTo>
                    <a:pt x="857" y="910"/>
                  </a:lnTo>
                  <a:lnTo>
                    <a:pt x="863" y="917"/>
                  </a:lnTo>
                  <a:lnTo>
                    <a:pt x="868" y="922"/>
                  </a:lnTo>
                  <a:lnTo>
                    <a:pt x="875" y="926"/>
                  </a:lnTo>
                  <a:lnTo>
                    <a:pt x="883" y="930"/>
                  </a:lnTo>
                  <a:lnTo>
                    <a:pt x="891" y="934"/>
                  </a:lnTo>
                  <a:lnTo>
                    <a:pt x="908" y="941"/>
                  </a:lnTo>
                  <a:lnTo>
                    <a:pt x="927" y="946"/>
                  </a:lnTo>
                  <a:lnTo>
                    <a:pt x="948" y="950"/>
                  </a:lnTo>
                  <a:lnTo>
                    <a:pt x="969" y="953"/>
                  </a:lnTo>
                  <a:lnTo>
                    <a:pt x="993" y="956"/>
                  </a:lnTo>
                  <a:lnTo>
                    <a:pt x="1017" y="957"/>
                  </a:lnTo>
                  <a:lnTo>
                    <a:pt x="1065" y="957"/>
                  </a:lnTo>
                  <a:lnTo>
                    <a:pt x="1115" y="957"/>
                  </a:lnTo>
                  <a:lnTo>
                    <a:pt x="1153" y="957"/>
                  </a:lnTo>
                  <a:lnTo>
                    <a:pt x="1191" y="957"/>
                  </a:lnTo>
                  <a:lnTo>
                    <a:pt x="1226" y="956"/>
                  </a:lnTo>
                  <a:lnTo>
                    <a:pt x="1260" y="953"/>
                  </a:lnTo>
                  <a:lnTo>
                    <a:pt x="1290" y="949"/>
                  </a:lnTo>
                  <a:lnTo>
                    <a:pt x="1318" y="945"/>
                  </a:lnTo>
                  <a:lnTo>
                    <a:pt x="1344" y="938"/>
                  </a:lnTo>
                  <a:lnTo>
                    <a:pt x="1368" y="930"/>
                  </a:lnTo>
                  <a:lnTo>
                    <a:pt x="1378" y="926"/>
                  </a:lnTo>
                  <a:lnTo>
                    <a:pt x="1388" y="921"/>
                  </a:lnTo>
                  <a:lnTo>
                    <a:pt x="1397" y="916"/>
                  </a:lnTo>
                  <a:lnTo>
                    <a:pt x="1406" y="909"/>
                  </a:lnTo>
                  <a:lnTo>
                    <a:pt x="1414" y="902"/>
                  </a:lnTo>
                  <a:lnTo>
                    <a:pt x="1421" y="896"/>
                  </a:lnTo>
                  <a:lnTo>
                    <a:pt x="1428" y="888"/>
                  </a:lnTo>
                  <a:lnTo>
                    <a:pt x="1434" y="879"/>
                  </a:lnTo>
                  <a:lnTo>
                    <a:pt x="1440" y="869"/>
                  </a:lnTo>
                  <a:lnTo>
                    <a:pt x="1444" y="860"/>
                  </a:lnTo>
                  <a:lnTo>
                    <a:pt x="1448" y="848"/>
                  </a:lnTo>
                  <a:lnTo>
                    <a:pt x="1452" y="837"/>
                  </a:lnTo>
                  <a:lnTo>
                    <a:pt x="1454" y="825"/>
                  </a:lnTo>
                  <a:lnTo>
                    <a:pt x="1456" y="812"/>
                  </a:lnTo>
                  <a:lnTo>
                    <a:pt x="1457" y="797"/>
                  </a:lnTo>
                  <a:lnTo>
                    <a:pt x="1457" y="783"/>
                  </a:lnTo>
                  <a:lnTo>
                    <a:pt x="1457" y="776"/>
                  </a:lnTo>
                  <a:lnTo>
                    <a:pt x="1453" y="769"/>
                  </a:lnTo>
                  <a:lnTo>
                    <a:pt x="1449" y="763"/>
                  </a:lnTo>
                  <a:lnTo>
                    <a:pt x="1444" y="756"/>
                  </a:lnTo>
                  <a:lnTo>
                    <a:pt x="1429" y="743"/>
                  </a:lnTo>
                  <a:lnTo>
                    <a:pt x="1412" y="727"/>
                  </a:lnTo>
                  <a:lnTo>
                    <a:pt x="1404" y="719"/>
                  </a:lnTo>
                  <a:lnTo>
                    <a:pt x="1396" y="711"/>
                  </a:lnTo>
                  <a:lnTo>
                    <a:pt x="1388" y="701"/>
                  </a:lnTo>
                  <a:lnTo>
                    <a:pt x="1381" y="692"/>
                  </a:lnTo>
                  <a:lnTo>
                    <a:pt x="1376" y="681"/>
                  </a:lnTo>
                  <a:lnTo>
                    <a:pt x="1370" y="669"/>
                  </a:lnTo>
                  <a:lnTo>
                    <a:pt x="1368" y="657"/>
                  </a:lnTo>
                  <a:lnTo>
                    <a:pt x="1368" y="644"/>
                  </a:lnTo>
                  <a:lnTo>
                    <a:pt x="1368" y="623"/>
                  </a:lnTo>
                  <a:lnTo>
                    <a:pt x="1372" y="603"/>
                  </a:lnTo>
                  <a:lnTo>
                    <a:pt x="1376" y="583"/>
                  </a:lnTo>
                  <a:lnTo>
                    <a:pt x="1382" y="564"/>
                  </a:lnTo>
                  <a:lnTo>
                    <a:pt x="1390" y="545"/>
                  </a:lnTo>
                  <a:lnTo>
                    <a:pt x="1400" y="527"/>
                  </a:lnTo>
                  <a:lnTo>
                    <a:pt x="1409" y="509"/>
                  </a:lnTo>
                  <a:lnTo>
                    <a:pt x="1420" y="493"/>
                  </a:lnTo>
                  <a:lnTo>
                    <a:pt x="1442" y="460"/>
                  </a:lnTo>
                  <a:lnTo>
                    <a:pt x="1464" y="429"/>
                  </a:lnTo>
                  <a:lnTo>
                    <a:pt x="1484" y="401"/>
                  </a:lnTo>
                  <a:lnTo>
                    <a:pt x="1500" y="373"/>
                  </a:lnTo>
                  <a:lnTo>
                    <a:pt x="1485" y="359"/>
                  </a:lnTo>
                  <a:lnTo>
                    <a:pt x="1465" y="340"/>
                  </a:lnTo>
                  <a:lnTo>
                    <a:pt x="1456" y="329"/>
                  </a:lnTo>
                  <a:lnTo>
                    <a:pt x="1446" y="317"/>
                  </a:lnTo>
                  <a:lnTo>
                    <a:pt x="1444" y="311"/>
                  </a:lnTo>
                  <a:lnTo>
                    <a:pt x="1441" y="304"/>
                  </a:lnTo>
                  <a:lnTo>
                    <a:pt x="1440" y="296"/>
                  </a:lnTo>
                  <a:lnTo>
                    <a:pt x="1440" y="290"/>
                  </a:lnTo>
                  <a:lnTo>
                    <a:pt x="1440" y="280"/>
                  </a:lnTo>
                  <a:lnTo>
                    <a:pt x="1441" y="274"/>
                  </a:lnTo>
                  <a:lnTo>
                    <a:pt x="1444" y="267"/>
                  </a:lnTo>
                  <a:lnTo>
                    <a:pt x="1445" y="260"/>
                  </a:lnTo>
                  <a:lnTo>
                    <a:pt x="1449" y="250"/>
                  </a:lnTo>
                  <a:lnTo>
                    <a:pt x="1452" y="240"/>
                  </a:lnTo>
                  <a:lnTo>
                    <a:pt x="1456" y="239"/>
                  </a:lnTo>
                  <a:lnTo>
                    <a:pt x="1460" y="236"/>
                  </a:lnTo>
                  <a:lnTo>
                    <a:pt x="1462" y="232"/>
                  </a:lnTo>
                  <a:lnTo>
                    <a:pt x="1464" y="228"/>
                  </a:lnTo>
                  <a:lnTo>
                    <a:pt x="1462" y="222"/>
                  </a:lnTo>
                  <a:lnTo>
                    <a:pt x="1461" y="212"/>
                  </a:lnTo>
                  <a:lnTo>
                    <a:pt x="1457" y="203"/>
                  </a:lnTo>
                  <a:lnTo>
                    <a:pt x="1453" y="194"/>
                  </a:lnTo>
                  <a:lnTo>
                    <a:pt x="1450" y="184"/>
                  </a:lnTo>
                  <a:lnTo>
                    <a:pt x="1452" y="175"/>
                  </a:lnTo>
                  <a:lnTo>
                    <a:pt x="1460" y="176"/>
                  </a:lnTo>
                  <a:lnTo>
                    <a:pt x="1466" y="178"/>
                  </a:lnTo>
                  <a:lnTo>
                    <a:pt x="1473" y="178"/>
                  </a:lnTo>
                  <a:lnTo>
                    <a:pt x="1480" y="178"/>
                  </a:lnTo>
                  <a:lnTo>
                    <a:pt x="1492" y="175"/>
                  </a:lnTo>
                  <a:lnTo>
                    <a:pt x="1502" y="170"/>
                  </a:lnTo>
                  <a:lnTo>
                    <a:pt x="1512" y="162"/>
                  </a:lnTo>
                  <a:lnTo>
                    <a:pt x="1521" y="154"/>
                  </a:lnTo>
                  <a:lnTo>
                    <a:pt x="1529" y="143"/>
                  </a:lnTo>
                  <a:lnTo>
                    <a:pt x="1536" y="132"/>
                  </a:lnTo>
                  <a:lnTo>
                    <a:pt x="1516" y="132"/>
                  </a:lnTo>
                  <a:lnTo>
                    <a:pt x="1496" y="130"/>
                  </a:lnTo>
                  <a:lnTo>
                    <a:pt x="1485" y="127"/>
                  </a:lnTo>
                  <a:lnTo>
                    <a:pt x="1477" y="123"/>
                  </a:lnTo>
                  <a:lnTo>
                    <a:pt x="1473" y="119"/>
                  </a:lnTo>
                  <a:lnTo>
                    <a:pt x="1469" y="116"/>
                  </a:lnTo>
                  <a:lnTo>
                    <a:pt x="1466" y="112"/>
                  </a:lnTo>
                  <a:lnTo>
                    <a:pt x="1464" y="108"/>
                  </a:lnTo>
                  <a:lnTo>
                    <a:pt x="1448" y="114"/>
                  </a:lnTo>
                  <a:lnTo>
                    <a:pt x="1436" y="120"/>
                  </a:lnTo>
                  <a:lnTo>
                    <a:pt x="1429" y="123"/>
                  </a:lnTo>
                  <a:lnTo>
                    <a:pt x="1422" y="124"/>
                  </a:lnTo>
                  <a:lnTo>
                    <a:pt x="1413" y="126"/>
                  </a:lnTo>
                  <a:lnTo>
                    <a:pt x="1404" y="127"/>
                  </a:lnTo>
                  <a:lnTo>
                    <a:pt x="1390" y="126"/>
                  </a:lnTo>
                  <a:lnTo>
                    <a:pt x="1377" y="124"/>
                  </a:lnTo>
                  <a:lnTo>
                    <a:pt x="1365" y="123"/>
                  </a:lnTo>
                  <a:lnTo>
                    <a:pt x="1354" y="119"/>
                  </a:lnTo>
                  <a:lnTo>
                    <a:pt x="1332" y="111"/>
                  </a:lnTo>
                  <a:lnTo>
                    <a:pt x="1312" y="102"/>
                  </a:lnTo>
                  <a:lnTo>
                    <a:pt x="1273" y="78"/>
                  </a:lnTo>
                  <a:lnTo>
                    <a:pt x="1234" y="54"/>
                  </a:lnTo>
                  <a:lnTo>
                    <a:pt x="1225" y="47"/>
                  </a:lnTo>
                  <a:lnTo>
                    <a:pt x="1217" y="38"/>
                  </a:lnTo>
                  <a:lnTo>
                    <a:pt x="1211" y="30"/>
                  </a:lnTo>
                  <a:lnTo>
                    <a:pt x="1205" y="20"/>
                  </a:lnTo>
                  <a:lnTo>
                    <a:pt x="1197" y="12"/>
                  </a:lnTo>
                  <a:lnTo>
                    <a:pt x="1188" y="6"/>
                  </a:lnTo>
                  <a:lnTo>
                    <a:pt x="1181" y="3"/>
                  </a:lnTo>
                  <a:lnTo>
                    <a:pt x="1175" y="2"/>
                  </a:lnTo>
                  <a:lnTo>
                    <a:pt x="1165" y="0"/>
                  </a:lnTo>
                  <a:lnTo>
                    <a:pt x="1156" y="0"/>
                  </a:lnTo>
                  <a:lnTo>
                    <a:pt x="1143" y="2"/>
                  </a:lnTo>
                  <a:lnTo>
                    <a:pt x="1129" y="6"/>
                  </a:lnTo>
                  <a:lnTo>
                    <a:pt x="1116" y="10"/>
                  </a:lnTo>
                  <a:lnTo>
                    <a:pt x="1103" y="12"/>
                  </a:lnTo>
                  <a:lnTo>
                    <a:pt x="1105" y="16"/>
                  </a:lnTo>
                  <a:lnTo>
                    <a:pt x="1108" y="22"/>
                  </a:lnTo>
                  <a:lnTo>
                    <a:pt x="1109" y="27"/>
                  </a:lnTo>
                  <a:lnTo>
                    <a:pt x="1109" y="34"/>
                  </a:lnTo>
                  <a:lnTo>
                    <a:pt x="1107" y="44"/>
                  </a:lnTo>
                  <a:lnTo>
                    <a:pt x="1103" y="54"/>
                  </a:lnTo>
                  <a:lnTo>
                    <a:pt x="1077" y="55"/>
                  </a:lnTo>
                  <a:lnTo>
                    <a:pt x="1047" y="58"/>
                  </a:lnTo>
                  <a:lnTo>
                    <a:pt x="1013" y="62"/>
                  </a:lnTo>
                  <a:lnTo>
                    <a:pt x="979" y="68"/>
                  </a:lnTo>
                  <a:lnTo>
                    <a:pt x="944" y="75"/>
                  </a:lnTo>
                  <a:lnTo>
                    <a:pt x="911" y="84"/>
                  </a:lnTo>
                  <a:lnTo>
                    <a:pt x="895" y="90"/>
                  </a:lnTo>
                  <a:lnTo>
                    <a:pt x="881" y="96"/>
                  </a:lnTo>
                  <a:lnTo>
                    <a:pt x="867" y="102"/>
                  </a:lnTo>
                  <a:lnTo>
                    <a:pt x="855" y="108"/>
                  </a:lnTo>
                  <a:lnTo>
                    <a:pt x="851" y="111"/>
                  </a:lnTo>
                  <a:lnTo>
                    <a:pt x="848" y="115"/>
                  </a:lnTo>
                  <a:lnTo>
                    <a:pt x="845" y="120"/>
                  </a:lnTo>
                  <a:lnTo>
                    <a:pt x="844" y="126"/>
                  </a:lnTo>
                  <a:lnTo>
                    <a:pt x="841" y="139"/>
                  </a:lnTo>
                  <a:lnTo>
                    <a:pt x="841" y="155"/>
                  </a:lnTo>
                  <a:lnTo>
                    <a:pt x="840" y="170"/>
                  </a:lnTo>
                  <a:lnTo>
                    <a:pt x="839" y="184"/>
                  </a:lnTo>
                  <a:lnTo>
                    <a:pt x="839" y="190"/>
                  </a:lnTo>
                  <a:lnTo>
                    <a:pt x="836" y="196"/>
                  </a:lnTo>
                  <a:lnTo>
                    <a:pt x="835" y="200"/>
                  </a:lnTo>
                  <a:lnTo>
                    <a:pt x="831" y="204"/>
                  </a:lnTo>
                  <a:lnTo>
                    <a:pt x="819" y="212"/>
                  </a:lnTo>
                  <a:lnTo>
                    <a:pt x="804" y="219"/>
                  </a:lnTo>
                  <a:lnTo>
                    <a:pt x="796" y="222"/>
                  </a:lnTo>
                  <a:lnTo>
                    <a:pt x="789" y="227"/>
                  </a:lnTo>
                  <a:lnTo>
                    <a:pt x="783" y="234"/>
                  </a:lnTo>
                  <a:lnTo>
                    <a:pt x="777" y="240"/>
                  </a:lnTo>
                  <a:lnTo>
                    <a:pt x="757" y="290"/>
                  </a:lnTo>
                  <a:lnTo>
                    <a:pt x="735" y="339"/>
                  </a:lnTo>
                  <a:lnTo>
                    <a:pt x="723" y="363"/>
                  </a:lnTo>
                  <a:lnTo>
                    <a:pt x="709" y="385"/>
                  </a:lnTo>
                  <a:lnTo>
                    <a:pt x="695" y="408"/>
                  </a:lnTo>
                  <a:lnTo>
                    <a:pt x="679" y="429"/>
                  </a:lnTo>
                  <a:lnTo>
                    <a:pt x="661" y="449"/>
                  </a:lnTo>
                  <a:lnTo>
                    <a:pt x="643" y="468"/>
                  </a:lnTo>
                  <a:lnTo>
                    <a:pt x="632" y="476"/>
                  </a:lnTo>
                  <a:lnTo>
                    <a:pt x="621" y="484"/>
                  </a:lnTo>
                  <a:lnTo>
                    <a:pt x="611" y="491"/>
                  </a:lnTo>
                  <a:lnTo>
                    <a:pt x="600" y="497"/>
                  </a:lnTo>
                  <a:lnTo>
                    <a:pt x="588" y="503"/>
                  </a:lnTo>
                  <a:lnTo>
                    <a:pt x="576" y="508"/>
                  </a:lnTo>
                  <a:lnTo>
                    <a:pt x="564" y="513"/>
                  </a:lnTo>
                  <a:lnTo>
                    <a:pt x="551" y="517"/>
                  </a:lnTo>
                  <a:lnTo>
                    <a:pt x="537" y="520"/>
                  </a:lnTo>
                  <a:lnTo>
                    <a:pt x="523" y="523"/>
                  </a:lnTo>
                  <a:lnTo>
                    <a:pt x="509" y="524"/>
                  </a:lnTo>
                  <a:lnTo>
                    <a:pt x="493" y="524"/>
                  </a:lnTo>
                  <a:lnTo>
                    <a:pt x="483" y="524"/>
                  </a:lnTo>
                  <a:lnTo>
                    <a:pt x="472" y="523"/>
                  </a:lnTo>
                  <a:lnTo>
                    <a:pt x="460" y="520"/>
                  </a:lnTo>
                  <a:lnTo>
                    <a:pt x="451" y="517"/>
                  </a:lnTo>
                  <a:lnTo>
                    <a:pt x="440" y="513"/>
                  </a:lnTo>
                  <a:lnTo>
                    <a:pt x="431" y="508"/>
                  </a:lnTo>
                  <a:lnTo>
                    <a:pt x="423" y="501"/>
                  </a:lnTo>
                  <a:lnTo>
                    <a:pt x="416" y="493"/>
                  </a:lnTo>
                  <a:lnTo>
                    <a:pt x="314" y="493"/>
                  </a:lnTo>
                  <a:lnTo>
                    <a:pt x="303" y="481"/>
                  </a:lnTo>
                  <a:lnTo>
                    <a:pt x="287" y="461"/>
                  </a:lnTo>
                  <a:lnTo>
                    <a:pt x="272" y="441"/>
                  </a:lnTo>
                  <a:lnTo>
                    <a:pt x="266" y="433"/>
                  </a:lnTo>
                  <a:lnTo>
                    <a:pt x="248" y="433"/>
                  </a:lnTo>
                  <a:lnTo>
                    <a:pt x="232" y="432"/>
                  </a:lnTo>
                  <a:lnTo>
                    <a:pt x="226" y="432"/>
                  </a:lnTo>
                  <a:lnTo>
                    <a:pt x="219" y="433"/>
                  </a:lnTo>
                  <a:lnTo>
                    <a:pt x="212" y="436"/>
                  </a:lnTo>
                  <a:lnTo>
                    <a:pt x="206" y="440"/>
                  </a:lnTo>
                  <a:lnTo>
                    <a:pt x="202" y="444"/>
                  </a:lnTo>
                  <a:lnTo>
                    <a:pt x="199" y="451"/>
                  </a:lnTo>
                  <a:lnTo>
                    <a:pt x="198" y="457"/>
                  </a:lnTo>
                  <a:lnTo>
                    <a:pt x="198" y="465"/>
                  </a:lnTo>
                  <a:lnTo>
                    <a:pt x="198" y="481"/>
                  </a:lnTo>
                  <a:lnTo>
                    <a:pt x="199" y="500"/>
                  </a:lnTo>
                  <a:lnTo>
                    <a:pt x="196" y="508"/>
                  </a:lnTo>
                  <a:lnTo>
                    <a:pt x="194" y="516"/>
                  </a:lnTo>
                  <a:lnTo>
                    <a:pt x="188" y="524"/>
                  </a:lnTo>
                  <a:lnTo>
                    <a:pt x="182" y="533"/>
                  </a:lnTo>
                  <a:lnTo>
                    <a:pt x="174" y="541"/>
                  </a:lnTo>
                  <a:lnTo>
                    <a:pt x="164" y="549"/>
                  </a:lnTo>
                  <a:lnTo>
                    <a:pt x="155" y="556"/>
                  </a:lnTo>
                  <a:lnTo>
                    <a:pt x="144" y="563"/>
                  </a:lnTo>
                  <a:lnTo>
                    <a:pt x="132" y="568"/>
                  </a:lnTo>
                  <a:lnTo>
                    <a:pt x="120" y="572"/>
                  </a:lnTo>
                  <a:lnTo>
                    <a:pt x="108" y="575"/>
                  </a:lnTo>
                  <a:lnTo>
                    <a:pt x="96" y="577"/>
                  </a:lnTo>
                  <a:lnTo>
                    <a:pt x="84" y="577"/>
                  </a:lnTo>
                  <a:lnTo>
                    <a:pt x="72" y="575"/>
                  </a:lnTo>
                  <a:lnTo>
                    <a:pt x="60" y="572"/>
                  </a:lnTo>
                  <a:lnTo>
                    <a:pt x="48" y="565"/>
                  </a:lnTo>
                  <a:lnTo>
                    <a:pt x="0" y="565"/>
                  </a:lnTo>
                  <a:lnTo>
                    <a:pt x="0" y="596"/>
                  </a:lnTo>
                  <a:lnTo>
                    <a:pt x="10" y="615"/>
                  </a:lnTo>
                  <a:lnTo>
                    <a:pt x="18" y="635"/>
                  </a:lnTo>
                  <a:lnTo>
                    <a:pt x="22" y="647"/>
                  </a:lnTo>
                  <a:lnTo>
                    <a:pt x="24" y="660"/>
                  </a:lnTo>
                  <a:lnTo>
                    <a:pt x="28" y="676"/>
                  </a:lnTo>
                  <a:lnTo>
                    <a:pt x="30" y="692"/>
                  </a:lnTo>
                  <a:lnTo>
                    <a:pt x="34" y="705"/>
                  </a:lnTo>
                  <a:lnTo>
                    <a:pt x="39" y="717"/>
                  </a:lnTo>
                  <a:lnTo>
                    <a:pt x="47" y="729"/>
                  </a:lnTo>
                  <a:lnTo>
                    <a:pt x="55" y="739"/>
                  </a:lnTo>
                  <a:lnTo>
                    <a:pt x="75" y="759"/>
                  </a:lnTo>
                  <a:lnTo>
                    <a:pt x="98" y="777"/>
                  </a:lnTo>
                  <a:lnTo>
                    <a:pt x="110" y="785"/>
                  </a:lnTo>
                  <a:lnTo>
                    <a:pt x="120" y="795"/>
                  </a:lnTo>
                  <a:lnTo>
                    <a:pt x="130" y="804"/>
                  </a:lnTo>
                  <a:lnTo>
                    <a:pt x="139" y="815"/>
                  </a:lnTo>
                  <a:lnTo>
                    <a:pt x="146" y="825"/>
                  </a:lnTo>
                  <a:lnTo>
                    <a:pt x="152" y="836"/>
                  </a:lnTo>
                  <a:lnTo>
                    <a:pt x="155" y="848"/>
                  </a:lnTo>
                  <a:lnTo>
                    <a:pt x="156" y="861"/>
                  </a:lnTo>
                  <a:lnTo>
                    <a:pt x="127" y="861"/>
                  </a:lnTo>
                  <a:lnTo>
                    <a:pt x="118" y="864"/>
                  </a:lnTo>
                  <a:lnTo>
                    <a:pt x="111" y="869"/>
                  </a:lnTo>
                  <a:lnTo>
                    <a:pt x="104" y="875"/>
                  </a:lnTo>
                  <a:lnTo>
                    <a:pt x="99" y="881"/>
                  </a:lnTo>
                  <a:lnTo>
                    <a:pt x="95" y="889"/>
                  </a:lnTo>
                  <a:lnTo>
                    <a:pt x="92" y="897"/>
                  </a:lnTo>
                  <a:lnTo>
                    <a:pt x="91" y="906"/>
                  </a:lnTo>
                  <a:lnTo>
                    <a:pt x="91" y="916"/>
                  </a:lnTo>
                  <a:lnTo>
                    <a:pt x="92" y="928"/>
                  </a:lnTo>
                  <a:lnTo>
                    <a:pt x="95" y="940"/>
                  </a:lnTo>
                  <a:lnTo>
                    <a:pt x="100" y="950"/>
                  </a:lnTo>
                  <a:lnTo>
                    <a:pt x="107" y="961"/>
                  </a:lnTo>
                  <a:lnTo>
                    <a:pt x="122" y="978"/>
                  </a:lnTo>
                  <a:lnTo>
                    <a:pt x="132" y="993"/>
                  </a:lnTo>
                  <a:lnTo>
                    <a:pt x="132" y="100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6" name="Freeform 112"/>
            <p:cNvSpPr>
              <a:spLocks/>
            </p:cNvSpPr>
            <p:nvPr/>
          </p:nvSpPr>
          <p:spPr bwMode="auto">
            <a:xfrm>
              <a:off x="4300859" y="5413375"/>
              <a:ext cx="288925" cy="495300"/>
            </a:xfrm>
            <a:custGeom>
              <a:avLst/>
              <a:gdLst/>
              <a:ahLst/>
              <a:cxnLst>
                <a:cxn ang="0">
                  <a:pos x="110" y="18"/>
                </a:cxn>
                <a:cxn ang="0">
                  <a:pos x="102" y="43"/>
                </a:cxn>
                <a:cxn ang="0">
                  <a:pos x="113" y="75"/>
                </a:cxn>
                <a:cxn ang="0">
                  <a:pos x="134" y="114"/>
                </a:cxn>
                <a:cxn ang="0">
                  <a:pos x="137" y="149"/>
                </a:cxn>
                <a:cxn ang="0">
                  <a:pos x="113" y="217"/>
                </a:cxn>
                <a:cxn ang="0">
                  <a:pos x="102" y="269"/>
                </a:cxn>
                <a:cxn ang="0">
                  <a:pos x="110" y="284"/>
                </a:cxn>
                <a:cxn ang="0">
                  <a:pos x="165" y="281"/>
                </a:cxn>
                <a:cxn ang="0">
                  <a:pos x="206" y="287"/>
                </a:cxn>
                <a:cxn ang="0">
                  <a:pos x="226" y="301"/>
                </a:cxn>
                <a:cxn ang="0">
                  <a:pos x="234" y="328"/>
                </a:cxn>
                <a:cxn ang="0">
                  <a:pos x="226" y="371"/>
                </a:cxn>
                <a:cxn ang="0">
                  <a:pos x="177" y="435"/>
                </a:cxn>
                <a:cxn ang="0">
                  <a:pos x="152" y="492"/>
                </a:cxn>
                <a:cxn ang="0">
                  <a:pos x="154" y="539"/>
                </a:cxn>
                <a:cxn ang="0">
                  <a:pos x="180" y="612"/>
                </a:cxn>
                <a:cxn ang="0">
                  <a:pos x="192" y="659"/>
                </a:cxn>
                <a:cxn ang="0">
                  <a:pos x="188" y="698"/>
                </a:cxn>
                <a:cxn ang="0">
                  <a:pos x="169" y="732"/>
                </a:cxn>
                <a:cxn ang="0">
                  <a:pos x="114" y="776"/>
                </a:cxn>
                <a:cxn ang="0">
                  <a:pos x="45" y="820"/>
                </a:cxn>
                <a:cxn ang="0">
                  <a:pos x="12" y="853"/>
                </a:cxn>
                <a:cxn ang="0">
                  <a:pos x="0" y="886"/>
                </a:cxn>
                <a:cxn ang="0">
                  <a:pos x="5" y="908"/>
                </a:cxn>
                <a:cxn ang="0">
                  <a:pos x="18" y="938"/>
                </a:cxn>
                <a:cxn ang="0">
                  <a:pos x="6" y="988"/>
                </a:cxn>
                <a:cxn ang="0">
                  <a:pos x="13" y="1001"/>
                </a:cxn>
                <a:cxn ang="0">
                  <a:pos x="57" y="1020"/>
                </a:cxn>
                <a:cxn ang="0">
                  <a:pos x="86" y="1022"/>
                </a:cxn>
                <a:cxn ang="0">
                  <a:pos x="109" y="1004"/>
                </a:cxn>
                <a:cxn ang="0">
                  <a:pos x="186" y="950"/>
                </a:cxn>
                <a:cxn ang="0">
                  <a:pos x="234" y="962"/>
                </a:cxn>
                <a:cxn ang="0">
                  <a:pos x="282" y="948"/>
                </a:cxn>
                <a:cxn ang="0">
                  <a:pos x="320" y="918"/>
                </a:cxn>
                <a:cxn ang="0">
                  <a:pos x="337" y="885"/>
                </a:cxn>
                <a:cxn ang="0">
                  <a:pos x="337" y="836"/>
                </a:cxn>
                <a:cxn ang="0">
                  <a:pos x="357" y="820"/>
                </a:cxn>
                <a:cxn ang="0">
                  <a:pos x="404" y="825"/>
                </a:cxn>
                <a:cxn ang="0">
                  <a:pos x="418" y="762"/>
                </a:cxn>
                <a:cxn ang="0">
                  <a:pos x="453" y="722"/>
                </a:cxn>
                <a:cxn ang="0">
                  <a:pos x="514" y="675"/>
                </a:cxn>
                <a:cxn ang="0">
                  <a:pos x="541" y="639"/>
                </a:cxn>
                <a:cxn ang="0">
                  <a:pos x="544" y="601"/>
                </a:cxn>
                <a:cxn ang="0">
                  <a:pos x="558" y="565"/>
                </a:cxn>
                <a:cxn ang="0">
                  <a:pos x="589" y="537"/>
                </a:cxn>
                <a:cxn ang="0">
                  <a:pos x="595" y="517"/>
                </a:cxn>
                <a:cxn ang="0">
                  <a:pos x="584" y="488"/>
                </a:cxn>
                <a:cxn ang="0">
                  <a:pos x="572" y="457"/>
                </a:cxn>
                <a:cxn ang="0">
                  <a:pos x="545" y="421"/>
                </a:cxn>
                <a:cxn ang="0">
                  <a:pos x="502" y="288"/>
                </a:cxn>
                <a:cxn ang="0">
                  <a:pos x="472" y="199"/>
                </a:cxn>
                <a:cxn ang="0">
                  <a:pos x="446" y="161"/>
                </a:cxn>
                <a:cxn ang="0">
                  <a:pos x="409" y="132"/>
                </a:cxn>
                <a:cxn ang="0">
                  <a:pos x="360" y="94"/>
                </a:cxn>
                <a:cxn ang="0">
                  <a:pos x="297" y="96"/>
                </a:cxn>
                <a:cxn ang="0">
                  <a:pos x="253" y="102"/>
                </a:cxn>
                <a:cxn ang="0">
                  <a:pos x="224" y="90"/>
                </a:cxn>
                <a:cxn ang="0">
                  <a:pos x="162" y="26"/>
                </a:cxn>
                <a:cxn ang="0">
                  <a:pos x="150" y="0"/>
                </a:cxn>
              </a:cxnLst>
              <a:rect l="0" t="0" r="r" b="b"/>
              <a:pathLst>
                <a:path w="595" h="1024">
                  <a:moveTo>
                    <a:pt x="150" y="0"/>
                  </a:moveTo>
                  <a:lnTo>
                    <a:pt x="133" y="7"/>
                  </a:lnTo>
                  <a:lnTo>
                    <a:pt x="117" y="14"/>
                  </a:lnTo>
                  <a:lnTo>
                    <a:pt x="110" y="18"/>
                  </a:lnTo>
                  <a:lnTo>
                    <a:pt x="106" y="22"/>
                  </a:lnTo>
                  <a:lnTo>
                    <a:pt x="104" y="28"/>
                  </a:lnTo>
                  <a:lnTo>
                    <a:pt x="102" y="36"/>
                  </a:lnTo>
                  <a:lnTo>
                    <a:pt x="102" y="43"/>
                  </a:lnTo>
                  <a:lnTo>
                    <a:pt x="104" y="51"/>
                  </a:lnTo>
                  <a:lnTo>
                    <a:pt x="105" y="58"/>
                  </a:lnTo>
                  <a:lnTo>
                    <a:pt x="108" y="64"/>
                  </a:lnTo>
                  <a:lnTo>
                    <a:pt x="113" y="75"/>
                  </a:lnTo>
                  <a:lnTo>
                    <a:pt x="120" y="87"/>
                  </a:lnTo>
                  <a:lnTo>
                    <a:pt x="126" y="98"/>
                  </a:lnTo>
                  <a:lnTo>
                    <a:pt x="133" y="108"/>
                  </a:lnTo>
                  <a:lnTo>
                    <a:pt x="134" y="114"/>
                  </a:lnTo>
                  <a:lnTo>
                    <a:pt x="137" y="119"/>
                  </a:lnTo>
                  <a:lnTo>
                    <a:pt x="138" y="125"/>
                  </a:lnTo>
                  <a:lnTo>
                    <a:pt x="138" y="132"/>
                  </a:lnTo>
                  <a:lnTo>
                    <a:pt x="137" y="149"/>
                  </a:lnTo>
                  <a:lnTo>
                    <a:pt x="133" y="167"/>
                  </a:lnTo>
                  <a:lnTo>
                    <a:pt x="126" y="184"/>
                  </a:lnTo>
                  <a:lnTo>
                    <a:pt x="120" y="200"/>
                  </a:lnTo>
                  <a:lnTo>
                    <a:pt x="113" y="217"/>
                  </a:lnTo>
                  <a:lnTo>
                    <a:pt x="108" y="233"/>
                  </a:lnTo>
                  <a:lnTo>
                    <a:pt x="104" y="249"/>
                  </a:lnTo>
                  <a:lnTo>
                    <a:pt x="102" y="264"/>
                  </a:lnTo>
                  <a:lnTo>
                    <a:pt x="102" y="269"/>
                  </a:lnTo>
                  <a:lnTo>
                    <a:pt x="104" y="273"/>
                  </a:lnTo>
                  <a:lnTo>
                    <a:pt x="105" y="277"/>
                  </a:lnTo>
                  <a:lnTo>
                    <a:pt x="106" y="280"/>
                  </a:lnTo>
                  <a:lnTo>
                    <a:pt x="110" y="284"/>
                  </a:lnTo>
                  <a:lnTo>
                    <a:pt x="117" y="285"/>
                  </a:lnTo>
                  <a:lnTo>
                    <a:pt x="130" y="284"/>
                  </a:lnTo>
                  <a:lnTo>
                    <a:pt x="144" y="283"/>
                  </a:lnTo>
                  <a:lnTo>
                    <a:pt x="165" y="281"/>
                  </a:lnTo>
                  <a:lnTo>
                    <a:pt x="184" y="281"/>
                  </a:lnTo>
                  <a:lnTo>
                    <a:pt x="192" y="283"/>
                  </a:lnTo>
                  <a:lnTo>
                    <a:pt x="200" y="284"/>
                  </a:lnTo>
                  <a:lnTo>
                    <a:pt x="206" y="287"/>
                  </a:lnTo>
                  <a:lnTo>
                    <a:pt x="212" y="289"/>
                  </a:lnTo>
                  <a:lnTo>
                    <a:pt x="217" y="293"/>
                  </a:lnTo>
                  <a:lnTo>
                    <a:pt x="222" y="297"/>
                  </a:lnTo>
                  <a:lnTo>
                    <a:pt x="226" y="301"/>
                  </a:lnTo>
                  <a:lnTo>
                    <a:pt x="229" y="307"/>
                  </a:lnTo>
                  <a:lnTo>
                    <a:pt x="232" y="313"/>
                  </a:lnTo>
                  <a:lnTo>
                    <a:pt x="233" y="320"/>
                  </a:lnTo>
                  <a:lnTo>
                    <a:pt x="234" y="328"/>
                  </a:lnTo>
                  <a:lnTo>
                    <a:pt x="234" y="337"/>
                  </a:lnTo>
                  <a:lnTo>
                    <a:pt x="233" y="349"/>
                  </a:lnTo>
                  <a:lnTo>
                    <a:pt x="230" y="360"/>
                  </a:lnTo>
                  <a:lnTo>
                    <a:pt x="226" y="371"/>
                  </a:lnTo>
                  <a:lnTo>
                    <a:pt x="221" y="380"/>
                  </a:lnTo>
                  <a:lnTo>
                    <a:pt x="208" y="399"/>
                  </a:lnTo>
                  <a:lnTo>
                    <a:pt x="193" y="416"/>
                  </a:lnTo>
                  <a:lnTo>
                    <a:pt x="177" y="435"/>
                  </a:lnTo>
                  <a:lnTo>
                    <a:pt x="164" y="456"/>
                  </a:lnTo>
                  <a:lnTo>
                    <a:pt x="158" y="467"/>
                  </a:lnTo>
                  <a:lnTo>
                    <a:pt x="154" y="479"/>
                  </a:lnTo>
                  <a:lnTo>
                    <a:pt x="152" y="492"/>
                  </a:lnTo>
                  <a:lnTo>
                    <a:pt x="150" y="505"/>
                  </a:lnTo>
                  <a:lnTo>
                    <a:pt x="150" y="517"/>
                  </a:lnTo>
                  <a:lnTo>
                    <a:pt x="152" y="528"/>
                  </a:lnTo>
                  <a:lnTo>
                    <a:pt x="154" y="539"/>
                  </a:lnTo>
                  <a:lnTo>
                    <a:pt x="157" y="549"/>
                  </a:lnTo>
                  <a:lnTo>
                    <a:pt x="164" y="571"/>
                  </a:lnTo>
                  <a:lnTo>
                    <a:pt x="172" y="592"/>
                  </a:lnTo>
                  <a:lnTo>
                    <a:pt x="180" y="612"/>
                  </a:lnTo>
                  <a:lnTo>
                    <a:pt x="186" y="631"/>
                  </a:lnTo>
                  <a:lnTo>
                    <a:pt x="189" y="640"/>
                  </a:lnTo>
                  <a:lnTo>
                    <a:pt x="190" y="649"/>
                  </a:lnTo>
                  <a:lnTo>
                    <a:pt x="192" y="659"/>
                  </a:lnTo>
                  <a:lnTo>
                    <a:pt x="193" y="668"/>
                  </a:lnTo>
                  <a:lnTo>
                    <a:pt x="192" y="679"/>
                  </a:lnTo>
                  <a:lnTo>
                    <a:pt x="190" y="689"/>
                  </a:lnTo>
                  <a:lnTo>
                    <a:pt x="188" y="698"/>
                  </a:lnTo>
                  <a:lnTo>
                    <a:pt x="184" y="708"/>
                  </a:lnTo>
                  <a:lnTo>
                    <a:pt x="180" y="717"/>
                  </a:lnTo>
                  <a:lnTo>
                    <a:pt x="174" y="725"/>
                  </a:lnTo>
                  <a:lnTo>
                    <a:pt x="169" y="732"/>
                  </a:lnTo>
                  <a:lnTo>
                    <a:pt x="162" y="740"/>
                  </a:lnTo>
                  <a:lnTo>
                    <a:pt x="148" y="753"/>
                  </a:lnTo>
                  <a:lnTo>
                    <a:pt x="132" y="765"/>
                  </a:lnTo>
                  <a:lnTo>
                    <a:pt x="114" y="776"/>
                  </a:lnTo>
                  <a:lnTo>
                    <a:pt x="96" y="786"/>
                  </a:lnTo>
                  <a:lnTo>
                    <a:pt x="78" y="797"/>
                  </a:lnTo>
                  <a:lnTo>
                    <a:pt x="61" y="809"/>
                  </a:lnTo>
                  <a:lnTo>
                    <a:pt x="45" y="820"/>
                  </a:lnTo>
                  <a:lnTo>
                    <a:pt x="30" y="832"/>
                  </a:lnTo>
                  <a:lnTo>
                    <a:pt x="24" y="838"/>
                  </a:lnTo>
                  <a:lnTo>
                    <a:pt x="17" y="846"/>
                  </a:lnTo>
                  <a:lnTo>
                    <a:pt x="12" y="853"/>
                  </a:lnTo>
                  <a:lnTo>
                    <a:pt x="8" y="861"/>
                  </a:lnTo>
                  <a:lnTo>
                    <a:pt x="5" y="869"/>
                  </a:lnTo>
                  <a:lnTo>
                    <a:pt x="2" y="877"/>
                  </a:lnTo>
                  <a:lnTo>
                    <a:pt x="0" y="886"/>
                  </a:lnTo>
                  <a:lnTo>
                    <a:pt x="0" y="897"/>
                  </a:lnTo>
                  <a:lnTo>
                    <a:pt x="1" y="901"/>
                  </a:lnTo>
                  <a:lnTo>
                    <a:pt x="2" y="905"/>
                  </a:lnTo>
                  <a:lnTo>
                    <a:pt x="5" y="908"/>
                  </a:lnTo>
                  <a:lnTo>
                    <a:pt x="9" y="910"/>
                  </a:lnTo>
                  <a:lnTo>
                    <a:pt x="14" y="914"/>
                  </a:lnTo>
                  <a:lnTo>
                    <a:pt x="18" y="914"/>
                  </a:lnTo>
                  <a:lnTo>
                    <a:pt x="18" y="938"/>
                  </a:lnTo>
                  <a:lnTo>
                    <a:pt x="13" y="952"/>
                  </a:lnTo>
                  <a:lnTo>
                    <a:pt x="9" y="964"/>
                  </a:lnTo>
                  <a:lnTo>
                    <a:pt x="6" y="974"/>
                  </a:lnTo>
                  <a:lnTo>
                    <a:pt x="6" y="988"/>
                  </a:lnTo>
                  <a:lnTo>
                    <a:pt x="6" y="990"/>
                  </a:lnTo>
                  <a:lnTo>
                    <a:pt x="8" y="994"/>
                  </a:lnTo>
                  <a:lnTo>
                    <a:pt x="10" y="997"/>
                  </a:lnTo>
                  <a:lnTo>
                    <a:pt x="13" y="1001"/>
                  </a:lnTo>
                  <a:lnTo>
                    <a:pt x="22" y="1006"/>
                  </a:lnTo>
                  <a:lnTo>
                    <a:pt x="33" y="1012"/>
                  </a:lnTo>
                  <a:lnTo>
                    <a:pt x="45" y="1017"/>
                  </a:lnTo>
                  <a:lnTo>
                    <a:pt x="57" y="1020"/>
                  </a:lnTo>
                  <a:lnTo>
                    <a:pt x="68" y="1022"/>
                  </a:lnTo>
                  <a:lnTo>
                    <a:pt x="78" y="1024"/>
                  </a:lnTo>
                  <a:lnTo>
                    <a:pt x="82" y="1022"/>
                  </a:lnTo>
                  <a:lnTo>
                    <a:pt x="86" y="1022"/>
                  </a:lnTo>
                  <a:lnTo>
                    <a:pt x="90" y="1020"/>
                  </a:lnTo>
                  <a:lnTo>
                    <a:pt x="94" y="1017"/>
                  </a:lnTo>
                  <a:lnTo>
                    <a:pt x="102" y="1012"/>
                  </a:lnTo>
                  <a:lnTo>
                    <a:pt x="109" y="1004"/>
                  </a:lnTo>
                  <a:lnTo>
                    <a:pt x="122" y="988"/>
                  </a:lnTo>
                  <a:lnTo>
                    <a:pt x="132" y="976"/>
                  </a:lnTo>
                  <a:lnTo>
                    <a:pt x="138" y="950"/>
                  </a:lnTo>
                  <a:lnTo>
                    <a:pt x="186" y="950"/>
                  </a:lnTo>
                  <a:lnTo>
                    <a:pt x="198" y="957"/>
                  </a:lnTo>
                  <a:lnTo>
                    <a:pt x="210" y="960"/>
                  </a:lnTo>
                  <a:lnTo>
                    <a:pt x="222" y="962"/>
                  </a:lnTo>
                  <a:lnTo>
                    <a:pt x="234" y="962"/>
                  </a:lnTo>
                  <a:lnTo>
                    <a:pt x="246" y="960"/>
                  </a:lnTo>
                  <a:lnTo>
                    <a:pt x="258" y="957"/>
                  </a:lnTo>
                  <a:lnTo>
                    <a:pt x="270" y="953"/>
                  </a:lnTo>
                  <a:lnTo>
                    <a:pt x="282" y="948"/>
                  </a:lnTo>
                  <a:lnTo>
                    <a:pt x="293" y="941"/>
                  </a:lnTo>
                  <a:lnTo>
                    <a:pt x="302" y="934"/>
                  </a:lnTo>
                  <a:lnTo>
                    <a:pt x="312" y="926"/>
                  </a:lnTo>
                  <a:lnTo>
                    <a:pt x="320" y="918"/>
                  </a:lnTo>
                  <a:lnTo>
                    <a:pt x="326" y="909"/>
                  </a:lnTo>
                  <a:lnTo>
                    <a:pt x="332" y="901"/>
                  </a:lnTo>
                  <a:lnTo>
                    <a:pt x="334" y="893"/>
                  </a:lnTo>
                  <a:lnTo>
                    <a:pt x="337" y="885"/>
                  </a:lnTo>
                  <a:lnTo>
                    <a:pt x="336" y="866"/>
                  </a:lnTo>
                  <a:lnTo>
                    <a:pt x="336" y="850"/>
                  </a:lnTo>
                  <a:lnTo>
                    <a:pt x="336" y="842"/>
                  </a:lnTo>
                  <a:lnTo>
                    <a:pt x="337" y="836"/>
                  </a:lnTo>
                  <a:lnTo>
                    <a:pt x="340" y="829"/>
                  </a:lnTo>
                  <a:lnTo>
                    <a:pt x="344" y="825"/>
                  </a:lnTo>
                  <a:lnTo>
                    <a:pt x="350" y="821"/>
                  </a:lnTo>
                  <a:lnTo>
                    <a:pt x="357" y="820"/>
                  </a:lnTo>
                  <a:lnTo>
                    <a:pt x="364" y="820"/>
                  </a:lnTo>
                  <a:lnTo>
                    <a:pt x="370" y="820"/>
                  </a:lnTo>
                  <a:lnTo>
                    <a:pt x="386" y="822"/>
                  </a:lnTo>
                  <a:lnTo>
                    <a:pt x="404" y="825"/>
                  </a:lnTo>
                  <a:lnTo>
                    <a:pt x="404" y="806"/>
                  </a:lnTo>
                  <a:lnTo>
                    <a:pt x="408" y="790"/>
                  </a:lnTo>
                  <a:lnTo>
                    <a:pt x="412" y="776"/>
                  </a:lnTo>
                  <a:lnTo>
                    <a:pt x="418" y="762"/>
                  </a:lnTo>
                  <a:lnTo>
                    <a:pt x="425" y="750"/>
                  </a:lnTo>
                  <a:lnTo>
                    <a:pt x="434" y="741"/>
                  </a:lnTo>
                  <a:lnTo>
                    <a:pt x="444" y="730"/>
                  </a:lnTo>
                  <a:lnTo>
                    <a:pt x="453" y="722"/>
                  </a:lnTo>
                  <a:lnTo>
                    <a:pt x="474" y="706"/>
                  </a:lnTo>
                  <a:lnTo>
                    <a:pt x="494" y="691"/>
                  </a:lnTo>
                  <a:lnTo>
                    <a:pt x="505" y="683"/>
                  </a:lnTo>
                  <a:lnTo>
                    <a:pt x="514" y="675"/>
                  </a:lnTo>
                  <a:lnTo>
                    <a:pt x="522" y="665"/>
                  </a:lnTo>
                  <a:lnTo>
                    <a:pt x="530" y="656"/>
                  </a:lnTo>
                  <a:lnTo>
                    <a:pt x="537" y="647"/>
                  </a:lnTo>
                  <a:lnTo>
                    <a:pt x="541" y="639"/>
                  </a:lnTo>
                  <a:lnTo>
                    <a:pt x="542" y="631"/>
                  </a:lnTo>
                  <a:lnTo>
                    <a:pt x="544" y="621"/>
                  </a:lnTo>
                  <a:lnTo>
                    <a:pt x="544" y="612"/>
                  </a:lnTo>
                  <a:lnTo>
                    <a:pt x="544" y="601"/>
                  </a:lnTo>
                  <a:lnTo>
                    <a:pt x="545" y="591"/>
                  </a:lnTo>
                  <a:lnTo>
                    <a:pt x="548" y="577"/>
                  </a:lnTo>
                  <a:lnTo>
                    <a:pt x="552" y="571"/>
                  </a:lnTo>
                  <a:lnTo>
                    <a:pt x="558" y="565"/>
                  </a:lnTo>
                  <a:lnTo>
                    <a:pt x="566" y="559"/>
                  </a:lnTo>
                  <a:lnTo>
                    <a:pt x="574" y="552"/>
                  </a:lnTo>
                  <a:lnTo>
                    <a:pt x="582" y="545"/>
                  </a:lnTo>
                  <a:lnTo>
                    <a:pt x="589" y="537"/>
                  </a:lnTo>
                  <a:lnTo>
                    <a:pt x="591" y="533"/>
                  </a:lnTo>
                  <a:lnTo>
                    <a:pt x="594" y="528"/>
                  </a:lnTo>
                  <a:lnTo>
                    <a:pt x="595" y="523"/>
                  </a:lnTo>
                  <a:lnTo>
                    <a:pt x="595" y="517"/>
                  </a:lnTo>
                  <a:lnTo>
                    <a:pt x="594" y="509"/>
                  </a:lnTo>
                  <a:lnTo>
                    <a:pt x="591" y="501"/>
                  </a:lnTo>
                  <a:lnTo>
                    <a:pt x="589" y="495"/>
                  </a:lnTo>
                  <a:lnTo>
                    <a:pt x="584" y="488"/>
                  </a:lnTo>
                  <a:lnTo>
                    <a:pt x="580" y="480"/>
                  </a:lnTo>
                  <a:lnTo>
                    <a:pt x="576" y="473"/>
                  </a:lnTo>
                  <a:lnTo>
                    <a:pt x="573" y="465"/>
                  </a:lnTo>
                  <a:lnTo>
                    <a:pt x="572" y="457"/>
                  </a:lnTo>
                  <a:lnTo>
                    <a:pt x="565" y="449"/>
                  </a:lnTo>
                  <a:lnTo>
                    <a:pt x="557" y="440"/>
                  </a:lnTo>
                  <a:lnTo>
                    <a:pt x="552" y="432"/>
                  </a:lnTo>
                  <a:lnTo>
                    <a:pt x="545" y="421"/>
                  </a:lnTo>
                  <a:lnTo>
                    <a:pt x="536" y="401"/>
                  </a:lnTo>
                  <a:lnTo>
                    <a:pt x="528" y="380"/>
                  </a:lnTo>
                  <a:lnTo>
                    <a:pt x="513" y="335"/>
                  </a:lnTo>
                  <a:lnTo>
                    <a:pt x="502" y="288"/>
                  </a:lnTo>
                  <a:lnTo>
                    <a:pt x="496" y="264"/>
                  </a:lnTo>
                  <a:lnTo>
                    <a:pt x="489" y="241"/>
                  </a:lnTo>
                  <a:lnTo>
                    <a:pt x="481" y="220"/>
                  </a:lnTo>
                  <a:lnTo>
                    <a:pt x="472" y="199"/>
                  </a:lnTo>
                  <a:lnTo>
                    <a:pt x="465" y="189"/>
                  </a:lnTo>
                  <a:lnTo>
                    <a:pt x="460" y="180"/>
                  </a:lnTo>
                  <a:lnTo>
                    <a:pt x="453" y="171"/>
                  </a:lnTo>
                  <a:lnTo>
                    <a:pt x="446" y="161"/>
                  </a:lnTo>
                  <a:lnTo>
                    <a:pt x="438" y="153"/>
                  </a:lnTo>
                  <a:lnTo>
                    <a:pt x="429" y="145"/>
                  </a:lnTo>
                  <a:lnTo>
                    <a:pt x="420" y="139"/>
                  </a:lnTo>
                  <a:lnTo>
                    <a:pt x="409" y="132"/>
                  </a:lnTo>
                  <a:lnTo>
                    <a:pt x="393" y="117"/>
                  </a:lnTo>
                  <a:lnTo>
                    <a:pt x="377" y="104"/>
                  </a:lnTo>
                  <a:lnTo>
                    <a:pt x="369" y="99"/>
                  </a:lnTo>
                  <a:lnTo>
                    <a:pt x="360" y="94"/>
                  </a:lnTo>
                  <a:lnTo>
                    <a:pt x="349" y="91"/>
                  </a:lnTo>
                  <a:lnTo>
                    <a:pt x="337" y="90"/>
                  </a:lnTo>
                  <a:lnTo>
                    <a:pt x="316" y="92"/>
                  </a:lnTo>
                  <a:lnTo>
                    <a:pt x="297" y="96"/>
                  </a:lnTo>
                  <a:lnTo>
                    <a:pt x="288" y="99"/>
                  </a:lnTo>
                  <a:lnTo>
                    <a:pt x="277" y="100"/>
                  </a:lnTo>
                  <a:lnTo>
                    <a:pt x="265" y="102"/>
                  </a:lnTo>
                  <a:lnTo>
                    <a:pt x="253" y="102"/>
                  </a:lnTo>
                  <a:lnTo>
                    <a:pt x="246" y="102"/>
                  </a:lnTo>
                  <a:lnTo>
                    <a:pt x="240" y="99"/>
                  </a:lnTo>
                  <a:lnTo>
                    <a:pt x="232" y="95"/>
                  </a:lnTo>
                  <a:lnTo>
                    <a:pt x="224" y="90"/>
                  </a:lnTo>
                  <a:lnTo>
                    <a:pt x="208" y="76"/>
                  </a:lnTo>
                  <a:lnTo>
                    <a:pt x="190" y="60"/>
                  </a:lnTo>
                  <a:lnTo>
                    <a:pt x="174" y="43"/>
                  </a:lnTo>
                  <a:lnTo>
                    <a:pt x="162" y="26"/>
                  </a:lnTo>
                  <a:lnTo>
                    <a:pt x="157" y="18"/>
                  </a:lnTo>
                  <a:lnTo>
                    <a:pt x="153" y="11"/>
                  </a:lnTo>
                  <a:lnTo>
                    <a:pt x="152" y="4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7" name="Freeform 113"/>
            <p:cNvSpPr>
              <a:spLocks/>
            </p:cNvSpPr>
            <p:nvPr/>
          </p:nvSpPr>
          <p:spPr bwMode="auto">
            <a:xfrm>
              <a:off x="497209" y="5122863"/>
              <a:ext cx="133350" cy="200025"/>
            </a:xfrm>
            <a:custGeom>
              <a:avLst/>
              <a:gdLst/>
              <a:ahLst/>
              <a:cxnLst>
                <a:cxn ang="0">
                  <a:pos x="276" y="237"/>
                </a:cxn>
                <a:cxn ang="0">
                  <a:pos x="273" y="216"/>
                </a:cxn>
                <a:cxn ang="0">
                  <a:pos x="268" y="181"/>
                </a:cxn>
                <a:cxn ang="0">
                  <a:pos x="254" y="145"/>
                </a:cxn>
                <a:cxn ang="0">
                  <a:pos x="230" y="111"/>
                </a:cxn>
                <a:cxn ang="0">
                  <a:pos x="202" y="83"/>
                </a:cxn>
                <a:cxn ang="0">
                  <a:pos x="170" y="64"/>
                </a:cxn>
                <a:cxn ang="0">
                  <a:pos x="141" y="60"/>
                </a:cxn>
                <a:cxn ang="0">
                  <a:pos x="118" y="55"/>
                </a:cxn>
                <a:cxn ang="0">
                  <a:pos x="72" y="20"/>
                </a:cxn>
                <a:cxn ang="0">
                  <a:pos x="31" y="43"/>
                </a:cxn>
                <a:cxn ang="0">
                  <a:pos x="55" y="80"/>
                </a:cxn>
                <a:cxn ang="0">
                  <a:pos x="94" y="114"/>
                </a:cxn>
                <a:cxn ang="0">
                  <a:pos x="118" y="120"/>
                </a:cxn>
                <a:cxn ang="0">
                  <a:pos x="162" y="110"/>
                </a:cxn>
                <a:cxn ang="0">
                  <a:pos x="178" y="119"/>
                </a:cxn>
                <a:cxn ang="0">
                  <a:pos x="186" y="151"/>
                </a:cxn>
                <a:cxn ang="0">
                  <a:pos x="180" y="167"/>
                </a:cxn>
                <a:cxn ang="0">
                  <a:pos x="148" y="193"/>
                </a:cxn>
                <a:cxn ang="0">
                  <a:pos x="101" y="216"/>
                </a:cxn>
                <a:cxn ang="0">
                  <a:pos x="92" y="279"/>
                </a:cxn>
                <a:cxn ang="0">
                  <a:pos x="88" y="297"/>
                </a:cxn>
                <a:cxn ang="0">
                  <a:pos x="77" y="309"/>
                </a:cxn>
                <a:cxn ang="0">
                  <a:pos x="61" y="301"/>
                </a:cxn>
                <a:cxn ang="0">
                  <a:pos x="51" y="285"/>
                </a:cxn>
                <a:cxn ang="0">
                  <a:pos x="37" y="284"/>
                </a:cxn>
                <a:cxn ang="0">
                  <a:pos x="16" y="292"/>
                </a:cxn>
                <a:cxn ang="0">
                  <a:pos x="1" y="307"/>
                </a:cxn>
                <a:cxn ang="0">
                  <a:pos x="4" y="352"/>
                </a:cxn>
                <a:cxn ang="0">
                  <a:pos x="13" y="376"/>
                </a:cxn>
                <a:cxn ang="0">
                  <a:pos x="27" y="393"/>
                </a:cxn>
                <a:cxn ang="0">
                  <a:pos x="44" y="405"/>
                </a:cxn>
                <a:cxn ang="0">
                  <a:pos x="66" y="411"/>
                </a:cxn>
                <a:cxn ang="0">
                  <a:pos x="96" y="400"/>
                </a:cxn>
                <a:cxn ang="0">
                  <a:pos x="125" y="373"/>
                </a:cxn>
                <a:cxn ang="0">
                  <a:pos x="158" y="323"/>
                </a:cxn>
                <a:cxn ang="0">
                  <a:pos x="193" y="248"/>
                </a:cxn>
                <a:cxn ang="0">
                  <a:pos x="218" y="248"/>
                </a:cxn>
                <a:cxn ang="0">
                  <a:pos x="228" y="292"/>
                </a:cxn>
                <a:cxn ang="0">
                  <a:pos x="234" y="315"/>
                </a:cxn>
                <a:cxn ang="0">
                  <a:pos x="241" y="320"/>
                </a:cxn>
                <a:cxn ang="0">
                  <a:pos x="253" y="312"/>
                </a:cxn>
                <a:cxn ang="0">
                  <a:pos x="258" y="280"/>
                </a:cxn>
                <a:cxn ang="0">
                  <a:pos x="261" y="248"/>
                </a:cxn>
                <a:cxn ang="0">
                  <a:pos x="270" y="241"/>
                </a:cxn>
              </a:cxnLst>
              <a:rect l="0" t="0" r="r" b="b"/>
              <a:pathLst>
                <a:path w="276" h="411">
                  <a:moveTo>
                    <a:pt x="270" y="241"/>
                  </a:moveTo>
                  <a:lnTo>
                    <a:pt x="274" y="240"/>
                  </a:lnTo>
                  <a:lnTo>
                    <a:pt x="276" y="237"/>
                  </a:lnTo>
                  <a:lnTo>
                    <a:pt x="276" y="233"/>
                  </a:lnTo>
                  <a:lnTo>
                    <a:pt x="276" y="228"/>
                  </a:lnTo>
                  <a:lnTo>
                    <a:pt x="273" y="216"/>
                  </a:lnTo>
                  <a:lnTo>
                    <a:pt x="270" y="205"/>
                  </a:lnTo>
                  <a:lnTo>
                    <a:pt x="270" y="193"/>
                  </a:lnTo>
                  <a:lnTo>
                    <a:pt x="268" y="181"/>
                  </a:lnTo>
                  <a:lnTo>
                    <a:pt x="264" y="169"/>
                  </a:lnTo>
                  <a:lnTo>
                    <a:pt x="260" y="157"/>
                  </a:lnTo>
                  <a:lnTo>
                    <a:pt x="254" y="145"/>
                  </a:lnTo>
                  <a:lnTo>
                    <a:pt x="246" y="133"/>
                  </a:lnTo>
                  <a:lnTo>
                    <a:pt x="240" y="122"/>
                  </a:lnTo>
                  <a:lnTo>
                    <a:pt x="230" y="111"/>
                  </a:lnTo>
                  <a:lnTo>
                    <a:pt x="222" y="100"/>
                  </a:lnTo>
                  <a:lnTo>
                    <a:pt x="212" y="91"/>
                  </a:lnTo>
                  <a:lnTo>
                    <a:pt x="202" y="83"/>
                  </a:lnTo>
                  <a:lnTo>
                    <a:pt x="192" y="75"/>
                  </a:lnTo>
                  <a:lnTo>
                    <a:pt x="181" y="70"/>
                  </a:lnTo>
                  <a:lnTo>
                    <a:pt x="170" y="64"/>
                  </a:lnTo>
                  <a:lnTo>
                    <a:pt x="161" y="62"/>
                  </a:lnTo>
                  <a:lnTo>
                    <a:pt x="150" y="60"/>
                  </a:lnTo>
                  <a:lnTo>
                    <a:pt x="141" y="60"/>
                  </a:lnTo>
                  <a:lnTo>
                    <a:pt x="133" y="59"/>
                  </a:lnTo>
                  <a:lnTo>
                    <a:pt x="125" y="58"/>
                  </a:lnTo>
                  <a:lnTo>
                    <a:pt x="118" y="55"/>
                  </a:lnTo>
                  <a:lnTo>
                    <a:pt x="105" y="48"/>
                  </a:lnTo>
                  <a:lnTo>
                    <a:pt x="93" y="40"/>
                  </a:lnTo>
                  <a:lnTo>
                    <a:pt x="72" y="20"/>
                  </a:lnTo>
                  <a:lnTo>
                    <a:pt x="55" y="0"/>
                  </a:lnTo>
                  <a:lnTo>
                    <a:pt x="31" y="0"/>
                  </a:lnTo>
                  <a:lnTo>
                    <a:pt x="31" y="43"/>
                  </a:lnTo>
                  <a:lnTo>
                    <a:pt x="36" y="55"/>
                  </a:lnTo>
                  <a:lnTo>
                    <a:pt x="44" y="68"/>
                  </a:lnTo>
                  <a:lnTo>
                    <a:pt x="55" y="80"/>
                  </a:lnTo>
                  <a:lnTo>
                    <a:pt x="66" y="94"/>
                  </a:lnTo>
                  <a:lnTo>
                    <a:pt x="80" y="104"/>
                  </a:lnTo>
                  <a:lnTo>
                    <a:pt x="94" y="114"/>
                  </a:lnTo>
                  <a:lnTo>
                    <a:pt x="102" y="116"/>
                  </a:lnTo>
                  <a:lnTo>
                    <a:pt x="110" y="119"/>
                  </a:lnTo>
                  <a:lnTo>
                    <a:pt x="118" y="120"/>
                  </a:lnTo>
                  <a:lnTo>
                    <a:pt x="126" y="122"/>
                  </a:lnTo>
                  <a:lnTo>
                    <a:pt x="142" y="115"/>
                  </a:lnTo>
                  <a:lnTo>
                    <a:pt x="162" y="110"/>
                  </a:lnTo>
                  <a:lnTo>
                    <a:pt x="169" y="111"/>
                  </a:lnTo>
                  <a:lnTo>
                    <a:pt x="173" y="114"/>
                  </a:lnTo>
                  <a:lnTo>
                    <a:pt x="178" y="119"/>
                  </a:lnTo>
                  <a:lnTo>
                    <a:pt x="181" y="126"/>
                  </a:lnTo>
                  <a:lnTo>
                    <a:pt x="185" y="140"/>
                  </a:lnTo>
                  <a:lnTo>
                    <a:pt x="186" y="151"/>
                  </a:lnTo>
                  <a:lnTo>
                    <a:pt x="185" y="156"/>
                  </a:lnTo>
                  <a:lnTo>
                    <a:pt x="184" y="161"/>
                  </a:lnTo>
                  <a:lnTo>
                    <a:pt x="180" y="167"/>
                  </a:lnTo>
                  <a:lnTo>
                    <a:pt x="174" y="172"/>
                  </a:lnTo>
                  <a:lnTo>
                    <a:pt x="162" y="183"/>
                  </a:lnTo>
                  <a:lnTo>
                    <a:pt x="148" y="193"/>
                  </a:lnTo>
                  <a:lnTo>
                    <a:pt x="132" y="203"/>
                  </a:lnTo>
                  <a:lnTo>
                    <a:pt x="116" y="211"/>
                  </a:lnTo>
                  <a:lnTo>
                    <a:pt x="101" y="216"/>
                  </a:lnTo>
                  <a:lnTo>
                    <a:pt x="90" y="217"/>
                  </a:lnTo>
                  <a:lnTo>
                    <a:pt x="92" y="249"/>
                  </a:lnTo>
                  <a:lnTo>
                    <a:pt x="92" y="279"/>
                  </a:lnTo>
                  <a:lnTo>
                    <a:pt x="90" y="285"/>
                  </a:lnTo>
                  <a:lnTo>
                    <a:pt x="89" y="292"/>
                  </a:lnTo>
                  <a:lnTo>
                    <a:pt x="88" y="297"/>
                  </a:lnTo>
                  <a:lnTo>
                    <a:pt x="85" y="301"/>
                  </a:lnTo>
                  <a:lnTo>
                    <a:pt x="81" y="307"/>
                  </a:lnTo>
                  <a:lnTo>
                    <a:pt x="77" y="309"/>
                  </a:lnTo>
                  <a:lnTo>
                    <a:pt x="72" y="312"/>
                  </a:lnTo>
                  <a:lnTo>
                    <a:pt x="66" y="313"/>
                  </a:lnTo>
                  <a:lnTo>
                    <a:pt x="61" y="301"/>
                  </a:lnTo>
                  <a:lnTo>
                    <a:pt x="56" y="292"/>
                  </a:lnTo>
                  <a:lnTo>
                    <a:pt x="53" y="288"/>
                  </a:lnTo>
                  <a:lnTo>
                    <a:pt x="51" y="285"/>
                  </a:lnTo>
                  <a:lnTo>
                    <a:pt x="47" y="284"/>
                  </a:lnTo>
                  <a:lnTo>
                    <a:pt x="43" y="284"/>
                  </a:lnTo>
                  <a:lnTo>
                    <a:pt x="37" y="284"/>
                  </a:lnTo>
                  <a:lnTo>
                    <a:pt x="31" y="285"/>
                  </a:lnTo>
                  <a:lnTo>
                    <a:pt x="24" y="288"/>
                  </a:lnTo>
                  <a:lnTo>
                    <a:pt x="16" y="292"/>
                  </a:lnTo>
                  <a:lnTo>
                    <a:pt x="11" y="296"/>
                  </a:lnTo>
                  <a:lnTo>
                    <a:pt x="5" y="301"/>
                  </a:lnTo>
                  <a:lnTo>
                    <a:pt x="1" y="307"/>
                  </a:lnTo>
                  <a:lnTo>
                    <a:pt x="0" y="313"/>
                  </a:lnTo>
                  <a:lnTo>
                    <a:pt x="1" y="333"/>
                  </a:lnTo>
                  <a:lnTo>
                    <a:pt x="4" y="352"/>
                  </a:lnTo>
                  <a:lnTo>
                    <a:pt x="7" y="360"/>
                  </a:lnTo>
                  <a:lnTo>
                    <a:pt x="9" y="368"/>
                  </a:lnTo>
                  <a:lnTo>
                    <a:pt x="13" y="376"/>
                  </a:lnTo>
                  <a:lnTo>
                    <a:pt x="17" y="383"/>
                  </a:lnTo>
                  <a:lnTo>
                    <a:pt x="21" y="388"/>
                  </a:lnTo>
                  <a:lnTo>
                    <a:pt x="27" y="393"/>
                  </a:lnTo>
                  <a:lnTo>
                    <a:pt x="32" y="399"/>
                  </a:lnTo>
                  <a:lnTo>
                    <a:pt x="39" y="403"/>
                  </a:lnTo>
                  <a:lnTo>
                    <a:pt x="44" y="405"/>
                  </a:lnTo>
                  <a:lnTo>
                    <a:pt x="51" y="408"/>
                  </a:lnTo>
                  <a:lnTo>
                    <a:pt x="58" y="409"/>
                  </a:lnTo>
                  <a:lnTo>
                    <a:pt x="66" y="411"/>
                  </a:lnTo>
                  <a:lnTo>
                    <a:pt x="76" y="409"/>
                  </a:lnTo>
                  <a:lnTo>
                    <a:pt x="86" y="405"/>
                  </a:lnTo>
                  <a:lnTo>
                    <a:pt x="96" y="400"/>
                  </a:lnTo>
                  <a:lnTo>
                    <a:pt x="106" y="392"/>
                  </a:lnTo>
                  <a:lnTo>
                    <a:pt x="116" y="383"/>
                  </a:lnTo>
                  <a:lnTo>
                    <a:pt x="125" y="373"/>
                  </a:lnTo>
                  <a:lnTo>
                    <a:pt x="134" y="361"/>
                  </a:lnTo>
                  <a:lnTo>
                    <a:pt x="142" y="349"/>
                  </a:lnTo>
                  <a:lnTo>
                    <a:pt x="158" y="323"/>
                  </a:lnTo>
                  <a:lnTo>
                    <a:pt x="173" y="296"/>
                  </a:lnTo>
                  <a:lnTo>
                    <a:pt x="184" y="269"/>
                  </a:lnTo>
                  <a:lnTo>
                    <a:pt x="193" y="248"/>
                  </a:lnTo>
                  <a:lnTo>
                    <a:pt x="204" y="249"/>
                  </a:lnTo>
                  <a:lnTo>
                    <a:pt x="212" y="249"/>
                  </a:lnTo>
                  <a:lnTo>
                    <a:pt x="218" y="248"/>
                  </a:lnTo>
                  <a:lnTo>
                    <a:pt x="222" y="248"/>
                  </a:lnTo>
                  <a:lnTo>
                    <a:pt x="224" y="269"/>
                  </a:lnTo>
                  <a:lnTo>
                    <a:pt x="228" y="292"/>
                  </a:lnTo>
                  <a:lnTo>
                    <a:pt x="229" y="303"/>
                  </a:lnTo>
                  <a:lnTo>
                    <a:pt x="233" y="312"/>
                  </a:lnTo>
                  <a:lnTo>
                    <a:pt x="234" y="315"/>
                  </a:lnTo>
                  <a:lnTo>
                    <a:pt x="237" y="317"/>
                  </a:lnTo>
                  <a:lnTo>
                    <a:pt x="238" y="319"/>
                  </a:lnTo>
                  <a:lnTo>
                    <a:pt x="241" y="320"/>
                  </a:lnTo>
                  <a:lnTo>
                    <a:pt x="245" y="319"/>
                  </a:lnTo>
                  <a:lnTo>
                    <a:pt x="249" y="316"/>
                  </a:lnTo>
                  <a:lnTo>
                    <a:pt x="253" y="312"/>
                  </a:lnTo>
                  <a:lnTo>
                    <a:pt x="254" y="308"/>
                  </a:lnTo>
                  <a:lnTo>
                    <a:pt x="257" y="295"/>
                  </a:lnTo>
                  <a:lnTo>
                    <a:pt x="258" y="280"/>
                  </a:lnTo>
                  <a:lnTo>
                    <a:pt x="258" y="267"/>
                  </a:lnTo>
                  <a:lnTo>
                    <a:pt x="260" y="253"/>
                  </a:lnTo>
                  <a:lnTo>
                    <a:pt x="261" y="248"/>
                  </a:lnTo>
                  <a:lnTo>
                    <a:pt x="264" y="245"/>
                  </a:lnTo>
                  <a:lnTo>
                    <a:pt x="266" y="243"/>
                  </a:lnTo>
                  <a:lnTo>
                    <a:pt x="270" y="24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8" name="Freeform 114"/>
            <p:cNvSpPr>
              <a:spLocks/>
            </p:cNvSpPr>
            <p:nvPr/>
          </p:nvSpPr>
          <p:spPr bwMode="auto">
            <a:xfrm>
              <a:off x="782959" y="5116513"/>
              <a:ext cx="423863" cy="473075"/>
            </a:xfrm>
            <a:custGeom>
              <a:avLst/>
              <a:gdLst/>
              <a:ahLst/>
              <a:cxnLst>
                <a:cxn ang="0">
                  <a:pos x="488" y="110"/>
                </a:cxn>
                <a:cxn ang="0">
                  <a:pos x="513" y="127"/>
                </a:cxn>
                <a:cxn ang="0">
                  <a:pos x="565" y="110"/>
                </a:cxn>
                <a:cxn ang="0">
                  <a:pos x="552" y="189"/>
                </a:cxn>
                <a:cxn ang="0">
                  <a:pos x="403" y="260"/>
                </a:cxn>
                <a:cxn ang="0">
                  <a:pos x="384" y="291"/>
                </a:cxn>
                <a:cxn ang="0">
                  <a:pos x="373" y="329"/>
                </a:cxn>
                <a:cxn ang="0">
                  <a:pos x="336" y="335"/>
                </a:cxn>
                <a:cxn ang="0">
                  <a:pos x="295" y="320"/>
                </a:cxn>
                <a:cxn ang="0">
                  <a:pos x="267" y="307"/>
                </a:cxn>
                <a:cxn ang="0">
                  <a:pos x="244" y="231"/>
                </a:cxn>
                <a:cxn ang="0">
                  <a:pos x="187" y="164"/>
                </a:cxn>
                <a:cxn ang="0">
                  <a:pos x="163" y="98"/>
                </a:cxn>
                <a:cxn ang="0">
                  <a:pos x="114" y="143"/>
                </a:cxn>
                <a:cxn ang="0">
                  <a:pos x="79" y="138"/>
                </a:cxn>
                <a:cxn ang="0">
                  <a:pos x="35" y="122"/>
                </a:cxn>
                <a:cxn ang="0">
                  <a:pos x="2" y="148"/>
                </a:cxn>
                <a:cxn ang="0">
                  <a:pos x="22" y="200"/>
                </a:cxn>
                <a:cxn ang="0">
                  <a:pos x="67" y="207"/>
                </a:cxn>
                <a:cxn ang="0">
                  <a:pos x="102" y="221"/>
                </a:cxn>
                <a:cxn ang="0">
                  <a:pos x="148" y="245"/>
                </a:cxn>
                <a:cxn ang="0">
                  <a:pos x="196" y="283"/>
                </a:cxn>
                <a:cxn ang="0">
                  <a:pos x="240" y="344"/>
                </a:cxn>
                <a:cxn ang="0">
                  <a:pos x="288" y="392"/>
                </a:cxn>
                <a:cxn ang="0">
                  <a:pos x="289" y="452"/>
                </a:cxn>
                <a:cxn ang="0">
                  <a:pos x="277" y="499"/>
                </a:cxn>
                <a:cxn ang="0">
                  <a:pos x="307" y="581"/>
                </a:cxn>
                <a:cxn ang="0">
                  <a:pos x="392" y="703"/>
                </a:cxn>
                <a:cxn ang="0">
                  <a:pos x="403" y="765"/>
                </a:cxn>
                <a:cxn ang="0">
                  <a:pos x="409" y="817"/>
                </a:cxn>
                <a:cxn ang="0">
                  <a:pos x="491" y="878"/>
                </a:cxn>
                <a:cxn ang="0">
                  <a:pos x="521" y="941"/>
                </a:cxn>
                <a:cxn ang="0">
                  <a:pos x="560" y="970"/>
                </a:cxn>
                <a:cxn ang="0">
                  <a:pos x="645" y="922"/>
                </a:cxn>
                <a:cxn ang="0">
                  <a:pos x="699" y="865"/>
                </a:cxn>
                <a:cxn ang="0">
                  <a:pos x="693" y="832"/>
                </a:cxn>
                <a:cxn ang="0">
                  <a:pos x="656" y="796"/>
                </a:cxn>
                <a:cxn ang="0">
                  <a:pos x="699" y="748"/>
                </a:cxn>
                <a:cxn ang="0">
                  <a:pos x="740" y="699"/>
                </a:cxn>
                <a:cxn ang="0">
                  <a:pos x="720" y="651"/>
                </a:cxn>
                <a:cxn ang="0">
                  <a:pos x="721" y="608"/>
                </a:cxn>
                <a:cxn ang="0">
                  <a:pos x="777" y="615"/>
                </a:cxn>
                <a:cxn ang="0">
                  <a:pos x="844" y="581"/>
                </a:cxn>
                <a:cxn ang="0">
                  <a:pos x="852" y="537"/>
                </a:cxn>
                <a:cxn ang="0">
                  <a:pos x="837" y="459"/>
                </a:cxn>
                <a:cxn ang="0">
                  <a:pos x="873" y="404"/>
                </a:cxn>
                <a:cxn ang="0">
                  <a:pos x="835" y="356"/>
                </a:cxn>
                <a:cxn ang="0">
                  <a:pos x="816" y="324"/>
                </a:cxn>
                <a:cxn ang="0">
                  <a:pos x="809" y="224"/>
                </a:cxn>
                <a:cxn ang="0">
                  <a:pos x="771" y="90"/>
                </a:cxn>
                <a:cxn ang="0">
                  <a:pos x="717" y="78"/>
                </a:cxn>
                <a:cxn ang="0">
                  <a:pos x="683" y="20"/>
                </a:cxn>
                <a:cxn ang="0">
                  <a:pos x="653" y="52"/>
                </a:cxn>
                <a:cxn ang="0">
                  <a:pos x="621" y="72"/>
                </a:cxn>
                <a:cxn ang="0">
                  <a:pos x="563" y="50"/>
                </a:cxn>
                <a:cxn ang="0">
                  <a:pos x="504" y="62"/>
                </a:cxn>
              </a:cxnLst>
              <a:rect l="0" t="0" r="r" b="b"/>
              <a:pathLst>
                <a:path w="873" h="976">
                  <a:moveTo>
                    <a:pt x="481" y="91"/>
                  </a:moveTo>
                  <a:lnTo>
                    <a:pt x="483" y="100"/>
                  </a:lnTo>
                  <a:lnTo>
                    <a:pt x="484" y="104"/>
                  </a:lnTo>
                  <a:lnTo>
                    <a:pt x="487" y="104"/>
                  </a:lnTo>
                  <a:lnTo>
                    <a:pt x="488" y="103"/>
                  </a:lnTo>
                  <a:lnTo>
                    <a:pt x="488" y="110"/>
                  </a:lnTo>
                  <a:lnTo>
                    <a:pt x="489" y="118"/>
                  </a:lnTo>
                  <a:lnTo>
                    <a:pt x="492" y="122"/>
                  </a:lnTo>
                  <a:lnTo>
                    <a:pt x="495" y="124"/>
                  </a:lnTo>
                  <a:lnTo>
                    <a:pt x="500" y="127"/>
                  </a:lnTo>
                  <a:lnTo>
                    <a:pt x="505" y="127"/>
                  </a:lnTo>
                  <a:lnTo>
                    <a:pt x="513" y="127"/>
                  </a:lnTo>
                  <a:lnTo>
                    <a:pt x="519" y="126"/>
                  </a:lnTo>
                  <a:lnTo>
                    <a:pt x="523" y="124"/>
                  </a:lnTo>
                  <a:lnTo>
                    <a:pt x="525" y="123"/>
                  </a:lnTo>
                  <a:lnTo>
                    <a:pt x="529" y="118"/>
                  </a:lnTo>
                  <a:lnTo>
                    <a:pt x="536" y="110"/>
                  </a:lnTo>
                  <a:lnTo>
                    <a:pt x="565" y="110"/>
                  </a:lnTo>
                  <a:lnTo>
                    <a:pt x="565" y="123"/>
                  </a:lnTo>
                  <a:lnTo>
                    <a:pt x="565" y="134"/>
                  </a:lnTo>
                  <a:lnTo>
                    <a:pt x="565" y="149"/>
                  </a:lnTo>
                  <a:lnTo>
                    <a:pt x="563" y="165"/>
                  </a:lnTo>
                  <a:lnTo>
                    <a:pt x="557" y="177"/>
                  </a:lnTo>
                  <a:lnTo>
                    <a:pt x="552" y="189"/>
                  </a:lnTo>
                  <a:lnTo>
                    <a:pt x="544" y="199"/>
                  </a:lnTo>
                  <a:lnTo>
                    <a:pt x="535" y="208"/>
                  </a:lnTo>
                  <a:lnTo>
                    <a:pt x="525" y="215"/>
                  </a:lnTo>
                  <a:lnTo>
                    <a:pt x="513" y="221"/>
                  </a:lnTo>
                  <a:lnTo>
                    <a:pt x="461" y="240"/>
                  </a:lnTo>
                  <a:lnTo>
                    <a:pt x="403" y="260"/>
                  </a:lnTo>
                  <a:lnTo>
                    <a:pt x="396" y="263"/>
                  </a:lnTo>
                  <a:lnTo>
                    <a:pt x="391" y="267"/>
                  </a:lnTo>
                  <a:lnTo>
                    <a:pt x="388" y="272"/>
                  </a:lnTo>
                  <a:lnTo>
                    <a:pt x="387" y="279"/>
                  </a:lnTo>
                  <a:lnTo>
                    <a:pt x="385" y="284"/>
                  </a:lnTo>
                  <a:lnTo>
                    <a:pt x="384" y="291"/>
                  </a:lnTo>
                  <a:lnTo>
                    <a:pt x="383" y="296"/>
                  </a:lnTo>
                  <a:lnTo>
                    <a:pt x="379" y="301"/>
                  </a:lnTo>
                  <a:lnTo>
                    <a:pt x="379" y="311"/>
                  </a:lnTo>
                  <a:lnTo>
                    <a:pt x="377" y="317"/>
                  </a:lnTo>
                  <a:lnTo>
                    <a:pt x="376" y="324"/>
                  </a:lnTo>
                  <a:lnTo>
                    <a:pt x="373" y="329"/>
                  </a:lnTo>
                  <a:lnTo>
                    <a:pt x="369" y="332"/>
                  </a:lnTo>
                  <a:lnTo>
                    <a:pt x="364" y="336"/>
                  </a:lnTo>
                  <a:lnTo>
                    <a:pt x="357" y="337"/>
                  </a:lnTo>
                  <a:lnTo>
                    <a:pt x="349" y="337"/>
                  </a:lnTo>
                  <a:lnTo>
                    <a:pt x="343" y="337"/>
                  </a:lnTo>
                  <a:lnTo>
                    <a:pt x="336" y="335"/>
                  </a:lnTo>
                  <a:lnTo>
                    <a:pt x="331" y="332"/>
                  </a:lnTo>
                  <a:lnTo>
                    <a:pt x="324" y="329"/>
                  </a:lnTo>
                  <a:lnTo>
                    <a:pt x="317" y="325"/>
                  </a:lnTo>
                  <a:lnTo>
                    <a:pt x="311" y="323"/>
                  </a:lnTo>
                  <a:lnTo>
                    <a:pt x="303" y="320"/>
                  </a:lnTo>
                  <a:lnTo>
                    <a:pt x="295" y="320"/>
                  </a:lnTo>
                  <a:lnTo>
                    <a:pt x="288" y="319"/>
                  </a:lnTo>
                  <a:lnTo>
                    <a:pt x="281" y="319"/>
                  </a:lnTo>
                  <a:lnTo>
                    <a:pt x="276" y="316"/>
                  </a:lnTo>
                  <a:lnTo>
                    <a:pt x="272" y="313"/>
                  </a:lnTo>
                  <a:lnTo>
                    <a:pt x="269" y="311"/>
                  </a:lnTo>
                  <a:lnTo>
                    <a:pt x="267" y="307"/>
                  </a:lnTo>
                  <a:lnTo>
                    <a:pt x="264" y="301"/>
                  </a:lnTo>
                  <a:lnTo>
                    <a:pt x="263" y="297"/>
                  </a:lnTo>
                  <a:lnTo>
                    <a:pt x="259" y="273"/>
                  </a:lnTo>
                  <a:lnTo>
                    <a:pt x="253" y="248"/>
                  </a:lnTo>
                  <a:lnTo>
                    <a:pt x="249" y="239"/>
                  </a:lnTo>
                  <a:lnTo>
                    <a:pt x="244" y="231"/>
                  </a:lnTo>
                  <a:lnTo>
                    <a:pt x="237" y="221"/>
                  </a:lnTo>
                  <a:lnTo>
                    <a:pt x="231" y="213"/>
                  </a:lnTo>
                  <a:lnTo>
                    <a:pt x="216" y="197"/>
                  </a:lnTo>
                  <a:lnTo>
                    <a:pt x="202" y="181"/>
                  </a:lnTo>
                  <a:lnTo>
                    <a:pt x="194" y="172"/>
                  </a:lnTo>
                  <a:lnTo>
                    <a:pt x="187" y="164"/>
                  </a:lnTo>
                  <a:lnTo>
                    <a:pt x="180" y="155"/>
                  </a:lnTo>
                  <a:lnTo>
                    <a:pt x="174" y="144"/>
                  </a:lnTo>
                  <a:lnTo>
                    <a:pt x="170" y="134"/>
                  </a:lnTo>
                  <a:lnTo>
                    <a:pt x="166" y="123"/>
                  </a:lnTo>
                  <a:lnTo>
                    <a:pt x="163" y="110"/>
                  </a:lnTo>
                  <a:lnTo>
                    <a:pt x="163" y="98"/>
                  </a:lnTo>
                  <a:lnTo>
                    <a:pt x="139" y="98"/>
                  </a:lnTo>
                  <a:lnTo>
                    <a:pt x="131" y="112"/>
                  </a:lnTo>
                  <a:lnTo>
                    <a:pt x="124" y="128"/>
                  </a:lnTo>
                  <a:lnTo>
                    <a:pt x="122" y="135"/>
                  </a:lnTo>
                  <a:lnTo>
                    <a:pt x="116" y="140"/>
                  </a:lnTo>
                  <a:lnTo>
                    <a:pt x="114" y="143"/>
                  </a:lnTo>
                  <a:lnTo>
                    <a:pt x="111" y="144"/>
                  </a:lnTo>
                  <a:lnTo>
                    <a:pt x="107" y="144"/>
                  </a:lnTo>
                  <a:lnTo>
                    <a:pt x="103" y="145"/>
                  </a:lnTo>
                  <a:lnTo>
                    <a:pt x="94" y="144"/>
                  </a:lnTo>
                  <a:lnTo>
                    <a:pt x="86" y="141"/>
                  </a:lnTo>
                  <a:lnTo>
                    <a:pt x="79" y="138"/>
                  </a:lnTo>
                  <a:lnTo>
                    <a:pt x="72" y="134"/>
                  </a:lnTo>
                  <a:lnTo>
                    <a:pt x="66" y="128"/>
                  </a:lnTo>
                  <a:lnTo>
                    <a:pt x="59" y="124"/>
                  </a:lnTo>
                  <a:lnTo>
                    <a:pt x="51" y="122"/>
                  </a:lnTo>
                  <a:lnTo>
                    <a:pt x="42" y="122"/>
                  </a:lnTo>
                  <a:lnTo>
                    <a:pt x="35" y="122"/>
                  </a:lnTo>
                  <a:lnTo>
                    <a:pt x="28" y="123"/>
                  </a:lnTo>
                  <a:lnTo>
                    <a:pt x="20" y="126"/>
                  </a:lnTo>
                  <a:lnTo>
                    <a:pt x="14" y="130"/>
                  </a:lnTo>
                  <a:lnTo>
                    <a:pt x="8" y="135"/>
                  </a:lnTo>
                  <a:lnTo>
                    <a:pt x="4" y="141"/>
                  </a:lnTo>
                  <a:lnTo>
                    <a:pt x="2" y="148"/>
                  </a:lnTo>
                  <a:lnTo>
                    <a:pt x="0" y="157"/>
                  </a:lnTo>
                  <a:lnTo>
                    <a:pt x="2" y="167"/>
                  </a:lnTo>
                  <a:lnTo>
                    <a:pt x="4" y="176"/>
                  </a:lnTo>
                  <a:lnTo>
                    <a:pt x="8" y="185"/>
                  </a:lnTo>
                  <a:lnTo>
                    <a:pt x="15" y="193"/>
                  </a:lnTo>
                  <a:lnTo>
                    <a:pt x="22" y="200"/>
                  </a:lnTo>
                  <a:lnTo>
                    <a:pt x="31" y="207"/>
                  </a:lnTo>
                  <a:lnTo>
                    <a:pt x="39" y="209"/>
                  </a:lnTo>
                  <a:lnTo>
                    <a:pt x="48" y="211"/>
                  </a:lnTo>
                  <a:lnTo>
                    <a:pt x="56" y="211"/>
                  </a:lnTo>
                  <a:lnTo>
                    <a:pt x="63" y="209"/>
                  </a:lnTo>
                  <a:lnTo>
                    <a:pt x="67" y="207"/>
                  </a:lnTo>
                  <a:lnTo>
                    <a:pt x="72" y="204"/>
                  </a:lnTo>
                  <a:lnTo>
                    <a:pt x="82" y="199"/>
                  </a:lnTo>
                  <a:lnTo>
                    <a:pt x="96" y="193"/>
                  </a:lnTo>
                  <a:lnTo>
                    <a:pt x="98" y="204"/>
                  </a:lnTo>
                  <a:lnTo>
                    <a:pt x="100" y="215"/>
                  </a:lnTo>
                  <a:lnTo>
                    <a:pt x="102" y="221"/>
                  </a:lnTo>
                  <a:lnTo>
                    <a:pt x="106" y="228"/>
                  </a:lnTo>
                  <a:lnTo>
                    <a:pt x="108" y="233"/>
                  </a:lnTo>
                  <a:lnTo>
                    <a:pt x="112" y="236"/>
                  </a:lnTo>
                  <a:lnTo>
                    <a:pt x="118" y="239"/>
                  </a:lnTo>
                  <a:lnTo>
                    <a:pt x="123" y="241"/>
                  </a:lnTo>
                  <a:lnTo>
                    <a:pt x="148" y="245"/>
                  </a:lnTo>
                  <a:lnTo>
                    <a:pt x="180" y="253"/>
                  </a:lnTo>
                  <a:lnTo>
                    <a:pt x="187" y="257"/>
                  </a:lnTo>
                  <a:lnTo>
                    <a:pt x="190" y="263"/>
                  </a:lnTo>
                  <a:lnTo>
                    <a:pt x="192" y="267"/>
                  </a:lnTo>
                  <a:lnTo>
                    <a:pt x="194" y="272"/>
                  </a:lnTo>
                  <a:lnTo>
                    <a:pt x="196" y="283"/>
                  </a:lnTo>
                  <a:lnTo>
                    <a:pt x="199" y="296"/>
                  </a:lnTo>
                  <a:lnTo>
                    <a:pt x="204" y="305"/>
                  </a:lnTo>
                  <a:lnTo>
                    <a:pt x="210" y="315"/>
                  </a:lnTo>
                  <a:lnTo>
                    <a:pt x="216" y="323"/>
                  </a:lnTo>
                  <a:lnTo>
                    <a:pt x="224" y="329"/>
                  </a:lnTo>
                  <a:lnTo>
                    <a:pt x="240" y="344"/>
                  </a:lnTo>
                  <a:lnTo>
                    <a:pt x="256" y="356"/>
                  </a:lnTo>
                  <a:lnTo>
                    <a:pt x="264" y="363"/>
                  </a:lnTo>
                  <a:lnTo>
                    <a:pt x="271" y="369"/>
                  </a:lnTo>
                  <a:lnTo>
                    <a:pt x="277" y="377"/>
                  </a:lnTo>
                  <a:lnTo>
                    <a:pt x="283" y="384"/>
                  </a:lnTo>
                  <a:lnTo>
                    <a:pt x="288" y="392"/>
                  </a:lnTo>
                  <a:lnTo>
                    <a:pt x="292" y="401"/>
                  </a:lnTo>
                  <a:lnTo>
                    <a:pt x="295" y="411"/>
                  </a:lnTo>
                  <a:lnTo>
                    <a:pt x="295" y="423"/>
                  </a:lnTo>
                  <a:lnTo>
                    <a:pt x="295" y="435"/>
                  </a:lnTo>
                  <a:lnTo>
                    <a:pt x="292" y="444"/>
                  </a:lnTo>
                  <a:lnTo>
                    <a:pt x="289" y="452"/>
                  </a:lnTo>
                  <a:lnTo>
                    <a:pt x="285" y="460"/>
                  </a:lnTo>
                  <a:lnTo>
                    <a:pt x="283" y="467"/>
                  </a:lnTo>
                  <a:lnTo>
                    <a:pt x="280" y="473"/>
                  </a:lnTo>
                  <a:lnTo>
                    <a:pt x="277" y="480"/>
                  </a:lnTo>
                  <a:lnTo>
                    <a:pt x="277" y="488"/>
                  </a:lnTo>
                  <a:lnTo>
                    <a:pt x="277" y="499"/>
                  </a:lnTo>
                  <a:lnTo>
                    <a:pt x="279" y="509"/>
                  </a:lnTo>
                  <a:lnTo>
                    <a:pt x="280" y="519"/>
                  </a:lnTo>
                  <a:lnTo>
                    <a:pt x="283" y="528"/>
                  </a:lnTo>
                  <a:lnTo>
                    <a:pt x="288" y="547"/>
                  </a:lnTo>
                  <a:lnTo>
                    <a:pt x="296" y="564"/>
                  </a:lnTo>
                  <a:lnTo>
                    <a:pt x="307" y="581"/>
                  </a:lnTo>
                  <a:lnTo>
                    <a:pt x="317" y="597"/>
                  </a:lnTo>
                  <a:lnTo>
                    <a:pt x="328" y="612"/>
                  </a:lnTo>
                  <a:lnTo>
                    <a:pt x="340" y="628"/>
                  </a:lnTo>
                  <a:lnTo>
                    <a:pt x="363" y="657"/>
                  </a:lnTo>
                  <a:lnTo>
                    <a:pt x="384" y="688"/>
                  </a:lnTo>
                  <a:lnTo>
                    <a:pt x="392" y="703"/>
                  </a:lnTo>
                  <a:lnTo>
                    <a:pt x="397" y="719"/>
                  </a:lnTo>
                  <a:lnTo>
                    <a:pt x="400" y="726"/>
                  </a:lnTo>
                  <a:lnTo>
                    <a:pt x="401" y="736"/>
                  </a:lnTo>
                  <a:lnTo>
                    <a:pt x="403" y="744"/>
                  </a:lnTo>
                  <a:lnTo>
                    <a:pt x="403" y="753"/>
                  </a:lnTo>
                  <a:lnTo>
                    <a:pt x="403" y="765"/>
                  </a:lnTo>
                  <a:lnTo>
                    <a:pt x="403" y="774"/>
                  </a:lnTo>
                  <a:lnTo>
                    <a:pt x="403" y="784"/>
                  </a:lnTo>
                  <a:lnTo>
                    <a:pt x="403" y="796"/>
                  </a:lnTo>
                  <a:lnTo>
                    <a:pt x="404" y="802"/>
                  </a:lnTo>
                  <a:lnTo>
                    <a:pt x="407" y="810"/>
                  </a:lnTo>
                  <a:lnTo>
                    <a:pt x="409" y="817"/>
                  </a:lnTo>
                  <a:lnTo>
                    <a:pt x="415" y="822"/>
                  </a:lnTo>
                  <a:lnTo>
                    <a:pt x="427" y="834"/>
                  </a:lnTo>
                  <a:lnTo>
                    <a:pt x="441" y="846"/>
                  </a:lnTo>
                  <a:lnTo>
                    <a:pt x="457" y="857"/>
                  </a:lnTo>
                  <a:lnTo>
                    <a:pt x="475" y="868"/>
                  </a:lnTo>
                  <a:lnTo>
                    <a:pt x="491" y="878"/>
                  </a:lnTo>
                  <a:lnTo>
                    <a:pt x="505" y="892"/>
                  </a:lnTo>
                  <a:lnTo>
                    <a:pt x="512" y="900"/>
                  </a:lnTo>
                  <a:lnTo>
                    <a:pt x="516" y="909"/>
                  </a:lnTo>
                  <a:lnTo>
                    <a:pt x="519" y="920"/>
                  </a:lnTo>
                  <a:lnTo>
                    <a:pt x="520" y="930"/>
                  </a:lnTo>
                  <a:lnTo>
                    <a:pt x="521" y="941"/>
                  </a:lnTo>
                  <a:lnTo>
                    <a:pt x="524" y="950"/>
                  </a:lnTo>
                  <a:lnTo>
                    <a:pt x="527" y="958"/>
                  </a:lnTo>
                  <a:lnTo>
                    <a:pt x="529" y="964"/>
                  </a:lnTo>
                  <a:lnTo>
                    <a:pt x="529" y="976"/>
                  </a:lnTo>
                  <a:lnTo>
                    <a:pt x="544" y="973"/>
                  </a:lnTo>
                  <a:lnTo>
                    <a:pt x="560" y="970"/>
                  </a:lnTo>
                  <a:lnTo>
                    <a:pt x="576" y="965"/>
                  </a:lnTo>
                  <a:lnTo>
                    <a:pt x="593" y="958"/>
                  </a:lnTo>
                  <a:lnTo>
                    <a:pt x="612" y="949"/>
                  </a:lnTo>
                  <a:lnTo>
                    <a:pt x="629" y="937"/>
                  </a:lnTo>
                  <a:lnTo>
                    <a:pt x="637" y="930"/>
                  </a:lnTo>
                  <a:lnTo>
                    <a:pt x="645" y="922"/>
                  </a:lnTo>
                  <a:lnTo>
                    <a:pt x="655" y="913"/>
                  </a:lnTo>
                  <a:lnTo>
                    <a:pt x="663" y="904"/>
                  </a:lnTo>
                  <a:lnTo>
                    <a:pt x="672" y="892"/>
                  </a:lnTo>
                  <a:lnTo>
                    <a:pt x="680" y="881"/>
                  </a:lnTo>
                  <a:lnTo>
                    <a:pt x="689" y="872"/>
                  </a:lnTo>
                  <a:lnTo>
                    <a:pt x="699" y="865"/>
                  </a:lnTo>
                  <a:lnTo>
                    <a:pt x="709" y="860"/>
                  </a:lnTo>
                  <a:lnTo>
                    <a:pt x="719" y="856"/>
                  </a:lnTo>
                  <a:lnTo>
                    <a:pt x="729" y="852"/>
                  </a:lnTo>
                  <a:lnTo>
                    <a:pt x="740" y="849"/>
                  </a:lnTo>
                  <a:lnTo>
                    <a:pt x="723" y="842"/>
                  </a:lnTo>
                  <a:lnTo>
                    <a:pt x="693" y="832"/>
                  </a:lnTo>
                  <a:lnTo>
                    <a:pt x="680" y="824"/>
                  </a:lnTo>
                  <a:lnTo>
                    <a:pt x="668" y="816"/>
                  </a:lnTo>
                  <a:lnTo>
                    <a:pt x="663" y="810"/>
                  </a:lnTo>
                  <a:lnTo>
                    <a:pt x="660" y="806"/>
                  </a:lnTo>
                  <a:lnTo>
                    <a:pt x="657" y="801"/>
                  </a:lnTo>
                  <a:lnTo>
                    <a:pt x="656" y="796"/>
                  </a:lnTo>
                  <a:lnTo>
                    <a:pt x="657" y="786"/>
                  </a:lnTo>
                  <a:lnTo>
                    <a:pt x="660" y="778"/>
                  </a:lnTo>
                  <a:lnTo>
                    <a:pt x="664" y="770"/>
                  </a:lnTo>
                  <a:lnTo>
                    <a:pt x="669" y="765"/>
                  </a:lnTo>
                  <a:lnTo>
                    <a:pt x="683" y="756"/>
                  </a:lnTo>
                  <a:lnTo>
                    <a:pt x="699" y="748"/>
                  </a:lnTo>
                  <a:lnTo>
                    <a:pt x="713" y="738"/>
                  </a:lnTo>
                  <a:lnTo>
                    <a:pt x="728" y="729"/>
                  </a:lnTo>
                  <a:lnTo>
                    <a:pt x="733" y="724"/>
                  </a:lnTo>
                  <a:lnTo>
                    <a:pt x="737" y="716"/>
                  </a:lnTo>
                  <a:lnTo>
                    <a:pt x="740" y="708"/>
                  </a:lnTo>
                  <a:lnTo>
                    <a:pt x="740" y="699"/>
                  </a:lnTo>
                  <a:lnTo>
                    <a:pt x="740" y="691"/>
                  </a:lnTo>
                  <a:lnTo>
                    <a:pt x="737" y="683"/>
                  </a:lnTo>
                  <a:lnTo>
                    <a:pt x="733" y="673"/>
                  </a:lnTo>
                  <a:lnTo>
                    <a:pt x="728" y="667"/>
                  </a:lnTo>
                  <a:lnTo>
                    <a:pt x="724" y="659"/>
                  </a:lnTo>
                  <a:lnTo>
                    <a:pt x="720" y="651"/>
                  </a:lnTo>
                  <a:lnTo>
                    <a:pt x="717" y="641"/>
                  </a:lnTo>
                  <a:lnTo>
                    <a:pt x="716" y="633"/>
                  </a:lnTo>
                  <a:lnTo>
                    <a:pt x="717" y="627"/>
                  </a:lnTo>
                  <a:lnTo>
                    <a:pt x="717" y="620"/>
                  </a:lnTo>
                  <a:lnTo>
                    <a:pt x="720" y="613"/>
                  </a:lnTo>
                  <a:lnTo>
                    <a:pt x="721" y="608"/>
                  </a:lnTo>
                  <a:lnTo>
                    <a:pt x="725" y="604"/>
                  </a:lnTo>
                  <a:lnTo>
                    <a:pt x="729" y="600"/>
                  </a:lnTo>
                  <a:lnTo>
                    <a:pt x="735" y="597"/>
                  </a:lnTo>
                  <a:lnTo>
                    <a:pt x="740" y="597"/>
                  </a:lnTo>
                  <a:lnTo>
                    <a:pt x="759" y="605"/>
                  </a:lnTo>
                  <a:lnTo>
                    <a:pt x="777" y="615"/>
                  </a:lnTo>
                  <a:lnTo>
                    <a:pt x="784" y="613"/>
                  </a:lnTo>
                  <a:lnTo>
                    <a:pt x="795" y="609"/>
                  </a:lnTo>
                  <a:lnTo>
                    <a:pt x="807" y="604"/>
                  </a:lnTo>
                  <a:lnTo>
                    <a:pt x="820" y="597"/>
                  </a:lnTo>
                  <a:lnTo>
                    <a:pt x="833" y="589"/>
                  </a:lnTo>
                  <a:lnTo>
                    <a:pt x="844" y="581"/>
                  </a:lnTo>
                  <a:lnTo>
                    <a:pt x="849" y="577"/>
                  </a:lnTo>
                  <a:lnTo>
                    <a:pt x="852" y="573"/>
                  </a:lnTo>
                  <a:lnTo>
                    <a:pt x="855" y="571"/>
                  </a:lnTo>
                  <a:lnTo>
                    <a:pt x="855" y="567"/>
                  </a:lnTo>
                  <a:lnTo>
                    <a:pt x="855" y="552"/>
                  </a:lnTo>
                  <a:lnTo>
                    <a:pt x="852" y="537"/>
                  </a:lnTo>
                  <a:lnTo>
                    <a:pt x="849" y="525"/>
                  </a:lnTo>
                  <a:lnTo>
                    <a:pt x="847" y="512"/>
                  </a:lnTo>
                  <a:lnTo>
                    <a:pt x="843" y="500"/>
                  </a:lnTo>
                  <a:lnTo>
                    <a:pt x="840" y="487"/>
                  </a:lnTo>
                  <a:lnTo>
                    <a:pt x="837" y="473"/>
                  </a:lnTo>
                  <a:lnTo>
                    <a:pt x="837" y="459"/>
                  </a:lnTo>
                  <a:lnTo>
                    <a:pt x="837" y="452"/>
                  </a:lnTo>
                  <a:lnTo>
                    <a:pt x="840" y="445"/>
                  </a:lnTo>
                  <a:lnTo>
                    <a:pt x="844" y="440"/>
                  </a:lnTo>
                  <a:lnTo>
                    <a:pt x="848" y="433"/>
                  </a:lnTo>
                  <a:lnTo>
                    <a:pt x="860" y="420"/>
                  </a:lnTo>
                  <a:lnTo>
                    <a:pt x="873" y="404"/>
                  </a:lnTo>
                  <a:lnTo>
                    <a:pt x="873" y="368"/>
                  </a:lnTo>
                  <a:lnTo>
                    <a:pt x="864" y="367"/>
                  </a:lnTo>
                  <a:lnTo>
                    <a:pt x="855" y="365"/>
                  </a:lnTo>
                  <a:lnTo>
                    <a:pt x="848" y="363"/>
                  </a:lnTo>
                  <a:lnTo>
                    <a:pt x="841" y="360"/>
                  </a:lnTo>
                  <a:lnTo>
                    <a:pt x="835" y="356"/>
                  </a:lnTo>
                  <a:lnTo>
                    <a:pt x="831" y="352"/>
                  </a:lnTo>
                  <a:lnTo>
                    <a:pt x="827" y="348"/>
                  </a:lnTo>
                  <a:lnTo>
                    <a:pt x="823" y="343"/>
                  </a:lnTo>
                  <a:lnTo>
                    <a:pt x="820" y="337"/>
                  </a:lnTo>
                  <a:lnTo>
                    <a:pt x="817" y="331"/>
                  </a:lnTo>
                  <a:lnTo>
                    <a:pt x="816" y="324"/>
                  </a:lnTo>
                  <a:lnTo>
                    <a:pt x="815" y="316"/>
                  </a:lnTo>
                  <a:lnTo>
                    <a:pt x="813" y="299"/>
                  </a:lnTo>
                  <a:lnTo>
                    <a:pt x="813" y="277"/>
                  </a:lnTo>
                  <a:lnTo>
                    <a:pt x="812" y="259"/>
                  </a:lnTo>
                  <a:lnTo>
                    <a:pt x="811" y="240"/>
                  </a:lnTo>
                  <a:lnTo>
                    <a:pt x="809" y="224"/>
                  </a:lnTo>
                  <a:lnTo>
                    <a:pt x="807" y="209"/>
                  </a:lnTo>
                  <a:lnTo>
                    <a:pt x="801" y="184"/>
                  </a:lnTo>
                  <a:lnTo>
                    <a:pt x="793" y="160"/>
                  </a:lnTo>
                  <a:lnTo>
                    <a:pt x="785" y="138"/>
                  </a:lnTo>
                  <a:lnTo>
                    <a:pt x="777" y="115"/>
                  </a:lnTo>
                  <a:lnTo>
                    <a:pt x="771" y="90"/>
                  </a:lnTo>
                  <a:lnTo>
                    <a:pt x="765" y="60"/>
                  </a:lnTo>
                  <a:lnTo>
                    <a:pt x="755" y="66"/>
                  </a:lnTo>
                  <a:lnTo>
                    <a:pt x="744" y="72"/>
                  </a:lnTo>
                  <a:lnTo>
                    <a:pt x="732" y="78"/>
                  </a:lnTo>
                  <a:lnTo>
                    <a:pt x="723" y="79"/>
                  </a:lnTo>
                  <a:lnTo>
                    <a:pt x="717" y="78"/>
                  </a:lnTo>
                  <a:lnTo>
                    <a:pt x="712" y="76"/>
                  </a:lnTo>
                  <a:lnTo>
                    <a:pt x="708" y="74"/>
                  </a:lnTo>
                  <a:lnTo>
                    <a:pt x="704" y="70"/>
                  </a:lnTo>
                  <a:lnTo>
                    <a:pt x="697" y="59"/>
                  </a:lnTo>
                  <a:lnTo>
                    <a:pt x="692" y="47"/>
                  </a:lnTo>
                  <a:lnTo>
                    <a:pt x="683" y="20"/>
                  </a:lnTo>
                  <a:lnTo>
                    <a:pt x="675" y="0"/>
                  </a:lnTo>
                  <a:lnTo>
                    <a:pt x="671" y="6"/>
                  </a:lnTo>
                  <a:lnTo>
                    <a:pt x="667" y="15"/>
                  </a:lnTo>
                  <a:lnTo>
                    <a:pt x="663" y="26"/>
                  </a:lnTo>
                  <a:lnTo>
                    <a:pt x="657" y="39"/>
                  </a:lnTo>
                  <a:lnTo>
                    <a:pt x="653" y="52"/>
                  </a:lnTo>
                  <a:lnTo>
                    <a:pt x="647" y="63"/>
                  </a:lnTo>
                  <a:lnTo>
                    <a:pt x="644" y="67"/>
                  </a:lnTo>
                  <a:lnTo>
                    <a:pt x="640" y="70"/>
                  </a:lnTo>
                  <a:lnTo>
                    <a:pt x="636" y="72"/>
                  </a:lnTo>
                  <a:lnTo>
                    <a:pt x="632" y="72"/>
                  </a:lnTo>
                  <a:lnTo>
                    <a:pt x="621" y="72"/>
                  </a:lnTo>
                  <a:lnTo>
                    <a:pt x="612" y="70"/>
                  </a:lnTo>
                  <a:lnTo>
                    <a:pt x="604" y="66"/>
                  </a:lnTo>
                  <a:lnTo>
                    <a:pt x="595" y="60"/>
                  </a:lnTo>
                  <a:lnTo>
                    <a:pt x="585" y="56"/>
                  </a:lnTo>
                  <a:lnTo>
                    <a:pt x="575" y="52"/>
                  </a:lnTo>
                  <a:lnTo>
                    <a:pt x="563" y="50"/>
                  </a:lnTo>
                  <a:lnTo>
                    <a:pt x="548" y="48"/>
                  </a:lnTo>
                  <a:lnTo>
                    <a:pt x="537" y="50"/>
                  </a:lnTo>
                  <a:lnTo>
                    <a:pt x="528" y="52"/>
                  </a:lnTo>
                  <a:lnTo>
                    <a:pt x="520" y="55"/>
                  </a:lnTo>
                  <a:lnTo>
                    <a:pt x="512" y="58"/>
                  </a:lnTo>
                  <a:lnTo>
                    <a:pt x="504" y="62"/>
                  </a:lnTo>
                  <a:lnTo>
                    <a:pt x="495" y="64"/>
                  </a:lnTo>
                  <a:lnTo>
                    <a:pt x="487" y="66"/>
                  </a:lnTo>
                  <a:lnTo>
                    <a:pt x="476" y="67"/>
                  </a:lnTo>
                  <a:lnTo>
                    <a:pt x="481" y="91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19" name="Freeform 115"/>
            <p:cNvSpPr>
              <a:spLocks/>
            </p:cNvSpPr>
            <p:nvPr/>
          </p:nvSpPr>
          <p:spPr bwMode="auto">
            <a:xfrm>
              <a:off x="778197" y="5502275"/>
              <a:ext cx="261938" cy="498475"/>
            </a:xfrm>
            <a:custGeom>
              <a:avLst/>
              <a:gdLst/>
              <a:ahLst/>
              <a:cxnLst>
                <a:cxn ang="0">
                  <a:pos x="505" y="190"/>
                </a:cxn>
                <a:cxn ang="0">
                  <a:pos x="487" y="216"/>
                </a:cxn>
                <a:cxn ang="0">
                  <a:pos x="472" y="257"/>
                </a:cxn>
                <a:cxn ang="0">
                  <a:pos x="472" y="294"/>
                </a:cxn>
                <a:cxn ang="0">
                  <a:pos x="492" y="345"/>
                </a:cxn>
                <a:cxn ang="0">
                  <a:pos x="515" y="386"/>
                </a:cxn>
                <a:cxn ang="0">
                  <a:pos x="515" y="413"/>
                </a:cxn>
                <a:cxn ang="0">
                  <a:pos x="493" y="456"/>
                </a:cxn>
                <a:cxn ang="0">
                  <a:pos x="432" y="518"/>
                </a:cxn>
                <a:cxn ang="0">
                  <a:pos x="407" y="550"/>
                </a:cxn>
                <a:cxn ang="0">
                  <a:pos x="380" y="586"/>
                </a:cxn>
                <a:cxn ang="0">
                  <a:pos x="367" y="630"/>
                </a:cxn>
                <a:cxn ang="0">
                  <a:pos x="375" y="719"/>
                </a:cxn>
                <a:cxn ang="0">
                  <a:pos x="383" y="811"/>
                </a:cxn>
                <a:cxn ang="0">
                  <a:pos x="393" y="933"/>
                </a:cxn>
                <a:cxn ang="0">
                  <a:pos x="384" y="993"/>
                </a:cxn>
                <a:cxn ang="0">
                  <a:pos x="348" y="999"/>
                </a:cxn>
                <a:cxn ang="0">
                  <a:pos x="276" y="999"/>
                </a:cxn>
                <a:cxn ang="0">
                  <a:pos x="227" y="1009"/>
                </a:cxn>
                <a:cxn ang="0">
                  <a:pos x="192" y="1027"/>
                </a:cxn>
                <a:cxn ang="0">
                  <a:pos x="164" y="1025"/>
                </a:cxn>
                <a:cxn ang="0">
                  <a:pos x="130" y="994"/>
                </a:cxn>
                <a:cxn ang="0">
                  <a:pos x="115" y="830"/>
                </a:cxn>
                <a:cxn ang="0">
                  <a:pos x="86" y="769"/>
                </a:cxn>
                <a:cxn ang="0">
                  <a:pos x="62" y="685"/>
                </a:cxn>
                <a:cxn ang="0">
                  <a:pos x="31" y="658"/>
                </a:cxn>
                <a:cxn ang="0">
                  <a:pos x="10" y="638"/>
                </a:cxn>
                <a:cxn ang="0">
                  <a:pos x="0" y="601"/>
                </a:cxn>
                <a:cxn ang="0">
                  <a:pos x="12" y="554"/>
                </a:cxn>
                <a:cxn ang="0">
                  <a:pos x="46" y="519"/>
                </a:cxn>
                <a:cxn ang="0">
                  <a:pos x="94" y="500"/>
                </a:cxn>
                <a:cxn ang="0">
                  <a:pos x="151" y="493"/>
                </a:cxn>
                <a:cxn ang="0">
                  <a:pos x="178" y="502"/>
                </a:cxn>
                <a:cxn ang="0">
                  <a:pos x="204" y="511"/>
                </a:cxn>
                <a:cxn ang="0">
                  <a:pos x="235" y="502"/>
                </a:cxn>
                <a:cxn ang="0">
                  <a:pos x="251" y="477"/>
                </a:cxn>
                <a:cxn ang="0">
                  <a:pos x="299" y="374"/>
                </a:cxn>
                <a:cxn ang="0">
                  <a:pos x="365" y="316"/>
                </a:cxn>
                <a:cxn ang="0">
                  <a:pos x="380" y="296"/>
                </a:cxn>
                <a:cxn ang="0">
                  <a:pos x="324" y="282"/>
                </a:cxn>
                <a:cxn ang="0">
                  <a:pos x="291" y="262"/>
                </a:cxn>
                <a:cxn ang="0">
                  <a:pos x="265" y="232"/>
                </a:cxn>
                <a:cxn ang="0">
                  <a:pos x="234" y="162"/>
                </a:cxn>
                <a:cxn ang="0">
                  <a:pos x="239" y="134"/>
                </a:cxn>
                <a:cxn ang="0">
                  <a:pos x="244" y="97"/>
                </a:cxn>
                <a:cxn ang="0">
                  <a:pos x="277" y="84"/>
                </a:cxn>
                <a:cxn ang="0">
                  <a:pos x="320" y="28"/>
                </a:cxn>
                <a:cxn ang="0">
                  <a:pos x="391" y="13"/>
                </a:cxn>
                <a:cxn ang="0">
                  <a:pos x="416" y="6"/>
                </a:cxn>
                <a:cxn ang="0">
                  <a:pos x="439" y="38"/>
                </a:cxn>
                <a:cxn ang="0">
                  <a:pos x="503" y="82"/>
                </a:cxn>
                <a:cxn ang="0">
                  <a:pos x="531" y="124"/>
                </a:cxn>
                <a:cxn ang="0">
                  <a:pos x="539" y="162"/>
                </a:cxn>
              </a:cxnLst>
              <a:rect l="0" t="0" r="r" b="b"/>
              <a:pathLst>
                <a:path w="541" h="1029">
                  <a:moveTo>
                    <a:pt x="541" y="180"/>
                  </a:moveTo>
                  <a:lnTo>
                    <a:pt x="525" y="184"/>
                  </a:lnTo>
                  <a:lnTo>
                    <a:pt x="511" y="188"/>
                  </a:lnTo>
                  <a:lnTo>
                    <a:pt x="505" y="190"/>
                  </a:lnTo>
                  <a:lnTo>
                    <a:pt x="500" y="193"/>
                  </a:lnTo>
                  <a:lnTo>
                    <a:pt x="496" y="198"/>
                  </a:lnTo>
                  <a:lnTo>
                    <a:pt x="493" y="204"/>
                  </a:lnTo>
                  <a:lnTo>
                    <a:pt x="487" y="216"/>
                  </a:lnTo>
                  <a:lnTo>
                    <a:pt x="481" y="226"/>
                  </a:lnTo>
                  <a:lnTo>
                    <a:pt x="477" y="236"/>
                  </a:lnTo>
                  <a:lnTo>
                    <a:pt x="475" y="246"/>
                  </a:lnTo>
                  <a:lnTo>
                    <a:pt x="472" y="257"/>
                  </a:lnTo>
                  <a:lnTo>
                    <a:pt x="471" y="266"/>
                  </a:lnTo>
                  <a:lnTo>
                    <a:pt x="469" y="276"/>
                  </a:lnTo>
                  <a:lnTo>
                    <a:pt x="471" y="285"/>
                  </a:lnTo>
                  <a:lnTo>
                    <a:pt x="472" y="294"/>
                  </a:lnTo>
                  <a:lnTo>
                    <a:pt x="473" y="305"/>
                  </a:lnTo>
                  <a:lnTo>
                    <a:pt x="477" y="314"/>
                  </a:lnTo>
                  <a:lnTo>
                    <a:pt x="481" y="325"/>
                  </a:lnTo>
                  <a:lnTo>
                    <a:pt x="492" y="345"/>
                  </a:lnTo>
                  <a:lnTo>
                    <a:pt x="505" y="366"/>
                  </a:lnTo>
                  <a:lnTo>
                    <a:pt x="509" y="373"/>
                  </a:lnTo>
                  <a:lnTo>
                    <a:pt x="513" y="380"/>
                  </a:lnTo>
                  <a:lnTo>
                    <a:pt x="515" y="386"/>
                  </a:lnTo>
                  <a:lnTo>
                    <a:pt x="516" y="393"/>
                  </a:lnTo>
                  <a:lnTo>
                    <a:pt x="516" y="400"/>
                  </a:lnTo>
                  <a:lnTo>
                    <a:pt x="516" y="406"/>
                  </a:lnTo>
                  <a:lnTo>
                    <a:pt x="515" y="413"/>
                  </a:lnTo>
                  <a:lnTo>
                    <a:pt x="513" y="420"/>
                  </a:lnTo>
                  <a:lnTo>
                    <a:pt x="508" y="432"/>
                  </a:lnTo>
                  <a:lnTo>
                    <a:pt x="501" y="444"/>
                  </a:lnTo>
                  <a:lnTo>
                    <a:pt x="493" y="456"/>
                  </a:lnTo>
                  <a:lnTo>
                    <a:pt x="483" y="468"/>
                  </a:lnTo>
                  <a:lnTo>
                    <a:pt x="461" y="489"/>
                  </a:lnTo>
                  <a:lnTo>
                    <a:pt x="441" y="509"/>
                  </a:lnTo>
                  <a:lnTo>
                    <a:pt x="432" y="518"/>
                  </a:lnTo>
                  <a:lnTo>
                    <a:pt x="424" y="526"/>
                  </a:lnTo>
                  <a:lnTo>
                    <a:pt x="419" y="534"/>
                  </a:lnTo>
                  <a:lnTo>
                    <a:pt x="415" y="541"/>
                  </a:lnTo>
                  <a:lnTo>
                    <a:pt x="407" y="550"/>
                  </a:lnTo>
                  <a:lnTo>
                    <a:pt x="399" y="559"/>
                  </a:lnTo>
                  <a:lnTo>
                    <a:pt x="391" y="569"/>
                  </a:lnTo>
                  <a:lnTo>
                    <a:pt x="385" y="577"/>
                  </a:lnTo>
                  <a:lnTo>
                    <a:pt x="380" y="586"/>
                  </a:lnTo>
                  <a:lnTo>
                    <a:pt x="376" y="595"/>
                  </a:lnTo>
                  <a:lnTo>
                    <a:pt x="372" y="603"/>
                  </a:lnTo>
                  <a:lnTo>
                    <a:pt x="369" y="613"/>
                  </a:lnTo>
                  <a:lnTo>
                    <a:pt x="367" y="630"/>
                  </a:lnTo>
                  <a:lnTo>
                    <a:pt x="365" y="647"/>
                  </a:lnTo>
                  <a:lnTo>
                    <a:pt x="365" y="666"/>
                  </a:lnTo>
                  <a:lnTo>
                    <a:pt x="368" y="683"/>
                  </a:lnTo>
                  <a:lnTo>
                    <a:pt x="375" y="719"/>
                  </a:lnTo>
                  <a:lnTo>
                    <a:pt x="380" y="755"/>
                  </a:lnTo>
                  <a:lnTo>
                    <a:pt x="383" y="774"/>
                  </a:lnTo>
                  <a:lnTo>
                    <a:pt x="384" y="793"/>
                  </a:lnTo>
                  <a:lnTo>
                    <a:pt x="383" y="811"/>
                  </a:lnTo>
                  <a:lnTo>
                    <a:pt x="379" y="830"/>
                  </a:lnTo>
                  <a:lnTo>
                    <a:pt x="387" y="874"/>
                  </a:lnTo>
                  <a:lnTo>
                    <a:pt x="392" y="913"/>
                  </a:lnTo>
                  <a:lnTo>
                    <a:pt x="393" y="933"/>
                  </a:lnTo>
                  <a:lnTo>
                    <a:pt x="393" y="950"/>
                  </a:lnTo>
                  <a:lnTo>
                    <a:pt x="393" y="969"/>
                  </a:lnTo>
                  <a:lnTo>
                    <a:pt x="391" y="987"/>
                  </a:lnTo>
                  <a:lnTo>
                    <a:pt x="384" y="993"/>
                  </a:lnTo>
                  <a:lnTo>
                    <a:pt x="377" y="997"/>
                  </a:lnTo>
                  <a:lnTo>
                    <a:pt x="371" y="998"/>
                  </a:lnTo>
                  <a:lnTo>
                    <a:pt x="363" y="999"/>
                  </a:lnTo>
                  <a:lnTo>
                    <a:pt x="348" y="999"/>
                  </a:lnTo>
                  <a:lnTo>
                    <a:pt x="331" y="999"/>
                  </a:lnTo>
                  <a:lnTo>
                    <a:pt x="311" y="999"/>
                  </a:lnTo>
                  <a:lnTo>
                    <a:pt x="295" y="999"/>
                  </a:lnTo>
                  <a:lnTo>
                    <a:pt x="276" y="999"/>
                  </a:lnTo>
                  <a:lnTo>
                    <a:pt x="252" y="999"/>
                  </a:lnTo>
                  <a:lnTo>
                    <a:pt x="243" y="1001"/>
                  </a:lnTo>
                  <a:lnTo>
                    <a:pt x="234" y="1003"/>
                  </a:lnTo>
                  <a:lnTo>
                    <a:pt x="227" y="1009"/>
                  </a:lnTo>
                  <a:lnTo>
                    <a:pt x="219" y="1014"/>
                  </a:lnTo>
                  <a:lnTo>
                    <a:pt x="211" y="1019"/>
                  </a:lnTo>
                  <a:lnTo>
                    <a:pt x="203" y="1025"/>
                  </a:lnTo>
                  <a:lnTo>
                    <a:pt x="192" y="1027"/>
                  </a:lnTo>
                  <a:lnTo>
                    <a:pt x="180" y="1029"/>
                  </a:lnTo>
                  <a:lnTo>
                    <a:pt x="175" y="1029"/>
                  </a:lnTo>
                  <a:lnTo>
                    <a:pt x="170" y="1027"/>
                  </a:lnTo>
                  <a:lnTo>
                    <a:pt x="164" y="1025"/>
                  </a:lnTo>
                  <a:lnTo>
                    <a:pt x="159" y="1022"/>
                  </a:lnTo>
                  <a:lnTo>
                    <a:pt x="148" y="1014"/>
                  </a:lnTo>
                  <a:lnTo>
                    <a:pt x="139" y="1005"/>
                  </a:lnTo>
                  <a:lnTo>
                    <a:pt x="130" y="994"/>
                  </a:lnTo>
                  <a:lnTo>
                    <a:pt x="123" y="983"/>
                  </a:lnTo>
                  <a:lnTo>
                    <a:pt x="118" y="973"/>
                  </a:lnTo>
                  <a:lnTo>
                    <a:pt x="115" y="963"/>
                  </a:lnTo>
                  <a:lnTo>
                    <a:pt x="115" y="830"/>
                  </a:lnTo>
                  <a:lnTo>
                    <a:pt x="104" y="817"/>
                  </a:lnTo>
                  <a:lnTo>
                    <a:pt x="96" y="801"/>
                  </a:lnTo>
                  <a:lnTo>
                    <a:pt x="91" y="785"/>
                  </a:lnTo>
                  <a:lnTo>
                    <a:pt x="86" y="769"/>
                  </a:lnTo>
                  <a:lnTo>
                    <a:pt x="78" y="734"/>
                  </a:lnTo>
                  <a:lnTo>
                    <a:pt x="66" y="698"/>
                  </a:lnTo>
                  <a:lnTo>
                    <a:pt x="64" y="690"/>
                  </a:lnTo>
                  <a:lnTo>
                    <a:pt x="62" y="685"/>
                  </a:lnTo>
                  <a:lnTo>
                    <a:pt x="58" y="679"/>
                  </a:lnTo>
                  <a:lnTo>
                    <a:pt x="54" y="674"/>
                  </a:lnTo>
                  <a:lnTo>
                    <a:pt x="43" y="666"/>
                  </a:lnTo>
                  <a:lnTo>
                    <a:pt x="31" y="658"/>
                  </a:lnTo>
                  <a:lnTo>
                    <a:pt x="24" y="654"/>
                  </a:lnTo>
                  <a:lnTo>
                    <a:pt x="19" y="650"/>
                  </a:lnTo>
                  <a:lnTo>
                    <a:pt x="14" y="645"/>
                  </a:lnTo>
                  <a:lnTo>
                    <a:pt x="10" y="638"/>
                  </a:lnTo>
                  <a:lnTo>
                    <a:pt x="6" y="631"/>
                  </a:lnTo>
                  <a:lnTo>
                    <a:pt x="3" y="623"/>
                  </a:lnTo>
                  <a:lnTo>
                    <a:pt x="0" y="613"/>
                  </a:lnTo>
                  <a:lnTo>
                    <a:pt x="0" y="601"/>
                  </a:lnTo>
                  <a:lnTo>
                    <a:pt x="0" y="589"/>
                  </a:lnTo>
                  <a:lnTo>
                    <a:pt x="3" y="575"/>
                  </a:lnTo>
                  <a:lnTo>
                    <a:pt x="7" y="565"/>
                  </a:lnTo>
                  <a:lnTo>
                    <a:pt x="12" y="554"/>
                  </a:lnTo>
                  <a:lnTo>
                    <a:pt x="19" y="545"/>
                  </a:lnTo>
                  <a:lnTo>
                    <a:pt x="27" y="535"/>
                  </a:lnTo>
                  <a:lnTo>
                    <a:pt x="36" y="527"/>
                  </a:lnTo>
                  <a:lnTo>
                    <a:pt x="46" y="519"/>
                  </a:lnTo>
                  <a:lnTo>
                    <a:pt x="56" y="514"/>
                  </a:lnTo>
                  <a:lnTo>
                    <a:pt x="68" y="509"/>
                  </a:lnTo>
                  <a:lnTo>
                    <a:pt x="80" y="504"/>
                  </a:lnTo>
                  <a:lnTo>
                    <a:pt x="94" y="500"/>
                  </a:lnTo>
                  <a:lnTo>
                    <a:pt x="107" y="497"/>
                  </a:lnTo>
                  <a:lnTo>
                    <a:pt x="122" y="494"/>
                  </a:lnTo>
                  <a:lnTo>
                    <a:pt x="136" y="493"/>
                  </a:lnTo>
                  <a:lnTo>
                    <a:pt x="151" y="493"/>
                  </a:lnTo>
                  <a:lnTo>
                    <a:pt x="158" y="494"/>
                  </a:lnTo>
                  <a:lnTo>
                    <a:pt x="164" y="496"/>
                  </a:lnTo>
                  <a:lnTo>
                    <a:pt x="171" y="498"/>
                  </a:lnTo>
                  <a:lnTo>
                    <a:pt x="178" y="502"/>
                  </a:lnTo>
                  <a:lnTo>
                    <a:pt x="184" y="505"/>
                  </a:lnTo>
                  <a:lnTo>
                    <a:pt x="191" y="509"/>
                  </a:lnTo>
                  <a:lnTo>
                    <a:pt x="198" y="510"/>
                  </a:lnTo>
                  <a:lnTo>
                    <a:pt x="204" y="511"/>
                  </a:lnTo>
                  <a:lnTo>
                    <a:pt x="214" y="510"/>
                  </a:lnTo>
                  <a:lnTo>
                    <a:pt x="223" y="509"/>
                  </a:lnTo>
                  <a:lnTo>
                    <a:pt x="230" y="506"/>
                  </a:lnTo>
                  <a:lnTo>
                    <a:pt x="235" y="502"/>
                  </a:lnTo>
                  <a:lnTo>
                    <a:pt x="240" y="497"/>
                  </a:lnTo>
                  <a:lnTo>
                    <a:pt x="244" y="492"/>
                  </a:lnTo>
                  <a:lnTo>
                    <a:pt x="248" y="485"/>
                  </a:lnTo>
                  <a:lnTo>
                    <a:pt x="251" y="477"/>
                  </a:lnTo>
                  <a:lnTo>
                    <a:pt x="260" y="442"/>
                  </a:lnTo>
                  <a:lnTo>
                    <a:pt x="271" y="402"/>
                  </a:lnTo>
                  <a:lnTo>
                    <a:pt x="279" y="394"/>
                  </a:lnTo>
                  <a:lnTo>
                    <a:pt x="299" y="374"/>
                  </a:lnTo>
                  <a:lnTo>
                    <a:pt x="319" y="354"/>
                  </a:lnTo>
                  <a:lnTo>
                    <a:pt x="331" y="342"/>
                  </a:lnTo>
                  <a:lnTo>
                    <a:pt x="344" y="333"/>
                  </a:lnTo>
                  <a:lnTo>
                    <a:pt x="365" y="316"/>
                  </a:lnTo>
                  <a:lnTo>
                    <a:pt x="375" y="308"/>
                  </a:lnTo>
                  <a:lnTo>
                    <a:pt x="380" y="301"/>
                  </a:lnTo>
                  <a:lnTo>
                    <a:pt x="381" y="298"/>
                  </a:lnTo>
                  <a:lnTo>
                    <a:pt x="380" y="296"/>
                  </a:lnTo>
                  <a:lnTo>
                    <a:pt x="377" y="294"/>
                  </a:lnTo>
                  <a:lnTo>
                    <a:pt x="373" y="294"/>
                  </a:lnTo>
                  <a:lnTo>
                    <a:pt x="347" y="289"/>
                  </a:lnTo>
                  <a:lnTo>
                    <a:pt x="324" y="282"/>
                  </a:lnTo>
                  <a:lnTo>
                    <a:pt x="315" y="278"/>
                  </a:lnTo>
                  <a:lnTo>
                    <a:pt x="307" y="274"/>
                  </a:lnTo>
                  <a:lnTo>
                    <a:pt x="299" y="269"/>
                  </a:lnTo>
                  <a:lnTo>
                    <a:pt x="291" y="262"/>
                  </a:lnTo>
                  <a:lnTo>
                    <a:pt x="284" y="256"/>
                  </a:lnTo>
                  <a:lnTo>
                    <a:pt x="277" y="249"/>
                  </a:lnTo>
                  <a:lnTo>
                    <a:pt x="272" y="241"/>
                  </a:lnTo>
                  <a:lnTo>
                    <a:pt x="265" y="232"/>
                  </a:lnTo>
                  <a:lnTo>
                    <a:pt x="253" y="210"/>
                  </a:lnTo>
                  <a:lnTo>
                    <a:pt x="240" y="186"/>
                  </a:lnTo>
                  <a:lnTo>
                    <a:pt x="236" y="173"/>
                  </a:lnTo>
                  <a:lnTo>
                    <a:pt x="234" y="162"/>
                  </a:lnTo>
                  <a:lnTo>
                    <a:pt x="232" y="156"/>
                  </a:lnTo>
                  <a:lnTo>
                    <a:pt x="234" y="149"/>
                  </a:lnTo>
                  <a:lnTo>
                    <a:pt x="236" y="142"/>
                  </a:lnTo>
                  <a:lnTo>
                    <a:pt x="239" y="134"/>
                  </a:lnTo>
                  <a:lnTo>
                    <a:pt x="240" y="124"/>
                  </a:lnTo>
                  <a:lnTo>
                    <a:pt x="240" y="108"/>
                  </a:lnTo>
                  <a:lnTo>
                    <a:pt x="241" y="102"/>
                  </a:lnTo>
                  <a:lnTo>
                    <a:pt x="244" y="97"/>
                  </a:lnTo>
                  <a:lnTo>
                    <a:pt x="247" y="94"/>
                  </a:lnTo>
                  <a:lnTo>
                    <a:pt x="252" y="92"/>
                  </a:lnTo>
                  <a:lnTo>
                    <a:pt x="264" y="88"/>
                  </a:lnTo>
                  <a:lnTo>
                    <a:pt x="277" y="84"/>
                  </a:lnTo>
                  <a:lnTo>
                    <a:pt x="247" y="29"/>
                  </a:lnTo>
                  <a:lnTo>
                    <a:pt x="273" y="29"/>
                  </a:lnTo>
                  <a:lnTo>
                    <a:pt x="297" y="29"/>
                  </a:lnTo>
                  <a:lnTo>
                    <a:pt x="320" y="28"/>
                  </a:lnTo>
                  <a:lnTo>
                    <a:pt x="343" y="25"/>
                  </a:lnTo>
                  <a:lnTo>
                    <a:pt x="363" y="22"/>
                  </a:lnTo>
                  <a:lnTo>
                    <a:pt x="381" y="17"/>
                  </a:lnTo>
                  <a:lnTo>
                    <a:pt x="391" y="13"/>
                  </a:lnTo>
                  <a:lnTo>
                    <a:pt x="399" y="9"/>
                  </a:lnTo>
                  <a:lnTo>
                    <a:pt x="407" y="5"/>
                  </a:lnTo>
                  <a:lnTo>
                    <a:pt x="415" y="0"/>
                  </a:lnTo>
                  <a:lnTo>
                    <a:pt x="416" y="6"/>
                  </a:lnTo>
                  <a:lnTo>
                    <a:pt x="419" y="14"/>
                  </a:lnTo>
                  <a:lnTo>
                    <a:pt x="421" y="21"/>
                  </a:lnTo>
                  <a:lnTo>
                    <a:pt x="427" y="26"/>
                  </a:lnTo>
                  <a:lnTo>
                    <a:pt x="439" y="38"/>
                  </a:lnTo>
                  <a:lnTo>
                    <a:pt x="453" y="50"/>
                  </a:lnTo>
                  <a:lnTo>
                    <a:pt x="469" y="61"/>
                  </a:lnTo>
                  <a:lnTo>
                    <a:pt x="487" y="72"/>
                  </a:lnTo>
                  <a:lnTo>
                    <a:pt x="503" y="82"/>
                  </a:lnTo>
                  <a:lnTo>
                    <a:pt x="517" y="96"/>
                  </a:lnTo>
                  <a:lnTo>
                    <a:pt x="524" y="104"/>
                  </a:lnTo>
                  <a:lnTo>
                    <a:pt x="528" y="113"/>
                  </a:lnTo>
                  <a:lnTo>
                    <a:pt x="531" y="124"/>
                  </a:lnTo>
                  <a:lnTo>
                    <a:pt x="532" y="134"/>
                  </a:lnTo>
                  <a:lnTo>
                    <a:pt x="533" y="145"/>
                  </a:lnTo>
                  <a:lnTo>
                    <a:pt x="536" y="154"/>
                  </a:lnTo>
                  <a:lnTo>
                    <a:pt x="539" y="162"/>
                  </a:lnTo>
                  <a:lnTo>
                    <a:pt x="541" y="168"/>
                  </a:lnTo>
                  <a:lnTo>
                    <a:pt x="541" y="18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0" name="Freeform 116"/>
            <p:cNvSpPr>
              <a:spLocks/>
            </p:cNvSpPr>
            <p:nvPr/>
          </p:nvSpPr>
          <p:spPr bwMode="auto">
            <a:xfrm>
              <a:off x="746447" y="5576888"/>
              <a:ext cx="215900" cy="176212"/>
            </a:xfrm>
            <a:custGeom>
              <a:avLst/>
              <a:gdLst/>
              <a:ahLst/>
              <a:cxnLst>
                <a:cxn ang="0">
                  <a:pos x="278" y="24"/>
                </a:cxn>
                <a:cxn ang="0">
                  <a:pos x="257" y="23"/>
                </a:cxn>
                <a:cxn ang="0">
                  <a:pos x="249" y="16"/>
                </a:cxn>
                <a:cxn ang="0">
                  <a:pos x="240" y="7"/>
                </a:cxn>
                <a:cxn ang="0">
                  <a:pos x="226" y="0"/>
                </a:cxn>
                <a:cxn ang="0">
                  <a:pos x="205" y="0"/>
                </a:cxn>
                <a:cxn ang="0">
                  <a:pos x="158" y="8"/>
                </a:cxn>
                <a:cxn ang="0">
                  <a:pos x="118" y="18"/>
                </a:cxn>
                <a:cxn ang="0">
                  <a:pos x="93" y="27"/>
                </a:cxn>
                <a:cxn ang="0">
                  <a:pos x="74" y="39"/>
                </a:cxn>
                <a:cxn ang="0">
                  <a:pos x="65" y="48"/>
                </a:cxn>
                <a:cxn ang="0">
                  <a:pos x="62" y="56"/>
                </a:cxn>
                <a:cxn ang="0">
                  <a:pos x="64" y="74"/>
                </a:cxn>
                <a:cxn ang="0">
                  <a:pos x="72" y="103"/>
                </a:cxn>
                <a:cxn ang="0">
                  <a:pos x="74" y="134"/>
                </a:cxn>
                <a:cxn ang="0">
                  <a:pos x="70" y="155"/>
                </a:cxn>
                <a:cxn ang="0">
                  <a:pos x="64" y="171"/>
                </a:cxn>
                <a:cxn ang="0">
                  <a:pos x="52" y="179"/>
                </a:cxn>
                <a:cxn ang="0">
                  <a:pos x="37" y="180"/>
                </a:cxn>
                <a:cxn ang="0">
                  <a:pos x="26" y="176"/>
                </a:cxn>
                <a:cxn ang="0">
                  <a:pos x="13" y="166"/>
                </a:cxn>
                <a:cxn ang="0">
                  <a:pos x="2" y="168"/>
                </a:cxn>
                <a:cxn ang="0">
                  <a:pos x="1" y="180"/>
                </a:cxn>
                <a:cxn ang="0">
                  <a:pos x="2" y="199"/>
                </a:cxn>
                <a:cxn ang="0">
                  <a:pos x="6" y="210"/>
                </a:cxn>
                <a:cxn ang="0">
                  <a:pos x="21" y="220"/>
                </a:cxn>
                <a:cxn ang="0">
                  <a:pos x="46" y="234"/>
                </a:cxn>
                <a:cxn ang="0">
                  <a:pos x="68" y="246"/>
                </a:cxn>
                <a:cxn ang="0">
                  <a:pos x="80" y="258"/>
                </a:cxn>
                <a:cxn ang="0">
                  <a:pos x="92" y="275"/>
                </a:cxn>
                <a:cxn ang="0">
                  <a:pos x="100" y="300"/>
                </a:cxn>
                <a:cxn ang="0">
                  <a:pos x="105" y="328"/>
                </a:cxn>
                <a:cxn ang="0">
                  <a:pos x="114" y="355"/>
                </a:cxn>
                <a:cxn ang="0">
                  <a:pos x="128" y="367"/>
                </a:cxn>
                <a:cxn ang="0">
                  <a:pos x="146" y="356"/>
                </a:cxn>
                <a:cxn ang="0">
                  <a:pos x="166" y="348"/>
                </a:cxn>
                <a:cxn ang="0">
                  <a:pos x="188" y="344"/>
                </a:cxn>
                <a:cxn ang="0">
                  <a:pos x="213" y="343"/>
                </a:cxn>
                <a:cxn ang="0">
                  <a:pos x="226" y="346"/>
                </a:cxn>
                <a:cxn ang="0">
                  <a:pos x="240" y="352"/>
                </a:cxn>
                <a:cxn ang="0">
                  <a:pos x="253" y="359"/>
                </a:cxn>
                <a:cxn ang="0">
                  <a:pos x="266" y="361"/>
                </a:cxn>
                <a:cxn ang="0">
                  <a:pos x="285" y="359"/>
                </a:cxn>
                <a:cxn ang="0">
                  <a:pos x="297" y="352"/>
                </a:cxn>
                <a:cxn ang="0">
                  <a:pos x="306" y="342"/>
                </a:cxn>
                <a:cxn ang="0">
                  <a:pos x="313" y="327"/>
                </a:cxn>
                <a:cxn ang="0">
                  <a:pos x="333" y="252"/>
                </a:cxn>
                <a:cxn ang="0">
                  <a:pos x="361" y="224"/>
                </a:cxn>
                <a:cxn ang="0">
                  <a:pos x="393" y="192"/>
                </a:cxn>
                <a:cxn ang="0">
                  <a:pos x="427" y="166"/>
                </a:cxn>
                <a:cxn ang="0">
                  <a:pos x="442" y="151"/>
                </a:cxn>
                <a:cxn ang="0">
                  <a:pos x="442" y="146"/>
                </a:cxn>
                <a:cxn ang="0">
                  <a:pos x="435" y="144"/>
                </a:cxn>
                <a:cxn ang="0">
                  <a:pos x="386" y="132"/>
                </a:cxn>
                <a:cxn ang="0">
                  <a:pos x="369" y="124"/>
                </a:cxn>
                <a:cxn ang="0">
                  <a:pos x="353" y="112"/>
                </a:cxn>
                <a:cxn ang="0">
                  <a:pos x="339" y="99"/>
                </a:cxn>
                <a:cxn ang="0">
                  <a:pos x="327" y="82"/>
                </a:cxn>
                <a:cxn ang="0">
                  <a:pos x="302" y="36"/>
                </a:cxn>
              </a:cxnLst>
              <a:rect l="0" t="0" r="r" b="b"/>
              <a:pathLst>
                <a:path w="443" h="367">
                  <a:moveTo>
                    <a:pt x="290" y="24"/>
                  </a:moveTo>
                  <a:lnTo>
                    <a:pt x="278" y="24"/>
                  </a:lnTo>
                  <a:lnTo>
                    <a:pt x="261" y="24"/>
                  </a:lnTo>
                  <a:lnTo>
                    <a:pt x="257" y="23"/>
                  </a:lnTo>
                  <a:lnTo>
                    <a:pt x="253" y="20"/>
                  </a:lnTo>
                  <a:lnTo>
                    <a:pt x="249" y="16"/>
                  </a:lnTo>
                  <a:lnTo>
                    <a:pt x="244" y="12"/>
                  </a:lnTo>
                  <a:lnTo>
                    <a:pt x="240" y="7"/>
                  </a:lnTo>
                  <a:lnTo>
                    <a:pt x="233" y="3"/>
                  </a:lnTo>
                  <a:lnTo>
                    <a:pt x="226" y="0"/>
                  </a:lnTo>
                  <a:lnTo>
                    <a:pt x="218" y="0"/>
                  </a:lnTo>
                  <a:lnTo>
                    <a:pt x="205" y="0"/>
                  </a:lnTo>
                  <a:lnTo>
                    <a:pt x="184" y="3"/>
                  </a:lnTo>
                  <a:lnTo>
                    <a:pt x="158" y="8"/>
                  </a:lnTo>
                  <a:lnTo>
                    <a:pt x="132" y="14"/>
                  </a:lnTo>
                  <a:lnTo>
                    <a:pt x="118" y="18"/>
                  </a:lnTo>
                  <a:lnTo>
                    <a:pt x="105" y="23"/>
                  </a:lnTo>
                  <a:lnTo>
                    <a:pt x="93" y="27"/>
                  </a:lnTo>
                  <a:lnTo>
                    <a:pt x="84" y="32"/>
                  </a:lnTo>
                  <a:lnTo>
                    <a:pt x="74" y="39"/>
                  </a:lnTo>
                  <a:lnTo>
                    <a:pt x="68" y="46"/>
                  </a:lnTo>
                  <a:lnTo>
                    <a:pt x="65" y="48"/>
                  </a:lnTo>
                  <a:lnTo>
                    <a:pt x="64" y="52"/>
                  </a:lnTo>
                  <a:lnTo>
                    <a:pt x="62" y="56"/>
                  </a:lnTo>
                  <a:lnTo>
                    <a:pt x="62" y="60"/>
                  </a:lnTo>
                  <a:lnTo>
                    <a:pt x="64" y="74"/>
                  </a:lnTo>
                  <a:lnTo>
                    <a:pt x="68" y="88"/>
                  </a:lnTo>
                  <a:lnTo>
                    <a:pt x="72" y="103"/>
                  </a:lnTo>
                  <a:lnTo>
                    <a:pt x="74" y="120"/>
                  </a:lnTo>
                  <a:lnTo>
                    <a:pt x="74" y="134"/>
                  </a:lnTo>
                  <a:lnTo>
                    <a:pt x="73" y="144"/>
                  </a:lnTo>
                  <a:lnTo>
                    <a:pt x="70" y="155"/>
                  </a:lnTo>
                  <a:lnTo>
                    <a:pt x="68" y="164"/>
                  </a:lnTo>
                  <a:lnTo>
                    <a:pt x="64" y="171"/>
                  </a:lnTo>
                  <a:lnTo>
                    <a:pt x="58" y="176"/>
                  </a:lnTo>
                  <a:lnTo>
                    <a:pt x="52" y="179"/>
                  </a:lnTo>
                  <a:lnTo>
                    <a:pt x="44" y="180"/>
                  </a:lnTo>
                  <a:lnTo>
                    <a:pt x="37" y="180"/>
                  </a:lnTo>
                  <a:lnTo>
                    <a:pt x="32" y="179"/>
                  </a:lnTo>
                  <a:lnTo>
                    <a:pt x="26" y="176"/>
                  </a:lnTo>
                  <a:lnTo>
                    <a:pt x="21" y="174"/>
                  </a:lnTo>
                  <a:lnTo>
                    <a:pt x="13" y="166"/>
                  </a:lnTo>
                  <a:lnTo>
                    <a:pt x="8" y="156"/>
                  </a:lnTo>
                  <a:lnTo>
                    <a:pt x="2" y="168"/>
                  </a:lnTo>
                  <a:lnTo>
                    <a:pt x="0" y="175"/>
                  </a:lnTo>
                  <a:lnTo>
                    <a:pt x="1" y="180"/>
                  </a:lnTo>
                  <a:lnTo>
                    <a:pt x="2" y="192"/>
                  </a:lnTo>
                  <a:lnTo>
                    <a:pt x="2" y="199"/>
                  </a:lnTo>
                  <a:lnTo>
                    <a:pt x="4" y="204"/>
                  </a:lnTo>
                  <a:lnTo>
                    <a:pt x="6" y="210"/>
                  </a:lnTo>
                  <a:lnTo>
                    <a:pt x="10" y="214"/>
                  </a:lnTo>
                  <a:lnTo>
                    <a:pt x="21" y="220"/>
                  </a:lnTo>
                  <a:lnTo>
                    <a:pt x="33" y="227"/>
                  </a:lnTo>
                  <a:lnTo>
                    <a:pt x="46" y="234"/>
                  </a:lnTo>
                  <a:lnTo>
                    <a:pt x="60" y="240"/>
                  </a:lnTo>
                  <a:lnTo>
                    <a:pt x="68" y="246"/>
                  </a:lnTo>
                  <a:lnTo>
                    <a:pt x="74" y="251"/>
                  </a:lnTo>
                  <a:lnTo>
                    <a:pt x="80" y="258"/>
                  </a:lnTo>
                  <a:lnTo>
                    <a:pt x="86" y="264"/>
                  </a:lnTo>
                  <a:lnTo>
                    <a:pt x="92" y="275"/>
                  </a:lnTo>
                  <a:lnTo>
                    <a:pt x="96" y="287"/>
                  </a:lnTo>
                  <a:lnTo>
                    <a:pt x="100" y="300"/>
                  </a:lnTo>
                  <a:lnTo>
                    <a:pt x="102" y="314"/>
                  </a:lnTo>
                  <a:lnTo>
                    <a:pt x="105" y="328"/>
                  </a:lnTo>
                  <a:lnTo>
                    <a:pt x="109" y="342"/>
                  </a:lnTo>
                  <a:lnTo>
                    <a:pt x="114" y="355"/>
                  </a:lnTo>
                  <a:lnTo>
                    <a:pt x="122" y="367"/>
                  </a:lnTo>
                  <a:lnTo>
                    <a:pt x="128" y="367"/>
                  </a:lnTo>
                  <a:lnTo>
                    <a:pt x="137" y="361"/>
                  </a:lnTo>
                  <a:lnTo>
                    <a:pt x="146" y="356"/>
                  </a:lnTo>
                  <a:lnTo>
                    <a:pt x="156" y="352"/>
                  </a:lnTo>
                  <a:lnTo>
                    <a:pt x="166" y="348"/>
                  </a:lnTo>
                  <a:lnTo>
                    <a:pt x="176" y="346"/>
                  </a:lnTo>
                  <a:lnTo>
                    <a:pt x="188" y="344"/>
                  </a:lnTo>
                  <a:lnTo>
                    <a:pt x="200" y="343"/>
                  </a:lnTo>
                  <a:lnTo>
                    <a:pt x="213" y="343"/>
                  </a:lnTo>
                  <a:lnTo>
                    <a:pt x="220" y="344"/>
                  </a:lnTo>
                  <a:lnTo>
                    <a:pt x="226" y="346"/>
                  </a:lnTo>
                  <a:lnTo>
                    <a:pt x="233" y="348"/>
                  </a:lnTo>
                  <a:lnTo>
                    <a:pt x="240" y="352"/>
                  </a:lnTo>
                  <a:lnTo>
                    <a:pt x="246" y="355"/>
                  </a:lnTo>
                  <a:lnTo>
                    <a:pt x="253" y="359"/>
                  </a:lnTo>
                  <a:lnTo>
                    <a:pt x="260" y="360"/>
                  </a:lnTo>
                  <a:lnTo>
                    <a:pt x="266" y="361"/>
                  </a:lnTo>
                  <a:lnTo>
                    <a:pt x="276" y="360"/>
                  </a:lnTo>
                  <a:lnTo>
                    <a:pt x="285" y="359"/>
                  </a:lnTo>
                  <a:lnTo>
                    <a:pt x="292" y="356"/>
                  </a:lnTo>
                  <a:lnTo>
                    <a:pt x="297" y="352"/>
                  </a:lnTo>
                  <a:lnTo>
                    <a:pt x="302" y="347"/>
                  </a:lnTo>
                  <a:lnTo>
                    <a:pt x="306" y="342"/>
                  </a:lnTo>
                  <a:lnTo>
                    <a:pt x="310" y="335"/>
                  </a:lnTo>
                  <a:lnTo>
                    <a:pt x="313" y="327"/>
                  </a:lnTo>
                  <a:lnTo>
                    <a:pt x="322" y="292"/>
                  </a:lnTo>
                  <a:lnTo>
                    <a:pt x="333" y="252"/>
                  </a:lnTo>
                  <a:lnTo>
                    <a:pt x="341" y="244"/>
                  </a:lnTo>
                  <a:lnTo>
                    <a:pt x="361" y="224"/>
                  </a:lnTo>
                  <a:lnTo>
                    <a:pt x="381" y="204"/>
                  </a:lnTo>
                  <a:lnTo>
                    <a:pt x="393" y="192"/>
                  </a:lnTo>
                  <a:lnTo>
                    <a:pt x="406" y="183"/>
                  </a:lnTo>
                  <a:lnTo>
                    <a:pt x="427" y="166"/>
                  </a:lnTo>
                  <a:lnTo>
                    <a:pt x="437" y="158"/>
                  </a:lnTo>
                  <a:lnTo>
                    <a:pt x="442" y="151"/>
                  </a:lnTo>
                  <a:lnTo>
                    <a:pt x="443" y="148"/>
                  </a:lnTo>
                  <a:lnTo>
                    <a:pt x="442" y="146"/>
                  </a:lnTo>
                  <a:lnTo>
                    <a:pt x="439" y="144"/>
                  </a:lnTo>
                  <a:lnTo>
                    <a:pt x="435" y="144"/>
                  </a:lnTo>
                  <a:lnTo>
                    <a:pt x="409" y="139"/>
                  </a:lnTo>
                  <a:lnTo>
                    <a:pt x="386" y="132"/>
                  </a:lnTo>
                  <a:lnTo>
                    <a:pt x="377" y="128"/>
                  </a:lnTo>
                  <a:lnTo>
                    <a:pt x="369" y="124"/>
                  </a:lnTo>
                  <a:lnTo>
                    <a:pt x="361" y="119"/>
                  </a:lnTo>
                  <a:lnTo>
                    <a:pt x="353" y="112"/>
                  </a:lnTo>
                  <a:lnTo>
                    <a:pt x="346" y="106"/>
                  </a:lnTo>
                  <a:lnTo>
                    <a:pt x="339" y="99"/>
                  </a:lnTo>
                  <a:lnTo>
                    <a:pt x="334" y="91"/>
                  </a:lnTo>
                  <a:lnTo>
                    <a:pt x="327" y="82"/>
                  </a:lnTo>
                  <a:lnTo>
                    <a:pt x="315" y="60"/>
                  </a:lnTo>
                  <a:lnTo>
                    <a:pt x="302" y="36"/>
                  </a:lnTo>
                  <a:lnTo>
                    <a:pt x="290" y="2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1" name="Freeform 117"/>
            <p:cNvSpPr>
              <a:spLocks/>
            </p:cNvSpPr>
            <p:nvPr/>
          </p:nvSpPr>
          <p:spPr bwMode="auto">
            <a:xfrm>
              <a:off x="528959" y="5334000"/>
              <a:ext cx="174625" cy="160337"/>
            </a:xfrm>
            <a:custGeom>
              <a:avLst/>
              <a:gdLst/>
              <a:ahLst/>
              <a:cxnLst>
                <a:cxn ang="0">
                  <a:pos x="276" y="25"/>
                </a:cxn>
                <a:cxn ang="0">
                  <a:pos x="262" y="46"/>
                </a:cxn>
                <a:cxn ang="0">
                  <a:pos x="243" y="60"/>
                </a:cxn>
                <a:cxn ang="0">
                  <a:pos x="219" y="65"/>
                </a:cxn>
                <a:cxn ang="0">
                  <a:pos x="195" y="65"/>
                </a:cxn>
                <a:cxn ang="0">
                  <a:pos x="180" y="60"/>
                </a:cxn>
                <a:cxn ang="0">
                  <a:pos x="167" y="45"/>
                </a:cxn>
                <a:cxn ang="0">
                  <a:pos x="159" y="26"/>
                </a:cxn>
                <a:cxn ang="0">
                  <a:pos x="152" y="14"/>
                </a:cxn>
                <a:cxn ang="0">
                  <a:pos x="142" y="5"/>
                </a:cxn>
                <a:cxn ang="0">
                  <a:pos x="126" y="0"/>
                </a:cxn>
                <a:cxn ang="0">
                  <a:pos x="106" y="0"/>
                </a:cxn>
                <a:cxn ang="0">
                  <a:pos x="88" y="2"/>
                </a:cxn>
                <a:cxn ang="0">
                  <a:pos x="59" y="13"/>
                </a:cxn>
                <a:cxn ang="0">
                  <a:pos x="32" y="29"/>
                </a:cxn>
                <a:cxn ang="0">
                  <a:pos x="18" y="42"/>
                </a:cxn>
                <a:cxn ang="0">
                  <a:pos x="7" y="58"/>
                </a:cxn>
                <a:cxn ang="0">
                  <a:pos x="0" y="74"/>
                </a:cxn>
                <a:cxn ang="0">
                  <a:pos x="2" y="100"/>
                </a:cxn>
                <a:cxn ang="0">
                  <a:pos x="11" y="136"/>
                </a:cxn>
                <a:cxn ang="0">
                  <a:pos x="30" y="172"/>
                </a:cxn>
                <a:cxn ang="0">
                  <a:pos x="54" y="209"/>
                </a:cxn>
                <a:cxn ang="0">
                  <a:pos x="82" y="245"/>
                </a:cxn>
                <a:cxn ang="0">
                  <a:pos x="112" y="277"/>
                </a:cxn>
                <a:cxn ang="0">
                  <a:pos x="142" y="303"/>
                </a:cxn>
                <a:cxn ang="0">
                  <a:pos x="168" y="323"/>
                </a:cxn>
                <a:cxn ang="0">
                  <a:pos x="182" y="325"/>
                </a:cxn>
                <a:cxn ang="0">
                  <a:pos x="190" y="313"/>
                </a:cxn>
                <a:cxn ang="0">
                  <a:pos x="203" y="302"/>
                </a:cxn>
                <a:cxn ang="0">
                  <a:pos x="222" y="291"/>
                </a:cxn>
                <a:cxn ang="0">
                  <a:pos x="254" y="277"/>
                </a:cxn>
                <a:cxn ang="0">
                  <a:pos x="299" y="266"/>
                </a:cxn>
                <a:cxn ang="0">
                  <a:pos x="323" y="264"/>
                </a:cxn>
                <a:cxn ang="0">
                  <a:pos x="332" y="249"/>
                </a:cxn>
                <a:cxn ang="0">
                  <a:pos x="328" y="224"/>
                </a:cxn>
                <a:cxn ang="0">
                  <a:pos x="320" y="201"/>
                </a:cxn>
                <a:cxn ang="0">
                  <a:pos x="314" y="178"/>
                </a:cxn>
                <a:cxn ang="0">
                  <a:pos x="314" y="161"/>
                </a:cxn>
                <a:cxn ang="0">
                  <a:pos x="318" y="153"/>
                </a:cxn>
                <a:cxn ang="0">
                  <a:pos x="328" y="144"/>
                </a:cxn>
                <a:cxn ang="0">
                  <a:pos x="346" y="137"/>
                </a:cxn>
                <a:cxn ang="0">
                  <a:pos x="356" y="129"/>
                </a:cxn>
                <a:cxn ang="0">
                  <a:pos x="360" y="120"/>
                </a:cxn>
                <a:cxn ang="0">
                  <a:pos x="360" y="104"/>
                </a:cxn>
                <a:cxn ang="0">
                  <a:pos x="354" y="88"/>
                </a:cxn>
                <a:cxn ang="0">
                  <a:pos x="336" y="68"/>
                </a:cxn>
                <a:cxn ang="0">
                  <a:pos x="308" y="45"/>
                </a:cxn>
                <a:cxn ang="0">
                  <a:pos x="290" y="25"/>
                </a:cxn>
                <a:cxn ang="0">
                  <a:pos x="284" y="9"/>
                </a:cxn>
                <a:cxn ang="0">
                  <a:pos x="283" y="12"/>
                </a:cxn>
              </a:cxnLst>
              <a:rect l="0" t="0" r="r" b="b"/>
              <a:pathLst>
                <a:path w="362" h="330">
                  <a:moveTo>
                    <a:pt x="283" y="12"/>
                  </a:moveTo>
                  <a:lnTo>
                    <a:pt x="276" y="25"/>
                  </a:lnTo>
                  <a:lnTo>
                    <a:pt x="270" y="37"/>
                  </a:lnTo>
                  <a:lnTo>
                    <a:pt x="262" y="46"/>
                  </a:lnTo>
                  <a:lnTo>
                    <a:pt x="252" y="54"/>
                  </a:lnTo>
                  <a:lnTo>
                    <a:pt x="243" y="60"/>
                  </a:lnTo>
                  <a:lnTo>
                    <a:pt x="232" y="62"/>
                  </a:lnTo>
                  <a:lnTo>
                    <a:pt x="219" y="65"/>
                  </a:lnTo>
                  <a:lnTo>
                    <a:pt x="204" y="65"/>
                  </a:lnTo>
                  <a:lnTo>
                    <a:pt x="195" y="65"/>
                  </a:lnTo>
                  <a:lnTo>
                    <a:pt x="186" y="62"/>
                  </a:lnTo>
                  <a:lnTo>
                    <a:pt x="180" y="60"/>
                  </a:lnTo>
                  <a:lnTo>
                    <a:pt x="175" y="56"/>
                  </a:lnTo>
                  <a:lnTo>
                    <a:pt x="167" y="45"/>
                  </a:lnTo>
                  <a:lnTo>
                    <a:pt x="162" y="32"/>
                  </a:lnTo>
                  <a:lnTo>
                    <a:pt x="159" y="26"/>
                  </a:lnTo>
                  <a:lnTo>
                    <a:pt x="156" y="20"/>
                  </a:lnTo>
                  <a:lnTo>
                    <a:pt x="152" y="14"/>
                  </a:lnTo>
                  <a:lnTo>
                    <a:pt x="148" y="9"/>
                  </a:lnTo>
                  <a:lnTo>
                    <a:pt x="142" y="5"/>
                  </a:lnTo>
                  <a:lnTo>
                    <a:pt x="135" y="2"/>
                  </a:lnTo>
                  <a:lnTo>
                    <a:pt x="126" y="0"/>
                  </a:lnTo>
                  <a:lnTo>
                    <a:pt x="115" y="0"/>
                  </a:lnTo>
                  <a:lnTo>
                    <a:pt x="106" y="0"/>
                  </a:lnTo>
                  <a:lnTo>
                    <a:pt x="98" y="1"/>
                  </a:lnTo>
                  <a:lnTo>
                    <a:pt x="88" y="2"/>
                  </a:lnTo>
                  <a:lnTo>
                    <a:pt x="79" y="5"/>
                  </a:lnTo>
                  <a:lnTo>
                    <a:pt x="59" y="13"/>
                  </a:lnTo>
                  <a:lnTo>
                    <a:pt x="42" y="24"/>
                  </a:lnTo>
                  <a:lnTo>
                    <a:pt x="32" y="29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2" y="50"/>
                  </a:lnTo>
                  <a:lnTo>
                    <a:pt x="7" y="58"/>
                  </a:lnTo>
                  <a:lnTo>
                    <a:pt x="3" y="66"/>
                  </a:lnTo>
                  <a:lnTo>
                    <a:pt x="0" y="74"/>
                  </a:lnTo>
                  <a:lnTo>
                    <a:pt x="0" y="84"/>
                  </a:lnTo>
                  <a:lnTo>
                    <a:pt x="2" y="100"/>
                  </a:lnTo>
                  <a:lnTo>
                    <a:pt x="6" y="117"/>
                  </a:lnTo>
                  <a:lnTo>
                    <a:pt x="11" y="136"/>
                  </a:lnTo>
                  <a:lnTo>
                    <a:pt x="19" y="153"/>
                  </a:lnTo>
                  <a:lnTo>
                    <a:pt x="30" y="172"/>
                  </a:lnTo>
                  <a:lnTo>
                    <a:pt x="42" y="190"/>
                  </a:lnTo>
                  <a:lnTo>
                    <a:pt x="54" y="209"/>
                  </a:lnTo>
                  <a:lnTo>
                    <a:pt x="67" y="228"/>
                  </a:lnTo>
                  <a:lnTo>
                    <a:pt x="82" y="245"/>
                  </a:lnTo>
                  <a:lnTo>
                    <a:pt x="96" y="261"/>
                  </a:lnTo>
                  <a:lnTo>
                    <a:pt x="112" y="277"/>
                  </a:lnTo>
                  <a:lnTo>
                    <a:pt x="127" y="291"/>
                  </a:lnTo>
                  <a:lnTo>
                    <a:pt x="142" y="303"/>
                  </a:lnTo>
                  <a:lnTo>
                    <a:pt x="155" y="314"/>
                  </a:lnTo>
                  <a:lnTo>
                    <a:pt x="168" y="323"/>
                  </a:lnTo>
                  <a:lnTo>
                    <a:pt x="180" y="330"/>
                  </a:lnTo>
                  <a:lnTo>
                    <a:pt x="182" y="325"/>
                  </a:lnTo>
                  <a:lnTo>
                    <a:pt x="184" y="318"/>
                  </a:lnTo>
                  <a:lnTo>
                    <a:pt x="190" y="313"/>
                  </a:lnTo>
                  <a:lnTo>
                    <a:pt x="195" y="307"/>
                  </a:lnTo>
                  <a:lnTo>
                    <a:pt x="203" y="302"/>
                  </a:lnTo>
                  <a:lnTo>
                    <a:pt x="212" y="295"/>
                  </a:lnTo>
                  <a:lnTo>
                    <a:pt x="222" y="291"/>
                  </a:lnTo>
                  <a:lnTo>
                    <a:pt x="232" y="286"/>
                  </a:lnTo>
                  <a:lnTo>
                    <a:pt x="254" y="277"/>
                  </a:lnTo>
                  <a:lnTo>
                    <a:pt x="278" y="270"/>
                  </a:lnTo>
                  <a:lnTo>
                    <a:pt x="299" y="266"/>
                  </a:lnTo>
                  <a:lnTo>
                    <a:pt x="319" y="264"/>
                  </a:lnTo>
                  <a:lnTo>
                    <a:pt x="323" y="264"/>
                  </a:lnTo>
                  <a:lnTo>
                    <a:pt x="331" y="264"/>
                  </a:lnTo>
                  <a:lnTo>
                    <a:pt x="332" y="249"/>
                  </a:lnTo>
                  <a:lnTo>
                    <a:pt x="331" y="236"/>
                  </a:lnTo>
                  <a:lnTo>
                    <a:pt x="328" y="224"/>
                  </a:lnTo>
                  <a:lnTo>
                    <a:pt x="324" y="212"/>
                  </a:lnTo>
                  <a:lnTo>
                    <a:pt x="320" y="201"/>
                  </a:lnTo>
                  <a:lnTo>
                    <a:pt x="316" y="190"/>
                  </a:lnTo>
                  <a:lnTo>
                    <a:pt x="314" y="178"/>
                  </a:lnTo>
                  <a:lnTo>
                    <a:pt x="314" y="168"/>
                  </a:lnTo>
                  <a:lnTo>
                    <a:pt x="314" y="161"/>
                  </a:lnTo>
                  <a:lnTo>
                    <a:pt x="315" y="157"/>
                  </a:lnTo>
                  <a:lnTo>
                    <a:pt x="318" y="153"/>
                  </a:lnTo>
                  <a:lnTo>
                    <a:pt x="320" y="149"/>
                  </a:lnTo>
                  <a:lnTo>
                    <a:pt x="328" y="144"/>
                  </a:lnTo>
                  <a:lnTo>
                    <a:pt x="338" y="141"/>
                  </a:lnTo>
                  <a:lnTo>
                    <a:pt x="346" y="137"/>
                  </a:lnTo>
                  <a:lnTo>
                    <a:pt x="354" y="132"/>
                  </a:lnTo>
                  <a:lnTo>
                    <a:pt x="356" y="129"/>
                  </a:lnTo>
                  <a:lnTo>
                    <a:pt x="359" y="125"/>
                  </a:lnTo>
                  <a:lnTo>
                    <a:pt x="360" y="120"/>
                  </a:lnTo>
                  <a:lnTo>
                    <a:pt x="362" y="113"/>
                  </a:lnTo>
                  <a:lnTo>
                    <a:pt x="360" y="104"/>
                  </a:lnTo>
                  <a:lnTo>
                    <a:pt x="358" y="96"/>
                  </a:lnTo>
                  <a:lnTo>
                    <a:pt x="354" y="88"/>
                  </a:lnTo>
                  <a:lnTo>
                    <a:pt x="350" y="81"/>
                  </a:lnTo>
                  <a:lnTo>
                    <a:pt x="336" y="68"/>
                  </a:lnTo>
                  <a:lnTo>
                    <a:pt x="322" y="57"/>
                  </a:lnTo>
                  <a:lnTo>
                    <a:pt x="308" y="45"/>
                  </a:lnTo>
                  <a:lnTo>
                    <a:pt x="295" y="32"/>
                  </a:lnTo>
                  <a:lnTo>
                    <a:pt x="290" y="25"/>
                  </a:lnTo>
                  <a:lnTo>
                    <a:pt x="287" y="17"/>
                  </a:lnTo>
                  <a:lnTo>
                    <a:pt x="284" y="9"/>
                  </a:lnTo>
                  <a:lnTo>
                    <a:pt x="283" y="0"/>
                  </a:lnTo>
                  <a:lnTo>
                    <a:pt x="283" y="1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2" name="Freeform 118"/>
            <p:cNvSpPr>
              <a:spLocks/>
            </p:cNvSpPr>
            <p:nvPr/>
          </p:nvSpPr>
          <p:spPr bwMode="auto">
            <a:xfrm>
              <a:off x="614684" y="5462588"/>
              <a:ext cx="192088" cy="125412"/>
            </a:xfrm>
            <a:custGeom>
              <a:avLst/>
              <a:gdLst/>
              <a:ahLst/>
              <a:cxnLst>
                <a:cxn ang="0">
                  <a:pos x="388" y="151"/>
                </a:cxn>
                <a:cxn ang="0">
                  <a:pos x="379" y="126"/>
                </a:cxn>
                <a:cxn ang="0">
                  <a:pos x="353" y="107"/>
                </a:cxn>
                <a:cxn ang="0">
                  <a:pos x="337" y="93"/>
                </a:cxn>
                <a:cxn ang="0">
                  <a:pos x="325" y="87"/>
                </a:cxn>
                <a:cxn ang="0">
                  <a:pos x="313" y="91"/>
                </a:cxn>
                <a:cxn ang="0">
                  <a:pos x="303" y="93"/>
                </a:cxn>
                <a:cxn ang="0">
                  <a:pos x="292" y="91"/>
                </a:cxn>
                <a:cxn ang="0">
                  <a:pos x="276" y="83"/>
                </a:cxn>
                <a:cxn ang="0">
                  <a:pos x="256" y="67"/>
                </a:cxn>
                <a:cxn ang="0">
                  <a:pos x="225" y="38"/>
                </a:cxn>
                <a:cxn ang="0">
                  <a:pos x="189" y="12"/>
                </a:cxn>
                <a:cxn ang="0">
                  <a:pos x="168" y="4"/>
                </a:cxn>
                <a:cxn ang="0">
                  <a:pos x="152" y="1"/>
                </a:cxn>
                <a:cxn ang="0">
                  <a:pos x="124" y="2"/>
                </a:cxn>
                <a:cxn ang="0">
                  <a:pos x="77" y="13"/>
                </a:cxn>
                <a:cxn ang="0">
                  <a:pos x="43" y="27"/>
                </a:cxn>
                <a:cxn ang="0">
                  <a:pos x="24" y="38"/>
                </a:cxn>
                <a:cxn ang="0">
                  <a:pos x="9" y="49"/>
                </a:cxn>
                <a:cxn ang="0">
                  <a:pos x="1" y="61"/>
                </a:cxn>
                <a:cxn ang="0">
                  <a:pos x="1" y="71"/>
                </a:cxn>
                <a:cxn ang="0">
                  <a:pos x="9" y="81"/>
                </a:cxn>
                <a:cxn ang="0">
                  <a:pos x="25" y="93"/>
                </a:cxn>
                <a:cxn ang="0">
                  <a:pos x="37" y="110"/>
                </a:cxn>
                <a:cxn ang="0">
                  <a:pos x="55" y="155"/>
                </a:cxn>
                <a:cxn ang="0">
                  <a:pos x="75" y="209"/>
                </a:cxn>
                <a:cxn ang="0">
                  <a:pos x="91" y="242"/>
                </a:cxn>
                <a:cxn ang="0">
                  <a:pos x="103" y="255"/>
                </a:cxn>
                <a:cxn ang="0">
                  <a:pos x="109" y="255"/>
                </a:cxn>
                <a:cxn ang="0">
                  <a:pos x="116" y="250"/>
                </a:cxn>
                <a:cxn ang="0">
                  <a:pos x="135" y="242"/>
                </a:cxn>
                <a:cxn ang="0">
                  <a:pos x="169" y="234"/>
                </a:cxn>
                <a:cxn ang="0">
                  <a:pos x="203" y="230"/>
                </a:cxn>
                <a:cxn ang="0">
                  <a:pos x="232" y="238"/>
                </a:cxn>
                <a:cxn ang="0">
                  <a:pos x="251" y="246"/>
                </a:cxn>
                <a:cxn ang="0">
                  <a:pos x="260" y="243"/>
                </a:cxn>
                <a:cxn ang="0">
                  <a:pos x="271" y="234"/>
                </a:cxn>
                <a:cxn ang="0">
                  <a:pos x="284" y="237"/>
                </a:cxn>
                <a:cxn ang="0">
                  <a:pos x="293" y="245"/>
                </a:cxn>
                <a:cxn ang="0">
                  <a:pos x="305" y="246"/>
                </a:cxn>
                <a:cxn ang="0">
                  <a:pos x="320" y="246"/>
                </a:cxn>
                <a:cxn ang="0">
                  <a:pos x="332" y="241"/>
                </a:cxn>
                <a:cxn ang="0">
                  <a:pos x="344" y="226"/>
                </a:cxn>
                <a:cxn ang="0">
                  <a:pos x="356" y="202"/>
                </a:cxn>
                <a:cxn ang="0">
                  <a:pos x="365" y="187"/>
                </a:cxn>
                <a:cxn ang="0">
                  <a:pos x="373" y="182"/>
                </a:cxn>
                <a:cxn ang="0">
                  <a:pos x="373" y="169"/>
                </a:cxn>
              </a:cxnLst>
              <a:rect l="0" t="0" r="r" b="b"/>
              <a:pathLst>
                <a:path w="397" h="259">
                  <a:moveTo>
                    <a:pt x="373" y="169"/>
                  </a:moveTo>
                  <a:lnTo>
                    <a:pt x="388" y="151"/>
                  </a:lnTo>
                  <a:lnTo>
                    <a:pt x="397" y="138"/>
                  </a:lnTo>
                  <a:lnTo>
                    <a:pt x="379" y="126"/>
                  </a:lnTo>
                  <a:lnTo>
                    <a:pt x="361" y="114"/>
                  </a:lnTo>
                  <a:lnTo>
                    <a:pt x="353" y="107"/>
                  </a:lnTo>
                  <a:lnTo>
                    <a:pt x="345" y="101"/>
                  </a:lnTo>
                  <a:lnTo>
                    <a:pt x="337" y="93"/>
                  </a:lnTo>
                  <a:lnTo>
                    <a:pt x="331" y="85"/>
                  </a:lnTo>
                  <a:lnTo>
                    <a:pt x="325" y="87"/>
                  </a:lnTo>
                  <a:lnTo>
                    <a:pt x="319" y="90"/>
                  </a:lnTo>
                  <a:lnTo>
                    <a:pt x="313" y="91"/>
                  </a:lnTo>
                  <a:lnTo>
                    <a:pt x="308" y="93"/>
                  </a:lnTo>
                  <a:lnTo>
                    <a:pt x="303" y="93"/>
                  </a:lnTo>
                  <a:lnTo>
                    <a:pt x="297" y="93"/>
                  </a:lnTo>
                  <a:lnTo>
                    <a:pt x="292" y="91"/>
                  </a:lnTo>
                  <a:lnTo>
                    <a:pt x="287" y="89"/>
                  </a:lnTo>
                  <a:lnTo>
                    <a:pt x="276" y="83"/>
                  </a:lnTo>
                  <a:lnTo>
                    <a:pt x="267" y="77"/>
                  </a:lnTo>
                  <a:lnTo>
                    <a:pt x="256" y="67"/>
                  </a:lnTo>
                  <a:lnTo>
                    <a:pt x="247" y="58"/>
                  </a:lnTo>
                  <a:lnTo>
                    <a:pt x="225" y="38"/>
                  </a:lnTo>
                  <a:lnTo>
                    <a:pt x="203" y="19"/>
                  </a:lnTo>
                  <a:lnTo>
                    <a:pt x="189" y="12"/>
                  </a:lnTo>
                  <a:lnTo>
                    <a:pt x="176" y="5"/>
                  </a:lnTo>
                  <a:lnTo>
                    <a:pt x="168" y="4"/>
                  </a:lnTo>
                  <a:lnTo>
                    <a:pt x="160" y="1"/>
                  </a:lnTo>
                  <a:lnTo>
                    <a:pt x="152" y="1"/>
                  </a:lnTo>
                  <a:lnTo>
                    <a:pt x="144" y="0"/>
                  </a:lnTo>
                  <a:lnTo>
                    <a:pt x="124" y="2"/>
                  </a:lnTo>
                  <a:lnTo>
                    <a:pt x="101" y="6"/>
                  </a:lnTo>
                  <a:lnTo>
                    <a:pt x="77" y="13"/>
                  </a:lnTo>
                  <a:lnTo>
                    <a:pt x="53" y="22"/>
                  </a:lnTo>
                  <a:lnTo>
                    <a:pt x="43" y="27"/>
                  </a:lnTo>
                  <a:lnTo>
                    <a:pt x="32" y="31"/>
                  </a:lnTo>
                  <a:lnTo>
                    <a:pt x="24" y="38"/>
                  </a:lnTo>
                  <a:lnTo>
                    <a:pt x="16" y="43"/>
                  </a:lnTo>
                  <a:lnTo>
                    <a:pt x="9" y="49"/>
                  </a:lnTo>
                  <a:lnTo>
                    <a:pt x="4" y="54"/>
                  </a:lnTo>
                  <a:lnTo>
                    <a:pt x="1" y="61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4" y="75"/>
                  </a:lnTo>
                  <a:lnTo>
                    <a:pt x="9" y="81"/>
                  </a:lnTo>
                  <a:lnTo>
                    <a:pt x="15" y="86"/>
                  </a:lnTo>
                  <a:lnTo>
                    <a:pt x="25" y="93"/>
                  </a:lnTo>
                  <a:lnTo>
                    <a:pt x="29" y="97"/>
                  </a:lnTo>
                  <a:lnTo>
                    <a:pt x="37" y="110"/>
                  </a:lnTo>
                  <a:lnTo>
                    <a:pt x="45" y="130"/>
                  </a:lnTo>
                  <a:lnTo>
                    <a:pt x="55" y="155"/>
                  </a:lnTo>
                  <a:lnTo>
                    <a:pt x="64" y="182"/>
                  </a:lnTo>
                  <a:lnTo>
                    <a:pt x="75" y="209"/>
                  </a:lnTo>
                  <a:lnTo>
                    <a:pt x="85" y="231"/>
                  </a:lnTo>
                  <a:lnTo>
                    <a:pt x="91" y="242"/>
                  </a:lnTo>
                  <a:lnTo>
                    <a:pt x="97" y="250"/>
                  </a:lnTo>
                  <a:lnTo>
                    <a:pt x="103" y="255"/>
                  </a:lnTo>
                  <a:lnTo>
                    <a:pt x="108" y="259"/>
                  </a:lnTo>
                  <a:lnTo>
                    <a:pt x="109" y="255"/>
                  </a:lnTo>
                  <a:lnTo>
                    <a:pt x="112" y="253"/>
                  </a:lnTo>
                  <a:lnTo>
                    <a:pt x="116" y="250"/>
                  </a:lnTo>
                  <a:lnTo>
                    <a:pt x="121" y="246"/>
                  </a:lnTo>
                  <a:lnTo>
                    <a:pt x="135" y="242"/>
                  </a:lnTo>
                  <a:lnTo>
                    <a:pt x="151" y="237"/>
                  </a:lnTo>
                  <a:lnTo>
                    <a:pt x="169" y="234"/>
                  </a:lnTo>
                  <a:lnTo>
                    <a:pt x="187" y="231"/>
                  </a:lnTo>
                  <a:lnTo>
                    <a:pt x="203" y="230"/>
                  </a:lnTo>
                  <a:lnTo>
                    <a:pt x="216" y="229"/>
                  </a:lnTo>
                  <a:lnTo>
                    <a:pt x="232" y="238"/>
                  </a:lnTo>
                  <a:lnTo>
                    <a:pt x="247" y="247"/>
                  </a:lnTo>
                  <a:lnTo>
                    <a:pt x="251" y="246"/>
                  </a:lnTo>
                  <a:lnTo>
                    <a:pt x="256" y="245"/>
                  </a:lnTo>
                  <a:lnTo>
                    <a:pt x="260" y="243"/>
                  </a:lnTo>
                  <a:lnTo>
                    <a:pt x="264" y="241"/>
                  </a:lnTo>
                  <a:lnTo>
                    <a:pt x="271" y="234"/>
                  </a:lnTo>
                  <a:lnTo>
                    <a:pt x="277" y="229"/>
                  </a:lnTo>
                  <a:lnTo>
                    <a:pt x="284" y="237"/>
                  </a:lnTo>
                  <a:lnTo>
                    <a:pt x="291" y="242"/>
                  </a:lnTo>
                  <a:lnTo>
                    <a:pt x="293" y="245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313" y="247"/>
                  </a:lnTo>
                  <a:lnTo>
                    <a:pt x="320" y="246"/>
                  </a:lnTo>
                  <a:lnTo>
                    <a:pt x="327" y="245"/>
                  </a:lnTo>
                  <a:lnTo>
                    <a:pt x="332" y="241"/>
                  </a:lnTo>
                  <a:lnTo>
                    <a:pt x="337" y="237"/>
                  </a:lnTo>
                  <a:lnTo>
                    <a:pt x="344" y="226"/>
                  </a:lnTo>
                  <a:lnTo>
                    <a:pt x="351" y="214"/>
                  </a:lnTo>
                  <a:lnTo>
                    <a:pt x="356" y="202"/>
                  </a:lnTo>
                  <a:lnTo>
                    <a:pt x="361" y="191"/>
                  </a:lnTo>
                  <a:lnTo>
                    <a:pt x="365" y="187"/>
                  </a:lnTo>
                  <a:lnTo>
                    <a:pt x="369" y="183"/>
                  </a:lnTo>
                  <a:lnTo>
                    <a:pt x="373" y="182"/>
                  </a:lnTo>
                  <a:lnTo>
                    <a:pt x="379" y="181"/>
                  </a:lnTo>
                  <a:lnTo>
                    <a:pt x="373" y="16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3" name="Freeform 119"/>
            <p:cNvSpPr>
              <a:spLocks/>
            </p:cNvSpPr>
            <p:nvPr/>
          </p:nvSpPr>
          <p:spPr bwMode="auto">
            <a:xfrm>
              <a:off x="667072" y="5549900"/>
              <a:ext cx="163513" cy="114300"/>
            </a:xfrm>
            <a:custGeom>
              <a:avLst/>
              <a:gdLst/>
              <a:ahLst/>
              <a:cxnLst>
                <a:cxn ang="0">
                  <a:pos x="187" y="222"/>
                </a:cxn>
                <a:cxn ang="0">
                  <a:pos x="197" y="230"/>
                </a:cxn>
                <a:cxn ang="0">
                  <a:pos x="207" y="234"/>
                </a:cxn>
                <a:cxn ang="0">
                  <a:pos x="219" y="233"/>
                </a:cxn>
                <a:cxn ang="0">
                  <a:pos x="231" y="225"/>
                </a:cxn>
                <a:cxn ang="0">
                  <a:pos x="237" y="209"/>
                </a:cxn>
                <a:cxn ang="0">
                  <a:pos x="241" y="188"/>
                </a:cxn>
                <a:cxn ang="0">
                  <a:pos x="239" y="157"/>
                </a:cxn>
                <a:cxn ang="0">
                  <a:pos x="231" y="128"/>
                </a:cxn>
                <a:cxn ang="0">
                  <a:pos x="229" y="109"/>
                </a:cxn>
                <a:cxn ang="0">
                  <a:pos x="235" y="98"/>
                </a:cxn>
                <a:cxn ang="0">
                  <a:pos x="251" y="85"/>
                </a:cxn>
                <a:cxn ang="0">
                  <a:pos x="281" y="72"/>
                </a:cxn>
                <a:cxn ang="0">
                  <a:pos x="319" y="62"/>
                </a:cxn>
                <a:cxn ang="0">
                  <a:pos x="332" y="46"/>
                </a:cxn>
                <a:cxn ang="0">
                  <a:pos x="320" y="25"/>
                </a:cxn>
                <a:cxn ang="0">
                  <a:pos x="305" y="9"/>
                </a:cxn>
                <a:cxn ang="0">
                  <a:pos x="284" y="1"/>
                </a:cxn>
                <a:cxn ang="0">
                  <a:pos x="265" y="1"/>
                </a:cxn>
                <a:cxn ang="0">
                  <a:pos x="257" y="6"/>
                </a:cxn>
                <a:cxn ang="0">
                  <a:pos x="248" y="21"/>
                </a:cxn>
                <a:cxn ang="0">
                  <a:pos x="236" y="45"/>
                </a:cxn>
                <a:cxn ang="0">
                  <a:pos x="224" y="60"/>
                </a:cxn>
                <a:cxn ang="0">
                  <a:pos x="212" y="65"/>
                </a:cxn>
                <a:cxn ang="0">
                  <a:pos x="197" y="65"/>
                </a:cxn>
                <a:cxn ang="0">
                  <a:pos x="185" y="64"/>
                </a:cxn>
                <a:cxn ang="0">
                  <a:pos x="176" y="56"/>
                </a:cxn>
                <a:cxn ang="0">
                  <a:pos x="163" y="53"/>
                </a:cxn>
                <a:cxn ang="0">
                  <a:pos x="152" y="62"/>
                </a:cxn>
                <a:cxn ang="0">
                  <a:pos x="143" y="65"/>
                </a:cxn>
                <a:cxn ang="0">
                  <a:pos x="124" y="57"/>
                </a:cxn>
                <a:cxn ang="0">
                  <a:pos x="95" y="49"/>
                </a:cxn>
                <a:cxn ang="0">
                  <a:pos x="61" y="53"/>
                </a:cxn>
                <a:cxn ang="0">
                  <a:pos x="27" y="61"/>
                </a:cxn>
                <a:cxn ang="0">
                  <a:pos x="8" y="69"/>
                </a:cxn>
                <a:cxn ang="0">
                  <a:pos x="1" y="74"/>
                </a:cxn>
                <a:cxn ang="0">
                  <a:pos x="0" y="84"/>
                </a:cxn>
                <a:cxn ang="0">
                  <a:pos x="4" y="93"/>
                </a:cxn>
                <a:cxn ang="0">
                  <a:pos x="12" y="106"/>
                </a:cxn>
                <a:cxn ang="0">
                  <a:pos x="25" y="121"/>
                </a:cxn>
                <a:cxn ang="0">
                  <a:pos x="35" y="136"/>
                </a:cxn>
                <a:cxn ang="0">
                  <a:pos x="27" y="160"/>
                </a:cxn>
                <a:cxn ang="0">
                  <a:pos x="19" y="182"/>
                </a:cxn>
                <a:cxn ang="0">
                  <a:pos x="28" y="197"/>
                </a:cxn>
                <a:cxn ang="0">
                  <a:pos x="44" y="206"/>
                </a:cxn>
                <a:cxn ang="0">
                  <a:pos x="65" y="214"/>
                </a:cxn>
                <a:cxn ang="0">
                  <a:pos x="103" y="220"/>
                </a:cxn>
                <a:cxn ang="0">
                  <a:pos x="151" y="222"/>
                </a:cxn>
                <a:cxn ang="0">
                  <a:pos x="181" y="217"/>
                </a:cxn>
              </a:cxnLst>
              <a:rect l="0" t="0" r="r" b="b"/>
              <a:pathLst>
                <a:path w="337" h="234">
                  <a:moveTo>
                    <a:pt x="181" y="217"/>
                  </a:moveTo>
                  <a:lnTo>
                    <a:pt x="187" y="222"/>
                  </a:lnTo>
                  <a:lnTo>
                    <a:pt x="193" y="228"/>
                  </a:lnTo>
                  <a:lnTo>
                    <a:pt x="197" y="230"/>
                  </a:lnTo>
                  <a:lnTo>
                    <a:pt x="201" y="233"/>
                  </a:lnTo>
                  <a:lnTo>
                    <a:pt x="207" y="234"/>
                  </a:lnTo>
                  <a:lnTo>
                    <a:pt x="211" y="234"/>
                  </a:lnTo>
                  <a:lnTo>
                    <a:pt x="219" y="233"/>
                  </a:lnTo>
                  <a:lnTo>
                    <a:pt x="225" y="230"/>
                  </a:lnTo>
                  <a:lnTo>
                    <a:pt x="231" y="225"/>
                  </a:lnTo>
                  <a:lnTo>
                    <a:pt x="235" y="218"/>
                  </a:lnTo>
                  <a:lnTo>
                    <a:pt x="237" y="209"/>
                  </a:lnTo>
                  <a:lnTo>
                    <a:pt x="240" y="198"/>
                  </a:lnTo>
                  <a:lnTo>
                    <a:pt x="241" y="188"/>
                  </a:lnTo>
                  <a:lnTo>
                    <a:pt x="241" y="174"/>
                  </a:lnTo>
                  <a:lnTo>
                    <a:pt x="239" y="157"/>
                  </a:lnTo>
                  <a:lnTo>
                    <a:pt x="235" y="142"/>
                  </a:lnTo>
                  <a:lnTo>
                    <a:pt x="231" y="128"/>
                  </a:lnTo>
                  <a:lnTo>
                    <a:pt x="229" y="114"/>
                  </a:lnTo>
                  <a:lnTo>
                    <a:pt x="229" y="109"/>
                  </a:lnTo>
                  <a:lnTo>
                    <a:pt x="232" y="104"/>
                  </a:lnTo>
                  <a:lnTo>
                    <a:pt x="235" y="98"/>
                  </a:lnTo>
                  <a:lnTo>
                    <a:pt x="239" y="94"/>
                  </a:lnTo>
                  <a:lnTo>
                    <a:pt x="251" y="85"/>
                  </a:lnTo>
                  <a:lnTo>
                    <a:pt x="265" y="78"/>
                  </a:lnTo>
                  <a:lnTo>
                    <a:pt x="281" y="72"/>
                  </a:lnTo>
                  <a:lnTo>
                    <a:pt x="300" y="66"/>
                  </a:lnTo>
                  <a:lnTo>
                    <a:pt x="319" y="62"/>
                  </a:lnTo>
                  <a:lnTo>
                    <a:pt x="337" y="60"/>
                  </a:lnTo>
                  <a:lnTo>
                    <a:pt x="332" y="46"/>
                  </a:lnTo>
                  <a:lnTo>
                    <a:pt x="327" y="36"/>
                  </a:lnTo>
                  <a:lnTo>
                    <a:pt x="320" y="25"/>
                  </a:lnTo>
                  <a:lnTo>
                    <a:pt x="313" y="16"/>
                  </a:lnTo>
                  <a:lnTo>
                    <a:pt x="305" y="9"/>
                  </a:lnTo>
                  <a:lnTo>
                    <a:pt x="295" y="4"/>
                  </a:lnTo>
                  <a:lnTo>
                    <a:pt x="284" y="1"/>
                  </a:lnTo>
                  <a:lnTo>
                    <a:pt x="271" y="0"/>
                  </a:lnTo>
                  <a:lnTo>
                    <a:pt x="265" y="1"/>
                  </a:lnTo>
                  <a:lnTo>
                    <a:pt x="261" y="2"/>
                  </a:lnTo>
                  <a:lnTo>
                    <a:pt x="257" y="6"/>
                  </a:lnTo>
                  <a:lnTo>
                    <a:pt x="253" y="10"/>
                  </a:lnTo>
                  <a:lnTo>
                    <a:pt x="248" y="21"/>
                  </a:lnTo>
                  <a:lnTo>
                    <a:pt x="243" y="33"/>
                  </a:lnTo>
                  <a:lnTo>
                    <a:pt x="236" y="45"/>
                  </a:lnTo>
                  <a:lnTo>
                    <a:pt x="229" y="56"/>
                  </a:lnTo>
                  <a:lnTo>
                    <a:pt x="224" y="60"/>
                  </a:lnTo>
                  <a:lnTo>
                    <a:pt x="219" y="64"/>
                  </a:lnTo>
                  <a:lnTo>
                    <a:pt x="212" y="65"/>
                  </a:lnTo>
                  <a:lnTo>
                    <a:pt x="205" y="66"/>
                  </a:lnTo>
                  <a:lnTo>
                    <a:pt x="197" y="65"/>
                  </a:lnTo>
                  <a:lnTo>
                    <a:pt x="191" y="65"/>
                  </a:lnTo>
                  <a:lnTo>
                    <a:pt x="185" y="64"/>
                  </a:lnTo>
                  <a:lnTo>
                    <a:pt x="183" y="61"/>
                  </a:lnTo>
                  <a:lnTo>
                    <a:pt x="176" y="56"/>
                  </a:lnTo>
                  <a:lnTo>
                    <a:pt x="169" y="48"/>
                  </a:lnTo>
                  <a:lnTo>
                    <a:pt x="163" y="53"/>
                  </a:lnTo>
                  <a:lnTo>
                    <a:pt x="156" y="60"/>
                  </a:lnTo>
                  <a:lnTo>
                    <a:pt x="152" y="62"/>
                  </a:lnTo>
                  <a:lnTo>
                    <a:pt x="148" y="64"/>
                  </a:lnTo>
                  <a:lnTo>
                    <a:pt x="143" y="65"/>
                  </a:lnTo>
                  <a:lnTo>
                    <a:pt x="139" y="66"/>
                  </a:lnTo>
                  <a:lnTo>
                    <a:pt x="124" y="57"/>
                  </a:lnTo>
                  <a:lnTo>
                    <a:pt x="108" y="48"/>
                  </a:lnTo>
                  <a:lnTo>
                    <a:pt x="95" y="49"/>
                  </a:lnTo>
                  <a:lnTo>
                    <a:pt x="79" y="50"/>
                  </a:lnTo>
                  <a:lnTo>
                    <a:pt x="61" y="53"/>
                  </a:lnTo>
                  <a:lnTo>
                    <a:pt x="43" y="56"/>
                  </a:lnTo>
                  <a:lnTo>
                    <a:pt x="27" y="61"/>
                  </a:lnTo>
                  <a:lnTo>
                    <a:pt x="13" y="65"/>
                  </a:lnTo>
                  <a:lnTo>
                    <a:pt x="8" y="69"/>
                  </a:lnTo>
                  <a:lnTo>
                    <a:pt x="4" y="72"/>
                  </a:lnTo>
                  <a:lnTo>
                    <a:pt x="1" y="7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1" y="89"/>
                  </a:lnTo>
                  <a:lnTo>
                    <a:pt x="4" y="93"/>
                  </a:lnTo>
                  <a:lnTo>
                    <a:pt x="5" y="97"/>
                  </a:lnTo>
                  <a:lnTo>
                    <a:pt x="12" y="106"/>
                  </a:lnTo>
                  <a:lnTo>
                    <a:pt x="19" y="113"/>
                  </a:lnTo>
                  <a:lnTo>
                    <a:pt x="25" y="121"/>
                  </a:lnTo>
                  <a:lnTo>
                    <a:pt x="31" y="128"/>
                  </a:lnTo>
                  <a:lnTo>
                    <a:pt x="35" y="136"/>
                  </a:lnTo>
                  <a:lnTo>
                    <a:pt x="36" y="144"/>
                  </a:lnTo>
                  <a:lnTo>
                    <a:pt x="27" y="160"/>
                  </a:lnTo>
                  <a:lnTo>
                    <a:pt x="19" y="174"/>
                  </a:lnTo>
                  <a:lnTo>
                    <a:pt x="19" y="182"/>
                  </a:lnTo>
                  <a:lnTo>
                    <a:pt x="23" y="190"/>
                  </a:lnTo>
                  <a:lnTo>
                    <a:pt x="28" y="197"/>
                  </a:lnTo>
                  <a:lnTo>
                    <a:pt x="36" y="202"/>
                  </a:lnTo>
                  <a:lnTo>
                    <a:pt x="44" y="206"/>
                  </a:lnTo>
                  <a:lnTo>
                    <a:pt x="55" y="210"/>
                  </a:lnTo>
                  <a:lnTo>
                    <a:pt x="65" y="214"/>
                  </a:lnTo>
                  <a:lnTo>
                    <a:pt x="77" y="217"/>
                  </a:lnTo>
                  <a:lnTo>
                    <a:pt x="103" y="220"/>
                  </a:lnTo>
                  <a:lnTo>
                    <a:pt x="128" y="222"/>
                  </a:lnTo>
                  <a:lnTo>
                    <a:pt x="151" y="222"/>
                  </a:lnTo>
                  <a:lnTo>
                    <a:pt x="169" y="222"/>
                  </a:lnTo>
                  <a:lnTo>
                    <a:pt x="181" y="21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4" name="Freeform 120"/>
            <p:cNvSpPr>
              <a:spLocks/>
            </p:cNvSpPr>
            <p:nvPr/>
          </p:nvSpPr>
          <p:spPr bwMode="auto">
            <a:xfrm>
              <a:off x="2052959" y="4411663"/>
              <a:ext cx="261938" cy="315912"/>
            </a:xfrm>
            <a:custGeom>
              <a:avLst/>
              <a:gdLst/>
              <a:ahLst/>
              <a:cxnLst>
                <a:cxn ang="0">
                  <a:pos x="277" y="647"/>
                </a:cxn>
                <a:cxn ang="0">
                  <a:pos x="311" y="643"/>
                </a:cxn>
                <a:cxn ang="0">
                  <a:pos x="340" y="631"/>
                </a:cxn>
                <a:cxn ang="0">
                  <a:pos x="393" y="595"/>
                </a:cxn>
                <a:cxn ang="0">
                  <a:pos x="393" y="578"/>
                </a:cxn>
                <a:cxn ang="0">
                  <a:pos x="375" y="561"/>
                </a:cxn>
                <a:cxn ang="0">
                  <a:pos x="368" y="529"/>
                </a:cxn>
                <a:cxn ang="0">
                  <a:pos x="373" y="509"/>
                </a:cxn>
                <a:cxn ang="0">
                  <a:pos x="388" y="494"/>
                </a:cxn>
                <a:cxn ang="0">
                  <a:pos x="431" y="475"/>
                </a:cxn>
                <a:cxn ang="0">
                  <a:pos x="467" y="443"/>
                </a:cxn>
                <a:cxn ang="0">
                  <a:pos x="483" y="382"/>
                </a:cxn>
                <a:cxn ang="0">
                  <a:pos x="499" y="305"/>
                </a:cxn>
                <a:cxn ang="0">
                  <a:pos x="515" y="209"/>
                </a:cxn>
                <a:cxn ang="0">
                  <a:pos x="531" y="146"/>
                </a:cxn>
                <a:cxn ang="0">
                  <a:pos x="521" y="108"/>
                </a:cxn>
                <a:cxn ang="0">
                  <a:pos x="443" y="50"/>
                </a:cxn>
                <a:cxn ang="0">
                  <a:pos x="376" y="9"/>
                </a:cxn>
                <a:cxn ang="0">
                  <a:pos x="344" y="0"/>
                </a:cxn>
                <a:cxn ang="0">
                  <a:pos x="324" y="4"/>
                </a:cxn>
                <a:cxn ang="0">
                  <a:pos x="308" y="16"/>
                </a:cxn>
                <a:cxn ang="0">
                  <a:pos x="292" y="40"/>
                </a:cxn>
                <a:cxn ang="0">
                  <a:pos x="273" y="86"/>
                </a:cxn>
                <a:cxn ang="0">
                  <a:pos x="255" y="134"/>
                </a:cxn>
                <a:cxn ang="0">
                  <a:pos x="237" y="158"/>
                </a:cxn>
                <a:cxn ang="0">
                  <a:pos x="220" y="170"/>
                </a:cxn>
                <a:cxn ang="0">
                  <a:pos x="199" y="174"/>
                </a:cxn>
                <a:cxn ang="0">
                  <a:pos x="181" y="166"/>
                </a:cxn>
                <a:cxn ang="0">
                  <a:pos x="171" y="154"/>
                </a:cxn>
                <a:cxn ang="0">
                  <a:pos x="147" y="153"/>
                </a:cxn>
                <a:cxn ang="0">
                  <a:pos x="115" y="168"/>
                </a:cxn>
                <a:cxn ang="0">
                  <a:pos x="105" y="184"/>
                </a:cxn>
                <a:cxn ang="0">
                  <a:pos x="100" y="224"/>
                </a:cxn>
                <a:cxn ang="0">
                  <a:pos x="95" y="269"/>
                </a:cxn>
                <a:cxn ang="0">
                  <a:pos x="84" y="298"/>
                </a:cxn>
                <a:cxn ang="0">
                  <a:pos x="60" y="321"/>
                </a:cxn>
                <a:cxn ang="0">
                  <a:pos x="33" y="342"/>
                </a:cxn>
                <a:cxn ang="0">
                  <a:pos x="19" y="364"/>
                </a:cxn>
                <a:cxn ang="0">
                  <a:pos x="12" y="397"/>
                </a:cxn>
                <a:cxn ang="0">
                  <a:pos x="15" y="449"/>
                </a:cxn>
                <a:cxn ang="0">
                  <a:pos x="0" y="487"/>
                </a:cxn>
                <a:cxn ang="0">
                  <a:pos x="5" y="507"/>
                </a:cxn>
                <a:cxn ang="0">
                  <a:pos x="17" y="523"/>
                </a:cxn>
                <a:cxn ang="0">
                  <a:pos x="40" y="535"/>
                </a:cxn>
                <a:cxn ang="0">
                  <a:pos x="79" y="542"/>
                </a:cxn>
                <a:cxn ang="0">
                  <a:pos x="139" y="549"/>
                </a:cxn>
                <a:cxn ang="0">
                  <a:pos x="163" y="546"/>
                </a:cxn>
                <a:cxn ang="0">
                  <a:pos x="171" y="530"/>
                </a:cxn>
                <a:cxn ang="0">
                  <a:pos x="163" y="505"/>
                </a:cxn>
                <a:cxn ang="0">
                  <a:pos x="171" y="494"/>
                </a:cxn>
                <a:cxn ang="0">
                  <a:pos x="199" y="481"/>
                </a:cxn>
                <a:cxn ang="0">
                  <a:pos x="223" y="530"/>
                </a:cxn>
                <a:cxn ang="0">
                  <a:pos x="207" y="555"/>
                </a:cxn>
                <a:cxn ang="0">
                  <a:pos x="259" y="571"/>
                </a:cxn>
                <a:cxn ang="0">
                  <a:pos x="256" y="586"/>
                </a:cxn>
                <a:cxn ang="0">
                  <a:pos x="241" y="605"/>
                </a:cxn>
                <a:cxn ang="0">
                  <a:pos x="215" y="617"/>
                </a:cxn>
                <a:cxn ang="0">
                  <a:pos x="213" y="647"/>
                </a:cxn>
                <a:cxn ang="0">
                  <a:pos x="228" y="650"/>
                </a:cxn>
                <a:cxn ang="0">
                  <a:pos x="253" y="643"/>
                </a:cxn>
              </a:cxnLst>
              <a:rect l="0" t="0" r="r" b="b"/>
              <a:pathLst>
                <a:path w="543" h="650">
                  <a:moveTo>
                    <a:pt x="253" y="643"/>
                  </a:moveTo>
                  <a:lnTo>
                    <a:pt x="265" y="646"/>
                  </a:lnTo>
                  <a:lnTo>
                    <a:pt x="277" y="647"/>
                  </a:lnTo>
                  <a:lnTo>
                    <a:pt x="288" y="647"/>
                  </a:lnTo>
                  <a:lnTo>
                    <a:pt x="300" y="646"/>
                  </a:lnTo>
                  <a:lnTo>
                    <a:pt x="311" y="643"/>
                  </a:lnTo>
                  <a:lnTo>
                    <a:pt x="321" y="641"/>
                  </a:lnTo>
                  <a:lnTo>
                    <a:pt x="331" y="637"/>
                  </a:lnTo>
                  <a:lnTo>
                    <a:pt x="340" y="631"/>
                  </a:lnTo>
                  <a:lnTo>
                    <a:pt x="359" y="621"/>
                  </a:lnTo>
                  <a:lnTo>
                    <a:pt x="377" y="609"/>
                  </a:lnTo>
                  <a:lnTo>
                    <a:pt x="393" y="595"/>
                  </a:lnTo>
                  <a:lnTo>
                    <a:pt x="409" y="583"/>
                  </a:lnTo>
                  <a:lnTo>
                    <a:pt x="401" y="581"/>
                  </a:lnTo>
                  <a:lnTo>
                    <a:pt x="393" y="578"/>
                  </a:lnTo>
                  <a:lnTo>
                    <a:pt x="385" y="573"/>
                  </a:lnTo>
                  <a:lnTo>
                    <a:pt x="380" y="567"/>
                  </a:lnTo>
                  <a:lnTo>
                    <a:pt x="375" y="561"/>
                  </a:lnTo>
                  <a:lnTo>
                    <a:pt x="371" y="553"/>
                  </a:lnTo>
                  <a:lnTo>
                    <a:pt x="368" y="542"/>
                  </a:lnTo>
                  <a:lnTo>
                    <a:pt x="368" y="529"/>
                  </a:lnTo>
                  <a:lnTo>
                    <a:pt x="368" y="522"/>
                  </a:lnTo>
                  <a:lnTo>
                    <a:pt x="371" y="515"/>
                  </a:lnTo>
                  <a:lnTo>
                    <a:pt x="373" y="509"/>
                  </a:lnTo>
                  <a:lnTo>
                    <a:pt x="377" y="503"/>
                  </a:lnTo>
                  <a:lnTo>
                    <a:pt x="383" y="499"/>
                  </a:lnTo>
                  <a:lnTo>
                    <a:pt x="388" y="494"/>
                  </a:lnTo>
                  <a:lnTo>
                    <a:pt x="395" y="491"/>
                  </a:lnTo>
                  <a:lnTo>
                    <a:pt x="401" y="487"/>
                  </a:lnTo>
                  <a:lnTo>
                    <a:pt x="431" y="475"/>
                  </a:lnTo>
                  <a:lnTo>
                    <a:pt x="457" y="463"/>
                  </a:lnTo>
                  <a:lnTo>
                    <a:pt x="463" y="454"/>
                  </a:lnTo>
                  <a:lnTo>
                    <a:pt x="467" y="443"/>
                  </a:lnTo>
                  <a:lnTo>
                    <a:pt x="471" y="429"/>
                  </a:lnTo>
                  <a:lnTo>
                    <a:pt x="475" y="414"/>
                  </a:lnTo>
                  <a:lnTo>
                    <a:pt x="483" y="382"/>
                  </a:lnTo>
                  <a:lnTo>
                    <a:pt x="488" y="354"/>
                  </a:lnTo>
                  <a:lnTo>
                    <a:pt x="495" y="332"/>
                  </a:lnTo>
                  <a:lnTo>
                    <a:pt x="499" y="305"/>
                  </a:lnTo>
                  <a:lnTo>
                    <a:pt x="504" y="274"/>
                  </a:lnTo>
                  <a:lnTo>
                    <a:pt x="508" y="242"/>
                  </a:lnTo>
                  <a:lnTo>
                    <a:pt x="515" y="209"/>
                  </a:lnTo>
                  <a:lnTo>
                    <a:pt x="521" y="177"/>
                  </a:lnTo>
                  <a:lnTo>
                    <a:pt x="525" y="161"/>
                  </a:lnTo>
                  <a:lnTo>
                    <a:pt x="531" y="146"/>
                  </a:lnTo>
                  <a:lnTo>
                    <a:pt x="536" y="133"/>
                  </a:lnTo>
                  <a:lnTo>
                    <a:pt x="543" y="120"/>
                  </a:lnTo>
                  <a:lnTo>
                    <a:pt x="521" y="108"/>
                  </a:lnTo>
                  <a:lnTo>
                    <a:pt x="497" y="92"/>
                  </a:lnTo>
                  <a:lnTo>
                    <a:pt x="471" y="72"/>
                  </a:lnTo>
                  <a:lnTo>
                    <a:pt x="443" y="50"/>
                  </a:lnTo>
                  <a:lnTo>
                    <a:pt x="415" y="32"/>
                  </a:lnTo>
                  <a:lnTo>
                    <a:pt x="388" y="14"/>
                  </a:lnTo>
                  <a:lnTo>
                    <a:pt x="376" y="9"/>
                  </a:lnTo>
                  <a:lnTo>
                    <a:pt x="364" y="4"/>
                  </a:lnTo>
                  <a:lnTo>
                    <a:pt x="353" y="1"/>
                  </a:lnTo>
                  <a:lnTo>
                    <a:pt x="344" y="0"/>
                  </a:lnTo>
                  <a:lnTo>
                    <a:pt x="336" y="0"/>
                  </a:lnTo>
                  <a:lnTo>
                    <a:pt x="329" y="1"/>
                  </a:lnTo>
                  <a:lnTo>
                    <a:pt x="324" y="4"/>
                  </a:lnTo>
                  <a:lnTo>
                    <a:pt x="319" y="8"/>
                  </a:lnTo>
                  <a:lnTo>
                    <a:pt x="313" y="10"/>
                  </a:lnTo>
                  <a:lnTo>
                    <a:pt x="308" y="16"/>
                  </a:lnTo>
                  <a:lnTo>
                    <a:pt x="304" y="21"/>
                  </a:lnTo>
                  <a:lnTo>
                    <a:pt x="300" y="26"/>
                  </a:lnTo>
                  <a:lnTo>
                    <a:pt x="292" y="40"/>
                  </a:lnTo>
                  <a:lnTo>
                    <a:pt x="285" y="54"/>
                  </a:lnTo>
                  <a:lnTo>
                    <a:pt x="280" y="70"/>
                  </a:lnTo>
                  <a:lnTo>
                    <a:pt x="273" y="86"/>
                  </a:lnTo>
                  <a:lnTo>
                    <a:pt x="268" y="104"/>
                  </a:lnTo>
                  <a:lnTo>
                    <a:pt x="261" y="118"/>
                  </a:lnTo>
                  <a:lnTo>
                    <a:pt x="255" y="134"/>
                  </a:lnTo>
                  <a:lnTo>
                    <a:pt x="247" y="146"/>
                  </a:lnTo>
                  <a:lnTo>
                    <a:pt x="241" y="153"/>
                  </a:lnTo>
                  <a:lnTo>
                    <a:pt x="237" y="158"/>
                  </a:lnTo>
                  <a:lnTo>
                    <a:pt x="232" y="162"/>
                  </a:lnTo>
                  <a:lnTo>
                    <a:pt x="227" y="166"/>
                  </a:lnTo>
                  <a:lnTo>
                    <a:pt x="220" y="170"/>
                  </a:lnTo>
                  <a:lnTo>
                    <a:pt x="213" y="172"/>
                  </a:lnTo>
                  <a:lnTo>
                    <a:pt x="207" y="174"/>
                  </a:lnTo>
                  <a:lnTo>
                    <a:pt x="199" y="174"/>
                  </a:lnTo>
                  <a:lnTo>
                    <a:pt x="191" y="173"/>
                  </a:lnTo>
                  <a:lnTo>
                    <a:pt x="185" y="170"/>
                  </a:lnTo>
                  <a:lnTo>
                    <a:pt x="181" y="166"/>
                  </a:lnTo>
                  <a:lnTo>
                    <a:pt x="177" y="162"/>
                  </a:lnTo>
                  <a:lnTo>
                    <a:pt x="175" y="158"/>
                  </a:lnTo>
                  <a:lnTo>
                    <a:pt x="171" y="154"/>
                  </a:lnTo>
                  <a:lnTo>
                    <a:pt x="164" y="152"/>
                  </a:lnTo>
                  <a:lnTo>
                    <a:pt x="157" y="150"/>
                  </a:lnTo>
                  <a:lnTo>
                    <a:pt x="147" y="153"/>
                  </a:lnTo>
                  <a:lnTo>
                    <a:pt x="131" y="160"/>
                  </a:lnTo>
                  <a:lnTo>
                    <a:pt x="123" y="164"/>
                  </a:lnTo>
                  <a:lnTo>
                    <a:pt x="115" y="168"/>
                  </a:lnTo>
                  <a:lnTo>
                    <a:pt x="111" y="172"/>
                  </a:lnTo>
                  <a:lnTo>
                    <a:pt x="108" y="174"/>
                  </a:lnTo>
                  <a:lnTo>
                    <a:pt x="105" y="184"/>
                  </a:lnTo>
                  <a:lnTo>
                    <a:pt x="103" y="196"/>
                  </a:lnTo>
                  <a:lnTo>
                    <a:pt x="101" y="209"/>
                  </a:lnTo>
                  <a:lnTo>
                    <a:pt x="100" y="224"/>
                  </a:lnTo>
                  <a:lnTo>
                    <a:pt x="99" y="238"/>
                  </a:lnTo>
                  <a:lnTo>
                    <a:pt x="97" y="254"/>
                  </a:lnTo>
                  <a:lnTo>
                    <a:pt x="95" y="269"/>
                  </a:lnTo>
                  <a:lnTo>
                    <a:pt x="91" y="282"/>
                  </a:lnTo>
                  <a:lnTo>
                    <a:pt x="88" y="292"/>
                  </a:lnTo>
                  <a:lnTo>
                    <a:pt x="84" y="298"/>
                  </a:lnTo>
                  <a:lnTo>
                    <a:pt x="79" y="305"/>
                  </a:lnTo>
                  <a:lnTo>
                    <a:pt x="73" y="310"/>
                  </a:lnTo>
                  <a:lnTo>
                    <a:pt x="60" y="321"/>
                  </a:lnTo>
                  <a:lnTo>
                    <a:pt x="47" y="330"/>
                  </a:lnTo>
                  <a:lnTo>
                    <a:pt x="40" y="336"/>
                  </a:lnTo>
                  <a:lnTo>
                    <a:pt x="33" y="342"/>
                  </a:lnTo>
                  <a:lnTo>
                    <a:pt x="28" y="348"/>
                  </a:lnTo>
                  <a:lnTo>
                    <a:pt x="23" y="356"/>
                  </a:lnTo>
                  <a:lnTo>
                    <a:pt x="19" y="364"/>
                  </a:lnTo>
                  <a:lnTo>
                    <a:pt x="15" y="373"/>
                  </a:lnTo>
                  <a:lnTo>
                    <a:pt x="13" y="385"/>
                  </a:lnTo>
                  <a:lnTo>
                    <a:pt x="12" y="397"/>
                  </a:lnTo>
                  <a:lnTo>
                    <a:pt x="13" y="414"/>
                  </a:lnTo>
                  <a:lnTo>
                    <a:pt x="15" y="430"/>
                  </a:lnTo>
                  <a:lnTo>
                    <a:pt x="15" y="449"/>
                  </a:lnTo>
                  <a:lnTo>
                    <a:pt x="12" y="469"/>
                  </a:lnTo>
                  <a:lnTo>
                    <a:pt x="7" y="478"/>
                  </a:lnTo>
                  <a:lnTo>
                    <a:pt x="0" y="487"/>
                  </a:lnTo>
                  <a:lnTo>
                    <a:pt x="1" y="495"/>
                  </a:lnTo>
                  <a:lnTo>
                    <a:pt x="3" y="502"/>
                  </a:lnTo>
                  <a:lnTo>
                    <a:pt x="5" y="507"/>
                  </a:lnTo>
                  <a:lnTo>
                    <a:pt x="8" y="514"/>
                  </a:lnTo>
                  <a:lnTo>
                    <a:pt x="12" y="518"/>
                  </a:lnTo>
                  <a:lnTo>
                    <a:pt x="17" y="523"/>
                  </a:lnTo>
                  <a:lnTo>
                    <a:pt x="23" y="527"/>
                  </a:lnTo>
                  <a:lnTo>
                    <a:pt x="28" y="530"/>
                  </a:lnTo>
                  <a:lnTo>
                    <a:pt x="40" y="535"/>
                  </a:lnTo>
                  <a:lnTo>
                    <a:pt x="53" y="539"/>
                  </a:lnTo>
                  <a:lnTo>
                    <a:pt x="67" y="541"/>
                  </a:lnTo>
                  <a:lnTo>
                    <a:pt x="79" y="542"/>
                  </a:lnTo>
                  <a:lnTo>
                    <a:pt x="101" y="543"/>
                  </a:lnTo>
                  <a:lnTo>
                    <a:pt x="127" y="549"/>
                  </a:lnTo>
                  <a:lnTo>
                    <a:pt x="139" y="549"/>
                  </a:lnTo>
                  <a:lnTo>
                    <a:pt x="151" y="549"/>
                  </a:lnTo>
                  <a:lnTo>
                    <a:pt x="157" y="549"/>
                  </a:lnTo>
                  <a:lnTo>
                    <a:pt x="163" y="546"/>
                  </a:lnTo>
                  <a:lnTo>
                    <a:pt x="169" y="545"/>
                  </a:lnTo>
                  <a:lnTo>
                    <a:pt x="175" y="542"/>
                  </a:lnTo>
                  <a:lnTo>
                    <a:pt x="171" y="530"/>
                  </a:lnTo>
                  <a:lnTo>
                    <a:pt x="167" y="523"/>
                  </a:lnTo>
                  <a:lnTo>
                    <a:pt x="164" y="515"/>
                  </a:lnTo>
                  <a:lnTo>
                    <a:pt x="163" y="505"/>
                  </a:lnTo>
                  <a:lnTo>
                    <a:pt x="164" y="501"/>
                  </a:lnTo>
                  <a:lnTo>
                    <a:pt x="167" y="497"/>
                  </a:lnTo>
                  <a:lnTo>
                    <a:pt x="171" y="494"/>
                  </a:lnTo>
                  <a:lnTo>
                    <a:pt x="176" y="491"/>
                  </a:lnTo>
                  <a:lnTo>
                    <a:pt x="188" y="486"/>
                  </a:lnTo>
                  <a:lnTo>
                    <a:pt x="199" y="481"/>
                  </a:lnTo>
                  <a:lnTo>
                    <a:pt x="235" y="481"/>
                  </a:lnTo>
                  <a:lnTo>
                    <a:pt x="235" y="517"/>
                  </a:lnTo>
                  <a:lnTo>
                    <a:pt x="223" y="530"/>
                  </a:lnTo>
                  <a:lnTo>
                    <a:pt x="213" y="542"/>
                  </a:lnTo>
                  <a:lnTo>
                    <a:pt x="209" y="549"/>
                  </a:lnTo>
                  <a:lnTo>
                    <a:pt x="207" y="555"/>
                  </a:lnTo>
                  <a:lnTo>
                    <a:pt x="205" y="563"/>
                  </a:lnTo>
                  <a:lnTo>
                    <a:pt x="205" y="571"/>
                  </a:lnTo>
                  <a:lnTo>
                    <a:pt x="259" y="571"/>
                  </a:lnTo>
                  <a:lnTo>
                    <a:pt x="259" y="577"/>
                  </a:lnTo>
                  <a:lnTo>
                    <a:pt x="257" y="582"/>
                  </a:lnTo>
                  <a:lnTo>
                    <a:pt x="256" y="586"/>
                  </a:lnTo>
                  <a:lnTo>
                    <a:pt x="255" y="591"/>
                  </a:lnTo>
                  <a:lnTo>
                    <a:pt x="248" y="598"/>
                  </a:lnTo>
                  <a:lnTo>
                    <a:pt x="241" y="605"/>
                  </a:lnTo>
                  <a:lnTo>
                    <a:pt x="233" y="610"/>
                  </a:lnTo>
                  <a:lnTo>
                    <a:pt x="224" y="614"/>
                  </a:lnTo>
                  <a:lnTo>
                    <a:pt x="215" y="617"/>
                  </a:lnTo>
                  <a:lnTo>
                    <a:pt x="205" y="619"/>
                  </a:lnTo>
                  <a:lnTo>
                    <a:pt x="205" y="643"/>
                  </a:lnTo>
                  <a:lnTo>
                    <a:pt x="213" y="647"/>
                  </a:lnTo>
                  <a:lnTo>
                    <a:pt x="219" y="650"/>
                  </a:lnTo>
                  <a:lnTo>
                    <a:pt x="224" y="650"/>
                  </a:lnTo>
                  <a:lnTo>
                    <a:pt x="228" y="650"/>
                  </a:lnTo>
                  <a:lnTo>
                    <a:pt x="236" y="649"/>
                  </a:lnTo>
                  <a:lnTo>
                    <a:pt x="247" y="643"/>
                  </a:lnTo>
                  <a:lnTo>
                    <a:pt x="253" y="64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5" name="Freeform 121"/>
            <p:cNvSpPr>
              <a:spLocks/>
            </p:cNvSpPr>
            <p:nvPr/>
          </p:nvSpPr>
          <p:spPr bwMode="auto">
            <a:xfrm>
              <a:off x="4383409" y="3611563"/>
              <a:ext cx="993775" cy="1328737"/>
            </a:xfrm>
            <a:custGeom>
              <a:avLst/>
              <a:gdLst/>
              <a:ahLst/>
              <a:cxnLst>
                <a:cxn ang="0">
                  <a:pos x="112" y="962"/>
                </a:cxn>
                <a:cxn ang="0">
                  <a:pos x="43" y="1030"/>
                </a:cxn>
                <a:cxn ang="0">
                  <a:pos x="46" y="1106"/>
                </a:cxn>
                <a:cxn ang="0">
                  <a:pos x="19" y="1211"/>
                </a:cxn>
                <a:cxn ang="0">
                  <a:pos x="48" y="1314"/>
                </a:cxn>
                <a:cxn ang="0">
                  <a:pos x="103" y="1414"/>
                </a:cxn>
                <a:cxn ang="0">
                  <a:pos x="298" y="1503"/>
                </a:cxn>
                <a:cxn ang="0">
                  <a:pos x="372" y="1632"/>
                </a:cxn>
                <a:cxn ang="0">
                  <a:pos x="328" y="1792"/>
                </a:cxn>
                <a:cxn ang="0">
                  <a:pos x="222" y="1971"/>
                </a:cxn>
                <a:cxn ang="0">
                  <a:pos x="186" y="2059"/>
                </a:cxn>
                <a:cxn ang="0">
                  <a:pos x="236" y="2205"/>
                </a:cxn>
                <a:cxn ang="0">
                  <a:pos x="315" y="2401"/>
                </a:cxn>
                <a:cxn ang="0">
                  <a:pos x="416" y="2319"/>
                </a:cxn>
                <a:cxn ang="0">
                  <a:pos x="469" y="2269"/>
                </a:cxn>
                <a:cxn ang="0">
                  <a:pos x="515" y="2248"/>
                </a:cxn>
                <a:cxn ang="0">
                  <a:pos x="637" y="2291"/>
                </a:cxn>
                <a:cxn ang="0">
                  <a:pos x="747" y="2307"/>
                </a:cxn>
                <a:cxn ang="0">
                  <a:pos x="747" y="2472"/>
                </a:cxn>
                <a:cxn ang="0">
                  <a:pos x="740" y="2600"/>
                </a:cxn>
                <a:cxn ang="0">
                  <a:pos x="940" y="2661"/>
                </a:cxn>
                <a:cxn ang="0">
                  <a:pos x="1083" y="2596"/>
                </a:cxn>
                <a:cxn ang="0">
                  <a:pos x="1228" y="2544"/>
                </a:cxn>
                <a:cxn ang="0">
                  <a:pos x="1552" y="2547"/>
                </a:cxn>
                <a:cxn ang="0">
                  <a:pos x="1686" y="2655"/>
                </a:cxn>
                <a:cxn ang="0">
                  <a:pos x="1764" y="2624"/>
                </a:cxn>
                <a:cxn ang="0">
                  <a:pos x="1928" y="2740"/>
                </a:cxn>
                <a:cxn ang="0">
                  <a:pos x="1981" y="2655"/>
                </a:cxn>
                <a:cxn ang="0">
                  <a:pos x="1998" y="2557"/>
                </a:cxn>
                <a:cxn ang="0">
                  <a:pos x="1930" y="2468"/>
                </a:cxn>
                <a:cxn ang="0">
                  <a:pos x="1990" y="2357"/>
                </a:cxn>
                <a:cxn ang="0">
                  <a:pos x="1837" y="2204"/>
                </a:cxn>
                <a:cxn ang="0">
                  <a:pos x="1856" y="2075"/>
                </a:cxn>
                <a:cxn ang="0">
                  <a:pos x="1921" y="1979"/>
                </a:cxn>
                <a:cxn ang="0">
                  <a:pos x="1967" y="1880"/>
                </a:cxn>
                <a:cxn ang="0">
                  <a:pos x="1958" y="1792"/>
                </a:cxn>
                <a:cxn ang="0">
                  <a:pos x="1974" y="1694"/>
                </a:cxn>
                <a:cxn ang="0">
                  <a:pos x="1906" y="1575"/>
                </a:cxn>
                <a:cxn ang="0">
                  <a:pos x="1928" y="1490"/>
                </a:cxn>
                <a:cxn ang="0">
                  <a:pos x="1914" y="1387"/>
                </a:cxn>
                <a:cxn ang="0">
                  <a:pos x="2045" y="1313"/>
                </a:cxn>
                <a:cxn ang="0">
                  <a:pos x="1910" y="1266"/>
                </a:cxn>
                <a:cxn ang="0">
                  <a:pos x="1770" y="1175"/>
                </a:cxn>
                <a:cxn ang="0">
                  <a:pos x="1822" y="1022"/>
                </a:cxn>
                <a:cxn ang="0">
                  <a:pos x="1733" y="866"/>
                </a:cxn>
                <a:cxn ang="0">
                  <a:pos x="1718" y="730"/>
                </a:cxn>
                <a:cxn ang="0">
                  <a:pos x="1620" y="662"/>
                </a:cxn>
                <a:cxn ang="0">
                  <a:pos x="1710" y="548"/>
                </a:cxn>
                <a:cxn ang="0">
                  <a:pos x="1604" y="123"/>
                </a:cxn>
                <a:cxn ang="0">
                  <a:pos x="1493" y="64"/>
                </a:cxn>
                <a:cxn ang="0">
                  <a:pos x="1409" y="48"/>
                </a:cxn>
                <a:cxn ang="0">
                  <a:pos x="1342" y="100"/>
                </a:cxn>
                <a:cxn ang="0">
                  <a:pos x="1120" y="60"/>
                </a:cxn>
                <a:cxn ang="0">
                  <a:pos x="1031" y="72"/>
                </a:cxn>
                <a:cxn ang="0">
                  <a:pos x="941" y="16"/>
                </a:cxn>
                <a:cxn ang="0">
                  <a:pos x="880" y="71"/>
                </a:cxn>
                <a:cxn ang="0">
                  <a:pos x="741" y="100"/>
                </a:cxn>
                <a:cxn ang="0">
                  <a:pos x="552" y="293"/>
                </a:cxn>
                <a:cxn ang="0">
                  <a:pos x="440" y="452"/>
                </a:cxn>
                <a:cxn ang="0">
                  <a:pos x="323" y="606"/>
                </a:cxn>
              </a:cxnLst>
              <a:rect l="0" t="0" r="r" b="b"/>
              <a:pathLst>
                <a:path w="2047" h="2740">
                  <a:moveTo>
                    <a:pt x="271" y="686"/>
                  </a:moveTo>
                  <a:lnTo>
                    <a:pt x="251" y="725"/>
                  </a:lnTo>
                  <a:lnTo>
                    <a:pt x="230" y="760"/>
                  </a:lnTo>
                  <a:lnTo>
                    <a:pt x="210" y="792"/>
                  </a:lnTo>
                  <a:lnTo>
                    <a:pt x="188" y="822"/>
                  </a:lnTo>
                  <a:lnTo>
                    <a:pt x="168" y="853"/>
                  </a:lnTo>
                  <a:lnTo>
                    <a:pt x="150" y="885"/>
                  </a:lnTo>
                  <a:lnTo>
                    <a:pt x="140" y="901"/>
                  </a:lnTo>
                  <a:lnTo>
                    <a:pt x="131" y="919"/>
                  </a:lnTo>
                  <a:lnTo>
                    <a:pt x="123" y="938"/>
                  </a:lnTo>
                  <a:lnTo>
                    <a:pt x="115" y="957"/>
                  </a:lnTo>
                  <a:lnTo>
                    <a:pt x="112" y="962"/>
                  </a:lnTo>
                  <a:lnTo>
                    <a:pt x="108" y="967"/>
                  </a:lnTo>
                  <a:lnTo>
                    <a:pt x="103" y="971"/>
                  </a:lnTo>
                  <a:lnTo>
                    <a:pt x="99" y="974"/>
                  </a:lnTo>
                  <a:lnTo>
                    <a:pt x="87" y="981"/>
                  </a:lnTo>
                  <a:lnTo>
                    <a:pt x="74" y="986"/>
                  </a:lnTo>
                  <a:lnTo>
                    <a:pt x="62" y="991"/>
                  </a:lnTo>
                  <a:lnTo>
                    <a:pt x="52" y="999"/>
                  </a:lnTo>
                  <a:lnTo>
                    <a:pt x="48" y="1005"/>
                  </a:lnTo>
                  <a:lnTo>
                    <a:pt x="46" y="1010"/>
                  </a:lnTo>
                  <a:lnTo>
                    <a:pt x="43" y="1015"/>
                  </a:lnTo>
                  <a:lnTo>
                    <a:pt x="43" y="1023"/>
                  </a:lnTo>
                  <a:lnTo>
                    <a:pt x="43" y="1030"/>
                  </a:lnTo>
                  <a:lnTo>
                    <a:pt x="46" y="1035"/>
                  </a:lnTo>
                  <a:lnTo>
                    <a:pt x="50" y="1041"/>
                  </a:lnTo>
                  <a:lnTo>
                    <a:pt x="55" y="1045"/>
                  </a:lnTo>
                  <a:lnTo>
                    <a:pt x="59" y="1050"/>
                  </a:lnTo>
                  <a:lnTo>
                    <a:pt x="63" y="1057"/>
                  </a:lnTo>
                  <a:lnTo>
                    <a:pt x="66" y="1063"/>
                  </a:lnTo>
                  <a:lnTo>
                    <a:pt x="67" y="1071"/>
                  </a:lnTo>
                  <a:lnTo>
                    <a:pt x="66" y="1078"/>
                  </a:lnTo>
                  <a:lnTo>
                    <a:pt x="64" y="1085"/>
                  </a:lnTo>
                  <a:lnTo>
                    <a:pt x="60" y="1090"/>
                  </a:lnTo>
                  <a:lnTo>
                    <a:pt x="56" y="1095"/>
                  </a:lnTo>
                  <a:lnTo>
                    <a:pt x="46" y="1106"/>
                  </a:lnTo>
                  <a:lnTo>
                    <a:pt x="34" y="1115"/>
                  </a:lnTo>
                  <a:lnTo>
                    <a:pt x="22" y="1127"/>
                  </a:lnTo>
                  <a:lnTo>
                    <a:pt x="11" y="1141"/>
                  </a:lnTo>
                  <a:lnTo>
                    <a:pt x="7" y="1147"/>
                  </a:lnTo>
                  <a:lnTo>
                    <a:pt x="3" y="1155"/>
                  </a:lnTo>
                  <a:lnTo>
                    <a:pt x="2" y="1165"/>
                  </a:lnTo>
                  <a:lnTo>
                    <a:pt x="0" y="1174"/>
                  </a:lnTo>
                  <a:lnTo>
                    <a:pt x="2" y="1182"/>
                  </a:lnTo>
                  <a:lnTo>
                    <a:pt x="3" y="1190"/>
                  </a:lnTo>
                  <a:lnTo>
                    <a:pt x="6" y="1197"/>
                  </a:lnTo>
                  <a:lnTo>
                    <a:pt x="10" y="1202"/>
                  </a:lnTo>
                  <a:lnTo>
                    <a:pt x="19" y="1211"/>
                  </a:lnTo>
                  <a:lnTo>
                    <a:pt x="31" y="1218"/>
                  </a:lnTo>
                  <a:lnTo>
                    <a:pt x="42" y="1226"/>
                  </a:lnTo>
                  <a:lnTo>
                    <a:pt x="51" y="1234"/>
                  </a:lnTo>
                  <a:lnTo>
                    <a:pt x="55" y="1239"/>
                  </a:lnTo>
                  <a:lnTo>
                    <a:pt x="58" y="1245"/>
                  </a:lnTo>
                  <a:lnTo>
                    <a:pt x="60" y="1251"/>
                  </a:lnTo>
                  <a:lnTo>
                    <a:pt x="60" y="1258"/>
                  </a:lnTo>
                  <a:lnTo>
                    <a:pt x="60" y="1271"/>
                  </a:lnTo>
                  <a:lnTo>
                    <a:pt x="58" y="1282"/>
                  </a:lnTo>
                  <a:lnTo>
                    <a:pt x="55" y="1293"/>
                  </a:lnTo>
                  <a:lnTo>
                    <a:pt x="51" y="1303"/>
                  </a:lnTo>
                  <a:lnTo>
                    <a:pt x="48" y="1314"/>
                  </a:lnTo>
                  <a:lnTo>
                    <a:pt x="46" y="1325"/>
                  </a:lnTo>
                  <a:lnTo>
                    <a:pt x="43" y="1335"/>
                  </a:lnTo>
                  <a:lnTo>
                    <a:pt x="43" y="1349"/>
                  </a:lnTo>
                  <a:lnTo>
                    <a:pt x="43" y="1358"/>
                  </a:lnTo>
                  <a:lnTo>
                    <a:pt x="46" y="1367"/>
                  </a:lnTo>
                  <a:lnTo>
                    <a:pt x="50" y="1375"/>
                  </a:lnTo>
                  <a:lnTo>
                    <a:pt x="55" y="1383"/>
                  </a:lnTo>
                  <a:lnTo>
                    <a:pt x="62" y="1390"/>
                  </a:lnTo>
                  <a:lnTo>
                    <a:pt x="68" y="1395"/>
                  </a:lnTo>
                  <a:lnTo>
                    <a:pt x="76" y="1401"/>
                  </a:lnTo>
                  <a:lnTo>
                    <a:pt x="86" y="1406"/>
                  </a:lnTo>
                  <a:lnTo>
                    <a:pt x="103" y="1414"/>
                  </a:lnTo>
                  <a:lnTo>
                    <a:pt x="122" y="1419"/>
                  </a:lnTo>
                  <a:lnTo>
                    <a:pt x="138" y="1425"/>
                  </a:lnTo>
                  <a:lnTo>
                    <a:pt x="151" y="1427"/>
                  </a:lnTo>
                  <a:lnTo>
                    <a:pt x="182" y="1437"/>
                  </a:lnTo>
                  <a:lnTo>
                    <a:pt x="211" y="1447"/>
                  </a:lnTo>
                  <a:lnTo>
                    <a:pt x="224" y="1454"/>
                  </a:lnTo>
                  <a:lnTo>
                    <a:pt x="238" y="1461"/>
                  </a:lnTo>
                  <a:lnTo>
                    <a:pt x="251" y="1469"/>
                  </a:lnTo>
                  <a:lnTo>
                    <a:pt x="263" y="1475"/>
                  </a:lnTo>
                  <a:lnTo>
                    <a:pt x="275" y="1485"/>
                  </a:lnTo>
                  <a:lnTo>
                    <a:pt x="287" y="1494"/>
                  </a:lnTo>
                  <a:lnTo>
                    <a:pt x="298" y="1503"/>
                  </a:lnTo>
                  <a:lnTo>
                    <a:pt x="307" y="1514"/>
                  </a:lnTo>
                  <a:lnTo>
                    <a:pt x="318" y="1526"/>
                  </a:lnTo>
                  <a:lnTo>
                    <a:pt x="327" y="1538"/>
                  </a:lnTo>
                  <a:lnTo>
                    <a:pt x="335" y="1551"/>
                  </a:lnTo>
                  <a:lnTo>
                    <a:pt x="344" y="1566"/>
                  </a:lnTo>
                  <a:lnTo>
                    <a:pt x="354" y="1580"/>
                  </a:lnTo>
                  <a:lnTo>
                    <a:pt x="363" y="1592"/>
                  </a:lnTo>
                  <a:lnTo>
                    <a:pt x="367" y="1598"/>
                  </a:lnTo>
                  <a:lnTo>
                    <a:pt x="371" y="1604"/>
                  </a:lnTo>
                  <a:lnTo>
                    <a:pt x="374" y="1611"/>
                  </a:lnTo>
                  <a:lnTo>
                    <a:pt x="374" y="1619"/>
                  </a:lnTo>
                  <a:lnTo>
                    <a:pt x="372" y="1632"/>
                  </a:lnTo>
                  <a:lnTo>
                    <a:pt x="368" y="1644"/>
                  </a:lnTo>
                  <a:lnTo>
                    <a:pt x="363" y="1656"/>
                  </a:lnTo>
                  <a:lnTo>
                    <a:pt x="358" y="1667"/>
                  </a:lnTo>
                  <a:lnTo>
                    <a:pt x="343" y="1688"/>
                  </a:lnTo>
                  <a:lnTo>
                    <a:pt x="332" y="1710"/>
                  </a:lnTo>
                  <a:lnTo>
                    <a:pt x="328" y="1722"/>
                  </a:lnTo>
                  <a:lnTo>
                    <a:pt x="327" y="1732"/>
                  </a:lnTo>
                  <a:lnTo>
                    <a:pt x="327" y="1744"/>
                  </a:lnTo>
                  <a:lnTo>
                    <a:pt x="328" y="1756"/>
                  </a:lnTo>
                  <a:lnTo>
                    <a:pt x="330" y="1768"/>
                  </a:lnTo>
                  <a:lnTo>
                    <a:pt x="330" y="1780"/>
                  </a:lnTo>
                  <a:lnTo>
                    <a:pt x="328" y="1792"/>
                  </a:lnTo>
                  <a:lnTo>
                    <a:pt x="326" y="1806"/>
                  </a:lnTo>
                  <a:lnTo>
                    <a:pt x="311" y="1835"/>
                  </a:lnTo>
                  <a:lnTo>
                    <a:pt x="288" y="1871"/>
                  </a:lnTo>
                  <a:lnTo>
                    <a:pt x="276" y="1890"/>
                  </a:lnTo>
                  <a:lnTo>
                    <a:pt x="266" y="1910"/>
                  </a:lnTo>
                  <a:lnTo>
                    <a:pt x="255" y="1928"/>
                  </a:lnTo>
                  <a:lnTo>
                    <a:pt x="247" y="1944"/>
                  </a:lnTo>
                  <a:lnTo>
                    <a:pt x="244" y="1951"/>
                  </a:lnTo>
                  <a:lnTo>
                    <a:pt x="242" y="1956"/>
                  </a:lnTo>
                  <a:lnTo>
                    <a:pt x="236" y="1960"/>
                  </a:lnTo>
                  <a:lnTo>
                    <a:pt x="232" y="1964"/>
                  </a:lnTo>
                  <a:lnTo>
                    <a:pt x="222" y="1971"/>
                  </a:lnTo>
                  <a:lnTo>
                    <a:pt x="210" y="1978"/>
                  </a:lnTo>
                  <a:lnTo>
                    <a:pt x="204" y="1982"/>
                  </a:lnTo>
                  <a:lnTo>
                    <a:pt x="199" y="1986"/>
                  </a:lnTo>
                  <a:lnTo>
                    <a:pt x="194" y="1990"/>
                  </a:lnTo>
                  <a:lnTo>
                    <a:pt x="190" y="1995"/>
                  </a:lnTo>
                  <a:lnTo>
                    <a:pt x="186" y="2002"/>
                  </a:lnTo>
                  <a:lnTo>
                    <a:pt x="183" y="2010"/>
                  </a:lnTo>
                  <a:lnTo>
                    <a:pt x="182" y="2019"/>
                  </a:lnTo>
                  <a:lnTo>
                    <a:pt x="182" y="2030"/>
                  </a:lnTo>
                  <a:lnTo>
                    <a:pt x="182" y="2040"/>
                  </a:lnTo>
                  <a:lnTo>
                    <a:pt x="183" y="2050"/>
                  </a:lnTo>
                  <a:lnTo>
                    <a:pt x="186" y="2059"/>
                  </a:lnTo>
                  <a:lnTo>
                    <a:pt x="188" y="2067"/>
                  </a:lnTo>
                  <a:lnTo>
                    <a:pt x="195" y="2081"/>
                  </a:lnTo>
                  <a:lnTo>
                    <a:pt x="203" y="2095"/>
                  </a:lnTo>
                  <a:lnTo>
                    <a:pt x="212" y="2107"/>
                  </a:lnTo>
                  <a:lnTo>
                    <a:pt x="222" y="2119"/>
                  </a:lnTo>
                  <a:lnTo>
                    <a:pt x="230" y="2131"/>
                  </a:lnTo>
                  <a:lnTo>
                    <a:pt x="235" y="2143"/>
                  </a:lnTo>
                  <a:lnTo>
                    <a:pt x="239" y="2155"/>
                  </a:lnTo>
                  <a:lnTo>
                    <a:pt x="240" y="2165"/>
                  </a:lnTo>
                  <a:lnTo>
                    <a:pt x="240" y="2175"/>
                  </a:lnTo>
                  <a:lnTo>
                    <a:pt x="240" y="2185"/>
                  </a:lnTo>
                  <a:lnTo>
                    <a:pt x="236" y="2205"/>
                  </a:lnTo>
                  <a:lnTo>
                    <a:pt x="235" y="2228"/>
                  </a:lnTo>
                  <a:lnTo>
                    <a:pt x="240" y="2252"/>
                  </a:lnTo>
                  <a:lnTo>
                    <a:pt x="246" y="2280"/>
                  </a:lnTo>
                  <a:lnTo>
                    <a:pt x="254" y="2309"/>
                  </a:lnTo>
                  <a:lnTo>
                    <a:pt x="263" y="2337"/>
                  </a:lnTo>
                  <a:lnTo>
                    <a:pt x="268" y="2351"/>
                  </a:lnTo>
                  <a:lnTo>
                    <a:pt x="274" y="2363"/>
                  </a:lnTo>
                  <a:lnTo>
                    <a:pt x="280" y="2373"/>
                  </a:lnTo>
                  <a:lnTo>
                    <a:pt x="288" y="2384"/>
                  </a:lnTo>
                  <a:lnTo>
                    <a:pt x="296" y="2391"/>
                  </a:lnTo>
                  <a:lnTo>
                    <a:pt x="304" y="2397"/>
                  </a:lnTo>
                  <a:lnTo>
                    <a:pt x="315" y="2401"/>
                  </a:lnTo>
                  <a:lnTo>
                    <a:pt x="326" y="2403"/>
                  </a:lnTo>
                  <a:lnTo>
                    <a:pt x="334" y="2401"/>
                  </a:lnTo>
                  <a:lnTo>
                    <a:pt x="342" y="2400"/>
                  </a:lnTo>
                  <a:lnTo>
                    <a:pt x="350" y="2397"/>
                  </a:lnTo>
                  <a:lnTo>
                    <a:pt x="356" y="2393"/>
                  </a:lnTo>
                  <a:lnTo>
                    <a:pt x="364" y="2388"/>
                  </a:lnTo>
                  <a:lnTo>
                    <a:pt x="371" y="2383"/>
                  </a:lnTo>
                  <a:lnTo>
                    <a:pt x="379" y="2376"/>
                  </a:lnTo>
                  <a:lnTo>
                    <a:pt x="386" y="2369"/>
                  </a:lnTo>
                  <a:lnTo>
                    <a:pt x="398" y="2353"/>
                  </a:lnTo>
                  <a:lnTo>
                    <a:pt x="408" y="2336"/>
                  </a:lnTo>
                  <a:lnTo>
                    <a:pt x="416" y="2319"/>
                  </a:lnTo>
                  <a:lnTo>
                    <a:pt x="421" y="2300"/>
                  </a:lnTo>
                  <a:lnTo>
                    <a:pt x="435" y="2303"/>
                  </a:lnTo>
                  <a:lnTo>
                    <a:pt x="441" y="2305"/>
                  </a:lnTo>
                  <a:lnTo>
                    <a:pt x="445" y="2305"/>
                  </a:lnTo>
                  <a:lnTo>
                    <a:pt x="452" y="2305"/>
                  </a:lnTo>
                  <a:lnTo>
                    <a:pt x="456" y="2303"/>
                  </a:lnTo>
                  <a:lnTo>
                    <a:pt x="460" y="2300"/>
                  </a:lnTo>
                  <a:lnTo>
                    <a:pt x="463" y="2297"/>
                  </a:lnTo>
                  <a:lnTo>
                    <a:pt x="465" y="2293"/>
                  </a:lnTo>
                  <a:lnTo>
                    <a:pt x="469" y="2284"/>
                  </a:lnTo>
                  <a:lnTo>
                    <a:pt x="469" y="2276"/>
                  </a:lnTo>
                  <a:lnTo>
                    <a:pt x="469" y="2269"/>
                  </a:lnTo>
                  <a:lnTo>
                    <a:pt x="467" y="2263"/>
                  </a:lnTo>
                  <a:lnTo>
                    <a:pt x="464" y="2257"/>
                  </a:lnTo>
                  <a:lnTo>
                    <a:pt x="461" y="2252"/>
                  </a:lnTo>
                  <a:lnTo>
                    <a:pt x="457" y="2245"/>
                  </a:lnTo>
                  <a:lnTo>
                    <a:pt x="455" y="2240"/>
                  </a:lnTo>
                  <a:lnTo>
                    <a:pt x="452" y="2235"/>
                  </a:lnTo>
                  <a:lnTo>
                    <a:pt x="452" y="2228"/>
                  </a:lnTo>
                  <a:lnTo>
                    <a:pt x="488" y="2228"/>
                  </a:lnTo>
                  <a:lnTo>
                    <a:pt x="496" y="2232"/>
                  </a:lnTo>
                  <a:lnTo>
                    <a:pt x="503" y="2236"/>
                  </a:lnTo>
                  <a:lnTo>
                    <a:pt x="508" y="2241"/>
                  </a:lnTo>
                  <a:lnTo>
                    <a:pt x="515" y="2248"/>
                  </a:lnTo>
                  <a:lnTo>
                    <a:pt x="524" y="2260"/>
                  </a:lnTo>
                  <a:lnTo>
                    <a:pt x="533" y="2273"/>
                  </a:lnTo>
                  <a:lnTo>
                    <a:pt x="544" y="2285"/>
                  </a:lnTo>
                  <a:lnTo>
                    <a:pt x="555" y="2296"/>
                  </a:lnTo>
                  <a:lnTo>
                    <a:pt x="561" y="2300"/>
                  </a:lnTo>
                  <a:lnTo>
                    <a:pt x="568" y="2303"/>
                  </a:lnTo>
                  <a:lnTo>
                    <a:pt x="576" y="2305"/>
                  </a:lnTo>
                  <a:lnTo>
                    <a:pt x="584" y="2305"/>
                  </a:lnTo>
                  <a:lnTo>
                    <a:pt x="601" y="2304"/>
                  </a:lnTo>
                  <a:lnTo>
                    <a:pt x="615" y="2301"/>
                  </a:lnTo>
                  <a:lnTo>
                    <a:pt x="627" y="2296"/>
                  </a:lnTo>
                  <a:lnTo>
                    <a:pt x="637" y="2291"/>
                  </a:lnTo>
                  <a:lnTo>
                    <a:pt x="648" y="2285"/>
                  </a:lnTo>
                  <a:lnTo>
                    <a:pt x="660" y="2280"/>
                  </a:lnTo>
                  <a:lnTo>
                    <a:pt x="672" y="2277"/>
                  </a:lnTo>
                  <a:lnTo>
                    <a:pt x="687" y="2276"/>
                  </a:lnTo>
                  <a:lnTo>
                    <a:pt x="696" y="2276"/>
                  </a:lnTo>
                  <a:lnTo>
                    <a:pt x="705" y="2277"/>
                  </a:lnTo>
                  <a:lnTo>
                    <a:pt x="715" y="2280"/>
                  </a:lnTo>
                  <a:lnTo>
                    <a:pt x="721" y="2284"/>
                  </a:lnTo>
                  <a:lnTo>
                    <a:pt x="729" y="2288"/>
                  </a:lnTo>
                  <a:lnTo>
                    <a:pt x="736" y="2293"/>
                  </a:lnTo>
                  <a:lnTo>
                    <a:pt x="741" y="2300"/>
                  </a:lnTo>
                  <a:lnTo>
                    <a:pt x="747" y="2307"/>
                  </a:lnTo>
                  <a:lnTo>
                    <a:pt x="751" y="2313"/>
                  </a:lnTo>
                  <a:lnTo>
                    <a:pt x="755" y="2321"/>
                  </a:lnTo>
                  <a:lnTo>
                    <a:pt x="757" y="2331"/>
                  </a:lnTo>
                  <a:lnTo>
                    <a:pt x="760" y="2339"/>
                  </a:lnTo>
                  <a:lnTo>
                    <a:pt x="764" y="2359"/>
                  </a:lnTo>
                  <a:lnTo>
                    <a:pt x="765" y="2379"/>
                  </a:lnTo>
                  <a:lnTo>
                    <a:pt x="764" y="2393"/>
                  </a:lnTo>
                  <a:lnTo>
                    <a:pt x="764" y="2407"/>
                  </a:lnTo>
                  <a:lnTo>
                    <a:pt x="761" y="2420"/>
                  </a:lnTo>
                  <a:lnTo>
                    <a:pt x="760" y="2432"/>
                  </a:lnTo>
                  <a:lnTo>
                    <a:pt x="753" y="2452"/>
                  </a:lnTo>
                  <a:lnTo>
                    <a:pt x="747" y="2472"/>
                  </a:lnTo>
                  <a:lnTo>
                    <a:pt x="740" y="2489"/>
                  </a:lnTo>
                  <a:lnTo>
                    <a:pt x="735" y="2507"/>
                  </a:lnTo>
                  <a:lnTo>
                    <a:pt x="732" y="2516"/>
                  </a:lnTo>
                  <a:lnTo>
                    <a:pt x="731" y="2525"/>
                  </a:lnTo>
                  <a:lnTo>
                    <a:pt x="729" y="2536"/>
                  </a:lnTo>
                  <a:lnTo>
                    <a:pt x="729" y="2547"/>
                  </a:lnTo>
                  <a:lnTo>
                    <a:pt x="729" y="2557"/>
                  </a:lnTo>
                  <a:lnTo>
                    <a:pt x="731" y="2567"/>
                  </a:lnTo>
                  <a:lnTo>
                    <a:pt x="732" y="2576"/>
                  </a:lnTo>
                  <a:lnTo>
                    <a:pt x="733" y="2584"/>
                  </a:lnTo>
                  <a:lnTo>
                    <a:pt x="736" y="2592"/>
                  </a:lnTo>
                  <a:lnTo>
                    <a:pt x="740" y="2600"/>
                  </a:lnTo>
                  <a:lnTo>
                    <a:pt x="743" y="2607"/>
                  </a:lnTo>
                  <a:lnTo>
                    <a:pt x="748" y="2613"/>
                  </a:lnTo>
                  <a:lnTo>
                    <a:pt x="757" y="2624"/>
                  </a:lnTo>
                  <a:lnTo>
                    <a:pt x="768" y="2633"/>
                  </a:lnTo>
                  <a:lnTo>
                    <a:pt x="781" y="2641"/>
                  </a:lnTo>
                  <a:lnTo>
                    <a:pt x="796" y="2647"/>
                  </a:lnTo>
                  <a:lnTo>
                    <a:pt x="812" y="2652"/>
                  </a:lnTo>
                  <a:lnTo>
                    <a:pt x="828" y="2655"/>
                  </a:lnTo>
                  <a:lnTo>
                    <a:pt x="845" y="2657"/>
                  </a:lnTo>
                  <a:lnTo>
                    <a:pt x="864" y="2660"/>
                  </a:lnTo>
                  <a:lnTo>
                    <a:pt x="901" y="2661"/>
                  </a:lnTo>
                  <a:lnTo>
                    <a:pt x="940" y="2661"/>
                  </a:lnTo>
                  <a:lnTo>
                    <a:pt x="949" y="2661"/>
                  </a:lnTo>
                  <a:lnTo>
                    <a:pt x="959" y="2660"/>
                  </a:lnTo>
                  <a:lnTo>
                    <a:pt x="967" y="2659"/>
                  </a:lnTo>
                  <a:lnTo>
                    <a:pt x="973" y="2656"/>
                  </a:lnTo>
                  <a:lnTo>
                    <a:pt x="985" y="2651"/>
                  </a:lnTo>
                  <a:lnTo>
                    <a:pt x="996" y="2644"/>
                  </a:lnTo>
                  <a:lnTo>
                    <a:pt x="1013" y="2628"/>
                  </a:lnTo>
                  <a:lnTo>
                    <a:pt x="1031" y="2613"/>
                  </a:lnTo>
                  <a:lnTo>
                    <a:pt x="1044" y="2605"/>
                  </a:lnTo>
                  <a:lnTo>
                    <a:pt x="1056" y="2601"/>
                  </a:lnTo>
                  <a:lnTo>
                    <a:pt x="1069" y="2599"/>
                  </a:lnTo>
                  <a:lnTo>
                    <a:pt x="1083" y="2596"/>
                  </a:lnTo>
                  <a:lnTo>
                    <a:pt x="1097" y="2596"/>
                  </a:lnTo>
                  <a:lnTo>
                    <a:pt x="1112" y="2595"/>
                  </a:lnTo>
                  <a:lnTo>
                    <a:pt x="1127" y="2592"/>
                  </a:lnTo>
                  <a:lnTo>
                    <a:pt x="1144" y="2589"/>
                  </a:lnTo>
                  <a:lnTo>
                    <a:pt x="1156" y="2587"/>
                  </a:lnTo>
                  <a:lnTo>
                    <a:pt x="1167" y="2584"/>
                  </a:lnTo>
                  <a:lnTo>
                    <a:pt x="1177" y="2580"/>
                  </a:lnTo>
                  <a:lnTo>
                    <a:pt x="1188" y="2575"/>
                  </a:lnTo>
                  <a:lnTo>
                    <a:pt x="1198" y="2568"/>
                  </a:lnTo>
                  <a:lnTo>
                    <a:pt x="1209" y="2561"/>
                  </a:lnTo>
                  <a:lnTo>
                    <a:pt x="1218" y="2553"/>
                  </a:lnTo>
                  <a:lnTo>
                    <a:pt x="1228" y="2544"/>
                  </a:lnTo>
                  <a:lnTo>
                    <a:pt x="1246" y="2527"/>
                  </a:lnTo>
                  <a:lnTo>
                    <a:pt x="1262" y="2507"/>
                  </a:lnTo>
                  <a:lnTo>
                    <a:pt x="1277" y="2487"/>
                  </a:lnTo>
                  <a:lnTo>
                    <a:pt x="1289" y="2468"/>
                  </a:lnTo>
                  <a:lnTo>
                    <a:pt x="1310" y="2480"/>
                  </a:lnTo>
                  <a:lnTo>
                    <a:pt x="1333" y="2491"/>
                  </a:lnTo>
                  <a:lnTo>
                    <a:pt x="1357" y="2500"/>
                  </a:lnTo>
                  <a:lnTo>
                    <a:pt x="1381" y="2509"/>
                  </a:lnTo>
                  <a:lnTo>
                    <a:pt x="1429" y="2528"/>
                  </a:lnTo>
                  <a:lnTo>
                    <a:pt x="1469" y="2547"/>
                  </a:lnTo>
                  <a:lnTo>
                    <a:pt x="1496" y="2547"/>
                  </a:lnTo>
                  <a:lnTo>
                    <a:pt x="1552" y="2547"/>
                  </a:lnTo>
                  <a:lnTo>
                    <a:pt x="1609" y="2547"/>
                  </a:lnTo>
                  <a:lnTo>
                    <a:pt x="1638" y="2547"/>
                  </a:lnTo>
                  <a:lnTo>
                    <a:pt x="1644" y="2548"/>
                  </a:lnTo>
                  <a:lnTo>
                    <a:pt x="1648" y="2551"/>
                  </a:lnTo>
                  <a:lnTo>
                    <a:pt x="1652" y="2555"/>
                  </a:lnTo>
                  <a:lnTo>
                    <a:pt x="1656" y="2560"/>
                  </a:lnTo>
                  <a:lnTo>
                    <a:pt x="1662" y="2573"/>
                  </a:lnTo>
                  <a:lnTo>
                    <a:pt x="1666" y="2589"/>
                  </a:lnTo>
                  <a:lnTo>
                    <a:pt x="1672" y="2608"/>
                  </a:lnTo>
                  <a:lnTo>
                    <a:pt x="1676" y="2625"/>
                  </a:lnTo>
                  <a:lnTo>
                    <a:pt x="1681" y="2641"/>
                  </a:lnTo>
                  <a:lnTo>
                    <a:pt x="1686" y="2655"/>
                  </a:lnTo>
                  <a:lnTo>
                    <a:pt x="1692" y="2647"/>
                  </a:lnTo>
                  <a:lnTo>
                    <a:pt x="1698" y="2640"/>
                  </a:lnTo>
                  <a:lnTo>
                    <a:pt x="1706" y="2633"/>
                  </a:lnTo>
                  <a:lnTo>
                    <a:pt x="1716" y="2628"/>
                  </a:lnTo>
                  <a:lnTo>
                    <a:pt x="1724" y="2624"/>
                  </a:lnTo>
                  <a:lnTo>
                    <a:pt x="1734" y="2621"/>
                  </a:lnTo>
                  <a:lnTo>
                    <a:pt x="1744" y="2620"/>
                  </a:lnTo>
                  <a:lnTo>
                    <a:pt x="1753" y="2619"/>
                  </a:lnTo>
                  <a:lnTo>
                    <a:pt x="1756" y="2620"/>
                  </a:lnTo>
                  <a:lnTo>
                    <a:pt x="1758" y="2620"/>
                  </a:lnTo>
                  <a:lnTo>
                    <a:pt x="1761" y="2621"/>
                  </a:lnTo>
                  <a:lnTo>
                    <a:pt x="1764" y="2624"/>
                  </a:lnTo>
                  <a:lnTo>
                    <a:pt x="1766" y="2629"/>
                  </a:lnTo>
                  <a:lnTo>
                    <a:pt x="1770" y="2636"/>
                  </a:lnTo>
                  <a:lnTo>
                    <a:pt x="1776" y="2652"/>
                  </a:lnTo>
                  <a:lnTo>
                    <a:pt x="1782" y="2666"/>
                  </a:lnTo>
                  <a:lnTo>
                    <a:pt x="1802" y="2678"/>
                  </a:lnTo>
                  <a:lnTo>
                    <a:pt x="1846" y="2704"/>
                  </a:lnTo>
                  <a:lnTo>
                    <a:pt x="1872" y="2717"/>
                  </a:lnTo>
                  <a:lnTo>
                    <a:pt x="1894" y="2728"/>
                  </a:lnTo>
                  <a:lnTo>
                    <a:pt x="1905" y="2733"/>
                  </a:lnTo>
                  <a:lnTo>
                    <a:pt x="1914" y="2736"/>
                  </a:lnTo>
                  <a:lnTo>
                    <a:pt x="1922" y="2738"/>
                  </a:lnTo>
                  <a:lnTo>
                    <a:pt x="1928" y="2740"/>
                  </a:lnTo>
                  <a:lnTo>
                    <a:pt x="1942" y="2738"/>
                  </a:lnTo>
                  <a:lnTo>
                    <a:pt x="1953" y="2736"/>
                  </a:lnTo>
                  <a:lnTo>
                    <a:pt x="1963" y="2730"/>
                  </a:lnTo>
                  <a:lnTo>
                    <a:pt x="1970" y="2725"/>
                  </a:lnTo>
                  <a:lnTo>
                    <a:pt x="1975" y="2718"/>
                  </a:lnTo>
                  <a:lnTo>
                    <a:pt x="1979" y="2712"/>
                  </a:lnTo>
                  <a:lnTo>
                    <a:pt x="1981" y="2704"/>
                  </a:lnTo>
                  <a:lnTo>
                    <a:pt x="1981" y="2697"/>
                  </a:lnTo>
                  <a:lnTo>
                    <a:pt x="1981" y="2693"/>
                  </a:lnTo>
                  <a:lnTo>
                    <a:pt x="1981" y="2682"/>
                  </a:lnTo>
                  <a:lnTo>
                    <a:pt x="1981" y="2669"/>
                  </a:lnTo>
                  <a:lnTo>
                    <a:pt x="1981" y="2655"/>
                  </a:lnTo>
                  <a:lnTo>
                    <a:pt x="1982" y="2647"/>
                  </a:lnTo>
                  <a:lnTo>
                    <a:pt x="1985" y="2639"/>
                  </a:lnTo>
                  <a:lnTo>
                    <a:pt x="1989" y="2632"/>
                  </a:lnTo>
                  <a:lnTo>
                    <a:pt x="1993" y="2625"/>
                  </a:lnTo>
                  <a:lnTo>
                    <a:pt x="1998" y="2620"/>
                  </a:lnTo>
                  <a:lnTo>
                    <a:pt x="2002" y="2613"/>
                  </a:lnTo>
                  <a:lnTo>
                    <a:pt x="2005" y="2608"/>
                  </a:lnTo>
                  <a:lnTo>
                    <a:pt x="2006" y="2601"/>
                  </a:lnTo>
                  <a:lnTo>
                    <a:pt x="2006" y="2591"/>
                  </a:lnTo>
                  <a:lnTo>
                    <a:pt x="2006" y="2571"/>
                  </a:lnTo>
                  <a:lnTo>
                    <a:pt x="2002" y="2564"/>
                  </a:lnTo>
                  <a:lnTo>
                    <a:pt x="1998" y="2557"/>
                  </a:lnTo>
                  <a:lnTo>
                    <a:pt x="1994" y="2552"/>
                  </a:lnTo>
                  <a:lnTo>
                    <a:pt x="1989" y="2545"/>
                  </a:lnTo>
                  <a:lnTo>
                    <a:pt x="1975" y="2535"/>
                  </a:lnTo>
                  <a:lnTo>
                    <a:pt x="1962" y="2524"/>
                  </a:lnTo>
                  <a:lnTo>
                    <a:pt x="1949" y="2515"/>
                  </a:lnTo>
                  <a:lnTo>
                    <a:pt x="1938" y="2505"/>
                  </a:lnTo>
                  <a:lnTo>
                    <a:pt x="1933" y="2500"/>
                  </a:lnTo>
                  <a:lnTo>
                    <a:pt x="1930" y="2496"/>
                  </a:lnTo>
                  <a:lnTo>
                    <a:pt x="1928" y="2491"/>
                  </a:lnTo>
                  <a:lnTo>
                    <a:pt x="1928" y="2487"/>
                  </a:lnTo>
                  <a:lnTo>
                    <a:pt x="1928" y="2477"/>
                  </a:lnTo>
                  <a:lnTo>
                    <a:pt x="1930" y="2468"/>
                  </a:lnTo>
                  <a:lnTo>
                    <a:pt x="1933" y="2460"/>
                  </a:lnTo>
                  <a:lnTo>
                    <a:pt x="1938" y="2453"/>
                  </a:lnTo>
                  <a:lnTo>
                    <a:pt x="1949" y="2441"/>
                  </a:lnTo>
                  <a:lnTo>
                    <a:pt x="1961" y="2431"/>
                  </a:lnTo>
                  <a:lnTo>
                    <a:pt x="1973" y="2419"/>
                  </a:lnTo>
                  <a:lnTo>
                    <a:pt x="1983" y="2408"/>
                  </a:lnTo>
                  <a:lnTo>
                    <a:pt x="1987" y="2401"/>
                  </a:lnTo>
                  <a:lnTo>
                    <a:pt x="1990" y="2395"/>
                  </a:lnTo>
                  <a:lnTo>
                    <a:pt x="1993" y="2387"/>
                  </a:lnTo>
                  <a:lnTo>
                    <a:pt x="1993" y="2379"/>
                  </a:lnTo>
                  <a:lnTo>
                    <a:pt x="1993" y="2368"/>
                  </a:lnTo>
                  <a:lnTo>
                    <a:pt x="1990" y="2357"/>
                  </a:lnTo>
                  <a:lnTo>
                    <a:pt x="1987" y="2349"/>
                  </a:lnTo>
                  <a:lnTo>
                    <a:pt x="1983" y="2340"/>
                  </a:lnTo>
                  <a:lnTo>
                    <a:pt x="1975" y="2325"/>
                  </a:lnTo>
                  <a:lnTo>
                    <a:pt x="1969" y="2312"/>
                  </a:lnTo>
                  <a:lnTo>
                    <a:pt x="1861" y="2312"/>
                  </a:lnTo>
                  <a:lnTo>
                    <a:pt x="1854" y="2303"/>
                  </a:lnTo>
                  <a:lnTo>
                    <a:pt x="1850" y="2291"/>
                  </a:lnTo>
                  <a:lnTo>
                    <a:pt x="1845" y="2276"/>
                  </a:lnTo>
                  <a:lnTo>
                    <a:pt x="1842" y="2260"/>
                  </a:lnTo>
                  <a:lnTo>
                    <a:pt x="1840" y="2241"/>
                  </a:lnTo>
                  <a:lnTo>
                    <a:pt x="1838" y="2223"/>
                  </a:lnTo>
                  <a:lnTo>
                    <a:pt x="1837" y="2204"/>
                  </a:lnTo>
                  <a:lnTo>
                    <a:pt x="1837" y="2185"/>
                  </a:lnTo>
                  <a:lnTo>
                    <a:pt x="1838" y="2165"/>
                  </a:lnTo>
                  <a:lnTo>
                    <a:pt x="1841" y="2149"/>
                  </a:lnTo>
                  <a:lnTo>
                    <a:pt x="1845" y="2137"/>
                  </a:lnTo>
                  <a:lnTo>
                    <a:pt x="1850" y="2127"/>
                  </a:lnTo>
                  <a:lnTo>
                    <a:pt x="1854" y="2116"/>
                  </a:lnTo>
                  <a:lnTo>
                    <a:pt x="1860" y="2105"/>
                  </a:lnTo>
                  <a:lnTo>
                    <a:pt x="1864" y="2093"/>
                  </a:lnTo>
                  <a:lnTo>
                    <a:pt x="1868" y="2078"/>
                  </a:lnTo>
                  <a:lnTo>
                    <a:pt x="1862" y="2076"/>
                  </a:lnTo>
                  <a:lnTo>
                    <a:pt x="1860" y="2076"/>
                  </a:lnTo>
                  <a:lnTo>
                    <a:pt x="1856" y="2075"/>
                  </a:lnTo>
                  <a:lnTo>
                    <a:pt x="1853" y="2072"/>
                  </a:lnTo>
                  <a:lnTo>
                    <a:pt x="1848" y="2064"/>
                  </a:lnTo>
                  <a:lnTo>
                    <a:pt x="1844" y="2054"/>
                  </a:lnTo>
                  <a:lnTo>
                    <a:pt x="1856" y="2046"/>
                  </a:lnTo>
                  <a:lnTo>
                    <a:pt x="1865" y="2039"/>
                  </a:lnTo>
                  <a:lnTo>
                    <a:pt x="1872" y="2031"/>
                  </a:lnTo>
                  <a:lnTo>
                    <a:pt x="1880" y="2022"/>
                  </a:lnTo>
                  <a:lnTo>
                    <a:pt x="1886" y="2014"/>
                  </a:lnTo>
                  <a:lnTo>
                    <a:pt x="1894" y="2004"/>
                  </a:lnTo>
                  <a:lnTo>
                    <a:pt x="1904" y="1996"/>
                  </a:lnTo>
                  <a:lnTo>
                    <a:pt x="1916" y="1987"/>
                  </a:lnTo>
                  <a:lnTo>
                    <a:pt x="1921" y="1979"/>
                  </a:lnTo>
                  <a:lnTo>
                    <a:pt x="1929" y="1970"/>
                  </a:lnTo>
                  <a:lnTo>
                    <a:pt x="1933" y="1966"/>
                  </a:lnTo>
                  <a:lnTo>
                    <a:pt x="1937" y="1960"/>
                  </a:lnTo>
                  <a:lnTo>
                    <a:pt x="1938" y="1952"/>
                  </a:lnTo>
                  <a:lnTo>
                    <a:pt x="1939" y="1944"/>
                  </a:lnTo>
                  <a:lnTo>
                    <a:pt x="1939" y="1938"/>
                  </a:lnTo>
                  <a:lnTo>
                    <a:pt x="1941" y="1930"/>
                  </a:lnTo>
                  <a:lnTo>
                    <a:pt x="1943" y="1923"/>
                  </a:lnTo>
                  <a:lnTo>
                    <a:pt x="1946" y="1916"/>
                  </a:lnTo>
                  <a:lnTo>
                    <a:pt x="1953" y="1904"/>
                  </a:lnTo>
                  <a:lnTo>
                    <a:pt x="1961" y="1892"/>
                  </a:lnTo>
                  <a:lnTo>
                    <a:pt x="1967" y="1880"/>
                  </a:lnTo>
                  <a:lnTo>
                    <a:pt x="1975" y="1867"/>
                  </a:lnTo>
                  <a:lnTo>
                    <a:pt x="1978" y="1860"/>
                  </a:lnTo>
                  <a:lnTo>
                    <a:pt x="1979" y="1854"/>
                  </a:lnTo>
                  <a:lnTo>
                    <a:pt x="1981" y="1844"/>
                  </a:lnTo>
                  <a:lnTo>
                    <a:pt x="1981" y="1836"/>
                  </a:lnTo>
                  <a:lnTo>
                    <a:pt x="1981" y="1830"/>
                  </a:lnTo>
                  <a:lnTo>
                    <a:pt x="1978" y="1824"/>
                  </a:lnTo>
                  <a:lnTo>
                    <a:pt x="1974" y="1819"/>
                  </a:lnTo>
                  <a:lnTo>
                    <a:pt x="1969" y="1814"/>
                  </a:lnTo>
                  <a:lnTo>
                    <a:pt x="1965" y="1808"/>
                  </a:lnTo>
                  <a:lnTo>
                    <a:pt x="1961" y="1800"/>
                  </a:lnTo>
                  <a:lnTo>
                    <a:pt x="1958" y="1792"/>
                  </a:lnTo>
                  <a:lnTo>
                    <a:pt x="1957" y="1782"/>
                  </a:lnTo>
                  <a:lnTo>
                    <a:pt x="1958" y="1775"/>
                  </a:lnTo>
                  <a:lnTo>
                    <a:pt x="1961" y="1768"/>
                  </a:lnTo>
                  <a:lnTo>
                    <a:pt x="1965" y="1762"/>
                  </a:lnTo>
                  <a:lnTo>
                    <a:pt x="1969" y="1754"/>
                  </a:lnTo>
                  <a:lnTo>
                    <a:pt x="1974" y="1747"/>
                  </a:lnTo>
                  <a:lnTo>
                    <a:pt x="1978" y="1739"/>
                  </a:lnTo>
                  <a:lnTo>
                    <a:pt x="1981" y="1731"/>
                  </a:lnTo>
                  <a:lnTo>
                    <a:pt x="1981" y="1722"/>
                  </a:lnTo>
                  <a:lnTo>
                    <a:pt x="1981" y="1711"/>
                  </a:lnTo>
                  <a:lnTo>
                    <a:pt x="1978" y="1702"/>
                  </a:lnTo>
                  <a:lnTo>
                    <a:pt x="1974" y="1694"/>
                  </a:lnTo>
                  <a:lnTo>
                    <a:pt x="1969" y="1686"/>
                  </a:lnTo>
                  <a:lnTo>
                    <a:pt x="1957" y="1672"/>
                  </a:lnTo>
                  <a:lnTo>
                    <a:pt x="1942" y="1660"/>
                  </a:lnTo>
                  <a:lnTo>
                    <a:pt x="1928" y="1648"/>
                  </a:lnTo>
                  <a:lnTo>
                    <a:pt x="1916" y="1635"/>
                  </a:lnTo>
                  <a:lnTo>
                    <a:pt x="1910" y="1627"/>
                  </a:lnTo>
                  <a:lnTo>
                    <a:pt x="1906" y="1618"/>
                  </a:lnTo>
                  <a:lnTo>
                    <a:pt x="1904" y="1607"/>
                  </a:lnTo>
                  <a:lnTo>
                    <a:pt x="1904" y="1595"/>
                  </a:lnTo>
                  <a:lnTo>
                    <a:pt x="1904" y="1588"/>
                  </a:lnTo>
                  <a:lnTo>
                    <a:pt x="1905" y="1580"/>
                  </a:lnTo>
                  <a:lnTo>
                    <a:pt x="1906" y="1575"/>
                  </a:lnTo>
                  <a:lnTo>
                    <a:pt x="1909" y="1568"/>
                  </a:lnTo>
                  <a:lnTo>
                    <a:pt x="1914" y="1559"/>
                  </a:lnTo>
                  <a:lnTo>
                    <a:pt x="1921" y="1550"/>
                  </a:lnTo>
                  <a:lnTo>
                    <a:pt x="1928" y="1542"/>
                  </a:lnTo>
                  <a:lnTo>
                    <a:pt x="1934" y="1534"/>
                  </a:lnTo>
                  <a:lnTo>
                    <a:pt x="1938" y="1526"/>
                  </a:lnTo>
                  <a:lnTo>
                    <a:pt x="1939" y="1516"/>
                  </a:lnTo>
                  <a:lnTo>
                    <a:pt x="1939" y="1511"/>
                  </a:lnTo>
                  <a:lnTo>
                    <a:pt x="1938" y="1507"/>
                  </a:lnTo>
                  <a:lnTo>
                    <a:pt x="1936" y="1502"/>
                  </a:lnTo>
                  <a:lnTo>
                    <a:pt x="1934" y="1498"/>
                  </a:lnTo>
                  <a:lnTo>
                    <a:pt x="1928" y="1490"/>
                  </a:lnTo>
                  <a:lnTo>
                    <a:pt x="1921" y="1481"/>
                  </a:lnTo>
                  <a:lnTo>
                    <a:pt x="1914" y="1471"/>
                  </a:lnTo>
                  <a:lnTo>
                    <a:pt x="1909" y="1459"/>
                  </a:lnTo>
                  <a:lnTo>
                    <a:pt x="1906" y="1453"/>
                  </a:lnTo>
                  <a:lnTo>
                    <a:pt x="1905" y="1445"/>
                  </a:lnTo>
                  <a:lnTo>
                    <a:pt x="1904" y="1437"/>
                  </a:lnTo>
                  <a:lnTo>
                    <a:pt x="1904" y="1427"/>
                  </a:lnTo>
                  <a:lnTo>
                    <a:pt x="1904" y="1419"/>
                  </a:lnTo>
                  <a:lnTo>
                    <a:pt x="1905" y="1411"/>
                  </a:lnTo>
                  <a:lnTo>
                    <a:pt x="1906" y="1405"/>
                  </a:lnTo>
                  <a:lnTo>
                    <a:pt x="1909" y="1398"/>
                  </a:lnTo>
                  <a:lnTo>
                    <a:pt x="1914" y="1387"/>
                  </a:lnTo>
                  <a:lnTo>
                    <a:pt x="1922" y="1379"/>
                  </a:lnTo>
                  <a:lnTo>
                    <a:pt x="1932" y="1373"/>
                  </a:lnTo>
                  <a:lnTo>
                    <a:pt x="1942" y="1366"/>
                  </a:lnTo>
                  <a:lnTo>
                    <a:pt x="1954" y="1362"/>
                  </a:lnTo>
                  <a:lnTo>
                    <a:pt x="1966" y="1358"/>
                  </a:lnTo>
                  <a:lnTo>
                    <a:pt x="1991" y="1350"/>
                  </a:lnTo>
                  <a:lnTo>
                    <a:pt x="2015" y="1341"/>
                  </a:lnTo>
                  <a:lnTo>
                    <a:pt x="2025" y="1334"/>
                  </a:lnTo>
                  <a:lnTo>
                    <a:pt x="2034" y="1327"/>
                  </a:lnTo>
                  <a:lnTo>
                    <a:pt x="2038" y="1322"/>
                  </a:lnTo>
                  <a:lnTo>
                    <a:pt x="2042" y="1318"/>
                  </a:lnTo>
                  <a:lnTo>
                    <a:pt x="2045" y="1313"/>
                  </a:lnTo>
                  <a:lnTo>
                    <a:pt x="2047" y="1306"/>
                  </a:lnTo>
                  <a:lnTo>
                    <a:pt x="2047" y="1282"/>
                  </a:lnTo>
                  <a:lnTo>
                    <a:pt x="2039" y="1282"/>
                  </a:lnTo>
                  <a:lnTo>
                    <a:pt x="2035" y="1282"/>
                  </a:lnTo>
                  <a:lnTo>
                    <a:pt x="2014" y="1285"/>
                  </a:lnTo>
                  <a:lnTo>
                    <a:pt x="1993" y="1287"/>
                  </a:lnTo>
                  <a:lnTo>
                    <a:pt x="1983" y="1287"/>
                  </a:lnTo>
                  <a:lnTo>
                    <a:pt x="1973" y="1287"/>
                  </a:lnTo>
                  <a:lnTo>
                    <a:pt x="1962" y="1286"/>
                  </a:lnTo>
                  <a:lnTo>
                    <a:pt x="1951" y="1282"/>
                  </a:lnTo>
                  <a:lnTo>
                    <a:pt x="1928" y="1274"/>
                  </a:lnTo>
                  <a:lnTo>
                    <a:pt x="1910" y="1266"/>
                  </a:lnTo>
                  <a:lnTo>
                    <a:pt x="1904" y="1263"/>
                  </a:lnTo>
                  <a:lnTo>
                    <a:pt x="1896" y="1261"/>
                  </a:lnTo>
                  <a:lnTo>
                    <a:pt x="1888" y="1259"/>
                  </a:lnTo>
                  <a:lnTo>
                    <a:pt x="1880" y="1258"/>
                  </a:lnTo>
                  <a:lnTo>
                    <a:pt x="1852" y="1259"/>
                  </a:lnTo>
                  <a:lnTo>
                    <a:pt x="1825" y="1263"/>
                  </a:lnTo>
                  <a:lnTo>
                    <a:pt x="1812" y="1263"/>
                  </a:lnTo>
                  <a:lnTo>
                    <a:pt x="1798" y="1263"/>
                  </a:lnTo>
                  <a:lnTo>
                    <a:pt x="1784" y="1262"/>
                  </a:lnTo>
                  <a:lnTo>
                    <a:pt x="1770" y="1258"/>
                  </a:lnTo>
                  <a:lnTo>
                    <a:pt x="1770" y="1203"/>
                  </a:lnTo>
                  <a:lnTo>
                    <a:pt x="1770" y="1175"/>
                  </a:lnTo>
                  <a:lnTo>
                    <a:pt x="1770" y="1155"/>
                  </a:lnTo>
                  <a:lnTo>
                    <a:pt x="1770" y="1119"/>
                  </a:lnTo>
                  <a:lnTo>
                    <a:pt x="1772" y="1110"/>
                  </a:lnTo>
                  <a:lnTo>
                    <a:pt x="1773" y="1101"/>
                  </a:lnTo>
                  <a:lnTo>
                    <a:pt x="1776" y="1093"/>
                  </a:lnTo>
                  <a:lnTo>
                    <a:pt x="1780" y="1085"/>
                  </a:lnTo>
                  <a:lnTo>
                    <a:pt x="1788" y="1070"/>
                  </a:lnTo>
                  <a:lnTo>
                    <a:pt x="1798" y="1057"/>
                  </a:lnTo>
                  <a:lnTo>
                    <a:pt x="1808" y="1045"/>
                  </a:lnTo>
                  <a:lnTo>
                    <a:pt x="1817" y="1033"/>
                  </a:lnTo>
                  <a:lnTo>
                    <a:pt x="1820" y="1027"/>
                  </a:lnTo>
                  <a:lnTo>
                    <a:pt x="1822" y="1022"/>
                  </a:lnTo>
                  <a:lnTo>
                    <a:pt x="1825" y="1017"/>
                  </a:lnTo>
                  <a:lnTo>
                    <a:pt x="1825" y="1011"/>
                  </a:lnTo>
                  <a:lnTo>
                    <a:pt x="1824" y="997"/>
                  </a:lnTo>
                  <a:lnTo>
                    <a:pt x="1821" y="983"/>
                  </a:lnTo>
                  <a:lnTo>
                    <a:pt x="1816" y="970"/>
                  </a:lnTo>
                  <a:lnTo>
                    <a:pt x="1809" y="958"/>
                  </a:lnTo>
                  <a:lnTo>
                    <a:pt x="1801" y="946"/>
                  </a:lnTo>
                  <a:lnTo>
                    <a:pt x="1792" y="934"/>
                  </a:lnTo>
                  <a:lnTo>
                    <a:pt x="1782" y="923"/>
                  </a:lnTo>
                  <a:lnTo>
                    <a:pt x="1772" y="911"/>
                  </a:lnTo>
                  <a:lnTo>
                    <a:pt x="1752" y="889"/>
                  </a:lnTo>
                  <a:lnTo>
                    <a:pt x="1733" y="866"/>
                  </a:lnTo>
                  <a:lnTo>
                    <a:pt x="1725" y="853"/>
                  </a:lnTo>
                  <a:lnTo>
                    <a:pt x="1718" y="841"/>
                  </a:lnTo>
                  <a:lnTo>
                    <a:pt x="1714" y="828"/>
                  </a:lnTo>
                  <a:lnTo>
                    <a:pt x="1710" y="813"/>
                  </a:lnTo>
                  <a:lnTo>
                    <a:pt x="1709" y="805"/>
                  </a:lnTo>
                  <a:lnTo>
                    <a:pt x="1708" y="797"/>
                  </a:lnTo>
                  <a:lnTo>
                    <a:pt x="1708" y="790"/>
                  </a:lnTo>
                  <a:lnTo>
                    <a:pt x="1708" y="784"/>
                  </a:lnTo>
                  <a:lnTo>
                    <a:pt x="1710" y="769"/>
                  </a:lnTo>
                  <a:lnTo>
                    <a:pt x="1713" y="757"/>
                  </a:lnTo>
                  <a:lnTo>
                    <a:pt x="1717" y="744"/>
                  </a:lnTo>
                  <a:lnTo>
                    <a:pt x="1718" y="730"/>
                  </a:lnTo>
                  <a:lnTo>
                    <a:pt x="1720" y="724"/>
                  </a:lnTo>
                  <a:lnTo>
                    <a:pt x="1720" y="718"/>
                  </a:lnTo>
                  <a:lnTo>
                    <a:pt x="1718" y="712"/>
                  </a:lnTo>
                  <a:lnTo>
                    <a:pt x="1717" y="705"/>
                  </a:lnTo>
                  <a:lnTo>
                    <a:pt x="1714" y="700"/>
                  </a:lnTo>
                  <a:lnTo>
                    <a:pt x="1712" y="694"/>
                  </a:lnTo>
                  <a:lnTo>
                    <a:pt x="1709" y="690"/>
                  </a:lnTo>
                  <a:lnTo>
                    <a:pt x="1704" y="686"/>
                  </a:lnTo>
                  <a:lnTo>
                    <a:pt x="1693" y="680"/>
                  </a:lnTo>
                  <a:lnTo>
                    <a:pt x="1680" y="674"/>
                  </a:lnTo>
                  <a:lnTo>
                    <a:pt x="1649" y="668"/>
                  </a:lnTo>
                  <a:lnTo>
                    <a:pt x="1620" y="662"/>
                  </a:lnTo>
                  <a:lnTo>
                    <a:pt x="1624" y="652"/>
                  </a:lnTo>
                  <a:lnTo>
                    <a:pt x="1628" y="642"/>
                  </a:lnTo>
                  <a:lnTo>
                    <a:pt x="1633" y="634"/>
                  </a:lnTo>
                  <a:lnTo>
                    <a:pt x="1640" y="628"/>
                  </a:lnTo>
                  <a:lnTo>
                    <a:pt x="1654" y="616"/>
                  </a:lnTo>
                  <a:lnTo>
                    <a:pt x="1670" y="605"/>
                  </a:lnTo>
                  <a:lnTo>
                    <a:pt x="1685" y="594"/>
                  </a:lnTo>
                  <a:lnTo>
                    <a:pt x="1698" y="582"/>
                  </a:lnTo>
                  <a:lnTo>
                    <a:pt x="1704" y="576"/>
                  </a:lnTo>
                  <a:lnTo>
                    <a:pt x="1708" y="568"/>
                  </a:lnTo>
                  <a:lnTo>
                    <a:pt x="1709" y="558"/>
                  </a:lnTo>
                  <a:lnTo>
                    <a:pt x="1710" y="548"/>
                  </a:lnTo>
                  <a:lnTo>
                    <a:pt x="1709" y="509"/>
                  </a:lnTo>
                  <a:lnTo>
                    <a:pt x="1706" y="472"/>
                  </a:lnTo>
                  <a:lnTo>
                    <a:pt x="1702" y="434"/>
                  </a:lnTo>
                  <a:lnTo>
                    <a:pt x="1697" y="398"/>
                  </a:lnTo>
                  <a:lnTo>
                    <a:pt x="1689" y="361"/>
                  </a:lnTo>
                  <a:lnTo>
                    <a:pt x="1681" y="325"/>
                  </a:lnTo>
                  <a:lnTo>
                    <a:pt x="1670" y="291"/>
                  </a:lnTo>
                  <a:lnTo>
                    <a:pt x="1660" y="256"/>
                  </a:lnTo>
                  <a:lnTo>
                    <a:pt x="1646" y="221"/>
                  </a:lnTo>
                  <a:lnTo>
                    <a:pt x="1633" y="188"/>
                  </a:lnTo>
                  <a:lnTo>
                    <a:pt x="1620" y="155"/>
                  </a:lnTo>
                  <a:lnTo>
                    <a:pt x="1604" y="123"/>
                  </a:lnTo>
                  <a:lnTo>
                    <a:pt x="1588" y="91"/>
                  </a:lnTo>
                  <a:lnTo>
                    <a:pt x="1570" y="60"/>
                  </a:lnTo>
                  <a:lnTo>
                    <a:pt x="1553" y="29"/>
                  </a:lnTo>
                  <a:lnTo>
                    <a:pt x="1536" y="0"/>
                  </a:lnTo>
                  <a:lnTo>
                    <a:pt x="1529" y="4"/>
                  </a:lnTo>
                  <a:lnTo>
                    <a:pt x="1524" y="8"/>
                  </a:lnTo>
                  <a:lnTo>
                    <a:pt x="1520" y="13"/>
                  </a:lnTo>
                  <a:lnTo>
                    <a:pt x="1516" y="19"/>
                  </a:lnTo>
                  <a:lnTo>
                    <a:pt x="1510" y="31"/>
                  </a:lnTo>
                  <a:lnTo>
                    <a:pt x="1505" y="43"/>
                  </a:lnTo>
                  <a:lnTo>
                    <a:pt x="1500" y="55"/>
                  </a:lnTo>
                  <a:lnTo>
                    <a:pt x="1493" y="64"/>
                  </a:lnTo>
                  <a:lnTo>
                    <a:pt x="1488" y="67"/>
                  </a:lnTo>
                  <a:lnTo>
                    <a:pt x="1484" y="69"/>
                  </a:lnTo>
                  <a:lnTo>
                    <a:pt x="1477" y="72"/>
                  </a:lnTo>
                  <a:lnTo>
                    <a:pt x="1469" y="72"/>
                  </a:lnTo>
                  <a:lnTo>
                    <a:pt x="1462" y="71"/>
                  </a:lnTo>
                  <a:lnTo>
                    <a:pt x="1456" y="68"/>
                  </a:lnTo>
                  <a:lnTo>
                    <a:pt x="1449" y="64"/>
                  </a:lnTo>
                  <a:lnTo>
                    <a:pt x="1442" y="60"/>
                  </a:lnTo>
                  <a:lnTo>
                    <a:pt x="1434" y="56"/>
                  </a:lnTo>
                  <a:lnTo>
                    <a:pt x="1426" y="52"/>
                  </a:lnTo>
                  <a:lnTo>
                    <a:pt x="1418" y="49"/>
                  </a:lnTo>
                  <a:lnTo>
                    <a:pt x="1409" y="48"/>
                  </a:lnTo>
                  <a:lnTo>
                    <a:pt x="1402" y="49"/>
                  </a:lnTo>
                  <a:lnTo>
                    <a:pt x="1397" y="53"/>
                  </a:lnTo>
                  <a:lnTo>
                    <a:pt x="1392" y="60"/>
                  </a:lnTo>
                  <a:lnTo>
                    <a:pt x="1386" y="67"/>
                  </a:lnTo>
                  <a:lnTo>
                    <a:pt x="1381" y="75"/>
                  </a:lnTo>
                  <a:lnTo>
                    <a:pt x="1376" y="81"/>
                  </a:lnTo>
                  <a:lnTo>
                    <a:pt x="1372" y="87"/>
                  </a:lnTo>
                  <a:lnTo>
                    <a:pt x="1368" y="91"/>
                  </a:lnTo>
                  <a:lnTo>
                    <a:pt x="1361" y="95"/>
                  </a:lnTo>
                  <a:lnTo>
                    <a:pt x="1354" y="97"/>
                  </a:lnTo>
                  <a:lnTo>
                    <a:pt x="1348" y="99"/>
                  </a:lnTo>
                  <a:lnTo>
                    <a:pt x="1342" y="100"/>
                  </a:lnTo>
                  <a:lnTo>
                    <a:pt x="1330" y="101"/>
                  </a:lnTo>
                  <a:lnTo>
                    <a:pt x="1320" y="99"/>
                  </a:lnTo>
                  <a:lnTo>
                    <a:pt x="1298" y="93"/>
                  </a:lnTo>
                  <a:lnTo>
                    <a:pt x="1277" y="91"/>
                  </a:lnTo>
                  <a:lnTo>
                    <a:pt x="1250" y="89"/>
                  </a:lnTo>
                  <a:lnTo>
                    <a:pt x="1229" y="85"/>
                  </a:lnTo>
                  <a:lnTo>
                    <a:pt x="1210" y="81"/>
                  </a:lnTo>
                  <a:lnTo>
                    <a:pt x="1194" y="75"/>
                  </a:lnTo>
                  <a:lnTo>
                    <a:pt x="1178" y="69"/>
                  </a:lnTo>
                  <a:lnTo>
                    <a:pt x="1161" y="65"/>
                  </a:lnTo>
                  <a:lnTo>
                    <a:pt x="1143" y="61"/>
                  </a:lnTo>
                  <a:lnTo>
                    <a:pt x="1120" y="60"/>
                  </a:lnTo>
                  <a:lnTo>
                    <a:pt x="1108" y="61"/>
                  </a:lnTo>
                  <a:lnTo>
                    <a:pt x="1099" y="64"/>
                  </a:lnTo>
                  <a:lnTo>
                    <a:pt x="1089" y="68"/>
                  </a:lnTo>
                  <a:lnTo>
                    <a:pt x="1083" y="72"/>
                  </a:lnTo>
                  <a:lnTo>
                    <a:pt x="1075" y="76"/>
                  </a:lnTo>
                  <a:lnTo>
                    <a:pt x="1067" y="80"/>
                  </a:lnTo>
                  <a:lnTo>
                    <a:pt x="1059" y="83"/>
                  </a:lnTo>
                  <a:lnTo>
                    <a:pt x="1048" y="84"/>
                  </a:lnTo>
                  <a:lnTo>
                    <a:pt x="1043" y="84"/>
                  </a:lnTo>
                  <a:lnTo>
                    <a:pt x="1039" y="81"/>
                  </a:lnTo>
                  <a:lnTo>
                    <a:pt x="1033" y="77"/>
                  </a:lnTo>
                  <a:lnTo>
                    <a:pt x="1031" y="72"/>
                  </a:lnTo>
                  <a:lnTo>
                    <a:pt x="1023" y="60"/>
                  </a:lnTo>
                  <a:lnTo>
                    <a:pt x="1016" y="45"/>
                  </a:lnTo>
                  <a:lnTo>
                    <a:pt x="1009" y="31"/>
                  </a:lnTo>
                  <a:lnTo>
                    <a:pt x="1001" y="19"/>
                  </a:lnTo>
                  <a:lnTo>
                    <a:pt x="996" y="13"/>
                  </a:lnTo>
                  <a:lnTo>
                    <a:pt x="989" y="9"/>
                  </a:lnTo>
                  <a:lnTo>
                    <a:pt x="984" y="7"/>
                  </a:lnTo>
                  <a:lnTo>
                    <a:pt x="976" y="5"/>
                  </a:lnTo>
                  <a:lnTo>
                    <a:pt x="965" y="7"/>
                  </a:lnTo>
                  <a:lnTo>
                    <a:pt x="956" y="9"/>
                  </a:lnTo>
                  <a:lnTo>
                    <a:pt x="948" y="12"/>
                  </a:lnTo>
                  <a:lnTo>
                    <a:pt x="941" y="16"/>
                  </a:lnTo>
                  <a:lnTo>
                    <a:pt x="936" y="21"/>
                  </a:lnTo>
                  <a:lnTo>
                    <a:pt x="931" y="27"/>
                  </a:lnTo>
                  <a:lnTo>
                    <a:pt x="927" y="33"/>
                  </a:lnTo>
                  <a:lnTo>
                    <a:pt x="923" y="39"/>
                  </a:lnTo>
                  <a:lnTo>
                    <a:pt x="916" y="51"/>
                  </a:lnTo>
                  <a:lnTo>
                    <a:pt x="909" y="61"/>
                  </a:lnTo>
                  <a:lnTo>
                    <a:pt x="905" y="67"/>
                  </a:lnTo>
                  <a:lnTo>
                    <a:pt x="901" y="69"/>
                  </a:lnTo>
                  <a:lnTo>
                    <a:pt x="897" y="72"/>
                  </a:lnTo>
                  <a:lnTo>
                    <a:pt x="892" y="72"/>
                  </a:lnTo>
                  <a:lnTo>
                    <a:pt x="885" y="72"/>
                  </a:lnTo>
                  <a:lnTo>
                    <a:pt x="880" y="71"/>
                  </a:lnTo>
                  <a:lnTo>
                    <a:pt x="875" y="68"/>
                  </a:lnTo>
                  <a:lnTo>
                    <a:pt x="871" y="67"/>
                  </a:lnTo>
                  <a:lnTo>
                    <a:pt x="865" y="64"/>
                  </a:lnTo>
                  <a:lnTo>
                    <a:pt x="861" y="63"/>
                  </a:lnTo>
                  <a:lnTo>
                    <a:pt x="856" y="60"/>
                  </a:lnTo>
                  <a:lnTo>
                    <a:pt x="849" y="60"/>
                  </a:lnTo>
                  <a:lnTo>
                    <a:pt x="829" y="61"/>
                  </a:lnTo>
                  <a:lnTo>
                    <a:pt x="811" y="65"/>
                  </a:lnTo>
                  <a:lnTo>
                    <a:pt x="792" y="72"/>
                  </a:lnTo>
                  <a:lnTo>
                    <a:pt x="775" y="80"/>
                  </a:lnTo>
                  <a:lnTo>
                    <a:pt x="757" y="89"/>
                  </a:lnTo>
                  <a:lnTo>
                    <a:pt x="741" y="100"/>
                  </a:lnTo>
                  <a:lnTo>
                    <a:pt x="725" y="112"/>
                  </a:lnTo>
                  <a:lnTo>
                    <a:pt x="709" y="125"/>
                  </a:lnTo>
                  <a:lnTo>
                    <a:pt x="680" y="151"/>
                  </a:lnTo>
                  <a:lnTo>
                    <a:pt x="651" y="177"/>
                  </a:lnTo>
                  <a:lnTo>
                    <a:pt x="637" y="189"/>
                  </a:lnTo>
                  <a:lnTo>
                    <a:pt x="624" y="200"/>
                  </a:lnTo>
                  <a:lnTo>
                    <a:pt x="609" y="209"/>
                  </a:lnTo>
                  <a:lnTo>
                    <a:pt x="596" y="217"/>
                  </a:lnTo>
                  <a:lnTo>
                    <a:pt x="589" y="225"/>
                  </a:lnTo>
                  <a:lnTo>
                    <a:pt x="579" y="243"/>
                  </a:lnTo>
                  <a:lnTo>
                    <a:pt x="567" y="265"/>
                  </a:lnTo>
                  <a:lnTo>
                    <a:pt x="552" y="293"/>
                  </a:lnTo>
                  <a:lnTo>
                    <a:pt x="527" y="345"/>
                  </a:lnTo>
                  <a:lnTo>
                    <a:pt x="512" y="373"/>
                  </a:lnTo>
                  <a:lnTo>
                    <a:pt x="505" y="398"/>
                  </a:lnTo>
                  <a:lnTo>
                    <a:pt x="501" y="424"/>
                  </a:lnTo>
                  <a:lnTo>
                    <a:pt x="497" y="434"/>
                  </a:lnTo>
                  <a:lnTo>
                    <a:pt x="492" y="444"/>
                  </a:lnTo>
                  <a:lnTo>
                    <a:pt x="489" y="446"/>
                  </a:lnTo>
                  <a:lnTo>
                    <a:pt x="485" y="449"/>
                  </a:lnTo>
                  <a:lnTo>
                    <a:pt x="481" y="450"/>
                  </a:lnTo>
                  <a:lnTo>
                    <a:pt x="476" y="452"/>
                  </a:lnTo>
                  <a:lnTo>
                    <a:pt x="456" y="452"/>
                  </a:lnTo>
                  <a:lnTo>
                    <a:pt x="440" y="452"/>
                  </a:lnTo>
                  <a:lnTo>
                    <a:pt x="435" y="452"/>
                  </a:lnTo>
                  <a:lnTo>
                    <a:pt x="429" y="453"/>
                  </a:lnTo>
                  <a:lnTo>
                    <a:pt x="424" y="454"/>
                  </a:lnTo>
                  <a:lnTo>
                    <a:pt x="419" y="457"/>
                  </a:lnTo>
                  <a:lnTo>
                    <a:pt x="408" y="464"/>
                  </a:lnTo>
                  <a:lnTo>
                    <a:pt x="399" y="474"/>
                  </a:lnTo>
                  <a:lnTo>
                    <a:pt x="390" y="485"/>
                  </a:lnTo>
                  <a:lnTo>
                    <a:pt x="380" y="498"/>
                  </a:lnTo>
                  <a:lnTo>
                    <a:pt x="372" y="514"/>
                  </a:lnTo>
                  <a:lnTo>
                    <a:pt x="363" y="530"/>
                  </a:lnTo>
                  <a:lnTo>
                    <a:pt x="343" y="566"/>
                  </a:lnTo>
                  <a:lnTo>
                    <a:pt x="323" y="606"/>
                  </a:lnTo>
                  <a:lnTo>
                    <a:pt x="311" y="626"/>
                  </a:lnTo>
                  <a:lnTo>
                    <a:pt x="299" y="646"/>
                  </a:lnTo>
                  <a:lnTo>
                    <a:pt x="286" y="666"/>
                  </a:lnTo>
                  <a:lnTo>
                    <a:pt x="271" y="68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6" name="Freeform 122"/>
            <p:cNvSpPr>
              <a:spLocks/>
            </p:cNvSpPr>
            <p:nvPr/>
          </p:nvSpPr>
          <p:spPr bwMode="auto">
            <a:xfrm>
              <a:off x="3988122" y="2582863"/>
              <a:ext cx="1330325" cy="1377950"/>
            </a:xfrm>
            <a:custGeom>
              <a:avLst/>
              <a:gdLst/>
              <a:ahLst/>
              <a:cxnLst>
                <a:cxn ang="0">
                  <a:pos x="439" y="2841"/>
                </a:cxn>
                <a:cxn ang="0">
                  <a:pos x="549" y="2682"/>
                </a:cxn>
                <a:cxn ang="0">
                  <a:pos x="658" y="2725"/>
                </a:cxn>
                <a:cxn ang="0">
                  <a:pos x="774" y="2838"/>
                </a:cxn>
                <a:cxn ang="0">
                  <a:pos x="1089" y="2810"/>
                </a:cxn>
                <a:cxn ang="0">
                  <a:pos x="1253" y="2576"/>
                </a:cxn>
                <a:cxn ang="0">
                  <a:pos x="1397" y="2367"/>
                </a:cxn>
                <a:cxn ang="0">
                  <a:pos x="1647" y="2185"/>
                </a:cxn>
                <a:cxn ang="0">
                  <a:pos x="1741" y="2163"/>
                </a:cxn>
                <a:cxn ang="0">
                  <a:pos x="1841" y="2184"/>
                </a:cxn>
                <a:cxn ang="0">
                  <a:pos x="1979" y="2189"/>
                </a:cxn>
                <a:cxn ang="0">
                  <a:pos x="2190" y="2211"/>
                </a:cxn>
                <a:cxn ang="0">
                  <a:pos x="2287" y="2196"/>
                </a:cxn>
                <a:cxn ang="0">
                  <a:pos x="2383" y="2104"/>
                </a:cxn>
                <a:cxn ang="0">
                  <a:pos x="2556" y="1992"/>
                </a:cxn>
                <a:cxn ang="0">
                  <a:pos x="2560" y="1888"/>
                </a:cxn>
                <a:cxn ang="0">
                  <a:pos x="2744" y="1555"/>
                </a:cxn>
                <a:cxn ang="0">
                  <a:pos x="2654" y="1408"/>
                </a:cxn>
                <a:cxn ang="0">
                  <a:pos x="2508" y="1226"/>
                </a:cxn>
                <a:cxn ang="0">
                  <a:pos x="2431" y="1079"/>
                </a:cxn>
                <a:cxn ang="0">
                  <a:pos x="2432" y="914"/>
                </a:cxn>
                <a:cxn ang="0">
                  <a:pos x="2320" y="945"/>
                </a:cxn>
                <a:cxn ang="0">
                  <a:pos x="2366" y="1058"/>
                </a:cxn>
                <a:cxn ang="0">
                  <a:pos x="2114" y="1243"/>
                </a:cxn>
                <a:cxn ang="0">
                  <a:pos x="2416" y="709"/>
                </a:cxn>
                <a:cxn ang="0">
                  <a:pos x="2430" y="368"/>
                </a:cxn>
                <a:cxn ang="0">
                  <a:pos x="2191" y="180"/>
                </a:cxn>
                <a:cxn ang="0">
                  <a:pos x="2011" y="285"/>
                </a:cxn>
                <a:cxn ang="0">
                  <a:pos x="1969" y="233"/>
                </a:cxn>
                <a:cxn ang="0">
                  <a:pos x="1873" y="140"/>
                </a:cxn>
                <a:cxn ang="0">
                  <a:pos x="1862" y="87"/>
                </a:cxn>
                <a:cxn ang="0">
                  <a:pos x="1771" y="3"/>
                </a:cxn>
                <a:cxn ang="0">
                  <a:pos x="1677" y="65"/>
                </a:cxn>
                <a:cxn ang="0">
                  <a:pos x="1609" y="312"/>
                </a:cxn>
                <a:cxn ang="0">
                  <a:pos x="1529" y="384"/>
                </a:cxn>
                <a:cxn ang="0">
                  <a:pos x="1487" y="430"/>
                </a:cxn>
                <a:cxn ang="0">
                  <a:pos x="1357" y="557"/>
                </a:cxn>
                <a:cxn ang="0">
                  <a:pos x="1359" y="468"/>
                </a:cxn>
                <a:cxn ang="0">
                  <a:pos x="1238" y="509"/>
                </a:cxn>
                <a:cxn ang="0">
                  <a:pos x="1140" y="588"/>
                </a:cxn>
                <a:cxn ang="0">
                  <a:pos x="952" y="669"/>
                </a:cxn>
                <a:cxn ang="0">
                  <a:pos x="694" y="939"/>
                </a:cxn>
                <a:cxn ang="0">
                  <a:pos x="754" y="1170"/>
                </a:cxn>
                <a:cxn ang="0">
                  <a:pos x="451" y="1153"/>
                </a:cxn>
                <a:cxn ang="0">
                  <a:pos x="209" y="1207"/>
                </a:cxn>
                <a:cxn ang="0">
                  <a:pos x="233" y="1450"/>
                </a:cxn>
                <a:cxn ang="0">
                  <a:pos x="308" y="1531"/>
                </a:cxn>
                <a:cxn ang="0">
                  <a:pos x="368" y="1627"/>
                </a:cxn>
                <a:cxn ang="0">
                  <a:pos x="367" y="1816"/>
                </a:cxn>
                <a:cxn ang="0">
                  <a:pos x="349" y="2101"/>
                </a:cxn>
                <a:cxn ang="0">
                  <a:pos x="359" y="1885"/>
                </a:cxn>
                <a:cxn ang="0">
                  <a:pos x="272" y="2003"/>
                </a:cxn>
                <a:cxn ang="0">
                  <a:pos x="376" y="1679"/>
                </a:cxn>
                <a:cxn ang="0">
                  <a:pos x="260" y="1655"/>
                </a:cxn>
                <a:cxn ang="0">
                  <a:pos x="88" y="1460"/>
                </a:cxn>
                <a:cxn ang="0">
                  <a:pos x="79" y="1550"/>
                </a:cxn>
                <a:cxn ang="0">
                  <a:pos x="160" y="1674"/>
                </a:cxn>
                <a:cxn ang="0">
                  <a:pos x="111" y="1794"/>
                </a:cxn>
                <a:cxn ang="0">
                  <a:pos x="152" y="1987"/>
                </a:cxn>
                <a:cxn ang="0">
                  <a:pos x="4" y="2123"/>
                </a:cxn>
                <a:cxn ang="0">
                  <a:pos x="116" y="2305"/>
                </a:cxn>
                <a:cxn ang="0">
                  <a:pos x="252" y="2352"/>
                </a:cxn>
                <a:cxn ang="0">
                  <a:pos x="281" y="2496"/>
                </a:cxn>
              </a:cxnLst>
              <a:rect l="0" t="0" r="r" b="b"/>
              <a:pathLst>
                <a:path w="2746" h="2846">
                  <a:moveTo>
                    <a:pt x="276" y="2557"/>
                  </a:moveTo>
                  <a:lnTo>
                    <a:pt x="287" y="2589"/>
                  </a:lnTo>
                  <a:lnTo>
                    <a:pt x="301" y="2629"/>
                  </a:lnTo>
                  <a:lnTo>
                    <a:pt x="320" y="2676"/>
                  </a:lnTo>
                  <a:lnTo>
                    <a:pt x="343" y="2724"/>
                  </a:lnTo>
                  <a:lnTo>
                    <a:pt x="353" y="2746"/>
                  </a:lnTo>
                  <a:lnTo>
                    <a:pt x="365" y="2768"/>
                  </a:lnTo>
                  <a:lnTo>
                    <a:pt x="379" y="2788"/>
                  </a:lnTo>
                  <a:lnTo>
                    <a:pt x="391" y="2805"/>
                  </a:lnTo>
                  <a:lnTo>
                    <a:pt x="403" y="2820"/>
                  </a:lnTo>
                  <a:lnTo>
                    <a:pt x="416" y="2830"/>
                  </a:lnTo>
                  <a:lnTo>
                    <a:pt x="421" y="2836"/>
                  </a:lnTo>
                  <a:lnTo>
                    <a:pt x="428" y="2838"/>
                  </a:lnTo>
                  <a:lnTo>
                    <a:pt x="433" y="2840"/>
                  </a:lnTo>
                  <a:lnTo>
                    <a:pt x="439" y="2841"/>
                  </a:lnTo>
                  <a:lnTo>
                    <a:pt x="445" y="2840"/>
                  </a:lnTo>
                  <a:lnTo>
                    <a:pt x="451" y="2838"/>
                  </a:lnTo>
                  <a:lnTo>
                    <a:pt x="456" y="2836"/>
                  </a:lnTo>
                  <a:lnTo>
                    <a:pt x="460" y="2833"/>
                  </a:lnTo>
                  <a:lnTo>
                    <a:pt x="469" y="2825"/>
                  </a:lnTo>
                  <a:lnTo>
                    <a:pt x="476" y="2814"/>
                  </a:lnTo>
                  <a:lnTo>
                    <a:pt x="489" y="2788"/>
                  </a:lnTo>
                  <a:lnTo>
                    <a:pt x="501" y="2756"/>
                  </a:lnTo>
                  <a:lnTo>
                    <a:pt x="508" y="2741"/>
                  </a:lnTo>
                  <a:lnTo>
                    <a:pt x="514" y="2725"/>
                  </a:lnTo>
                  <a:lnTo>
                    <a:pt x="522" y="2710"/>
                  </a:lnTo>
                  <a:lnTo>
                    <a:pt x="532" y="2698"/>
                  </a:lnTo>
                  <a:lnTo>
                    <a:pt x="537" y="2693"/>
                  </a:lnTo>
                  <a:lnTo>
                    <a:pt x="544" y="2688"/>
                  </a:lnTo>
                  <a:lnTo>
                    <a:pt x="549" y="2682"/>
                  </a:lnTo>
                  <a:lnTo>
                    <a:pt x="556" y="2680"/>
                  </a:lnTo>
                  <a:lnTo>
                    <a:pt x="564" y="2676"/>
                  </a:lnTo>
                  <a:lnTo>
                    <a:pt x="572" y="2673"/>
                  </a:lnTo>
                  <a:lnTo>
                    <a:pt x="580" y="2672"/>
                  </a:lnTo>
                  <a:lnTo>
                    <a:pt x="589" y="2672"/>
                  </a:lnTo>
                  <a:lnTo>
                    <a:pt x="600" y="2672"/>
                  </a:lnTo>
                  <a:lnTo>
                    <a:pt x="609" y="2673"/>
                  </a:lnTo>
                  <a:lnTo>
                    <a:pt x="617" y="2676"/>
                  </a:lnTo>
                  <a:lnTo>
                    <a:pt x="624" y="2680"/>
                  </a:lnTo>
                  <a:lnTo>
                    <a:pt x="630" y="2682"/>
                  </a:lnTo>
                  <a:lnTo>
                    <a:pt x="637" y="2688"/>
                  </a:lnTo>
                  <a:lnTo>
                    <a:pt x="641" y="2693"/>
                  </a:lnTo>
                  <a:lnTo>
                    <a:pt x="646" y="2698"/>
                  </a:lnTo>
                  <a:lnTo>
                    <a:pt x="653" y="2710"/>
                  </a:lnTo>
                  <a:lnTo>
                    <a:pt x="658" y="2725"/>
                  </a:lnTo>
                  <a:lnTo>
                    <a:pt x="664" y="2741"/>
                  </a:lnTo>
                  <a:lnTo>
                    <a:pt x="666" y="2756"/>
                  </a:lnTo>
                  <a:lnTo>
                    <a:pt x="670" y="2772"/>
                  </a:lnTo>
                  <a:lnTo>
                    <a:pt x="674" y="2788"/>
                  </a:lnTo>
                  <a:lnTo>
                    <a:pt x="680" y="2801"/>
                  </a:lnTo>
                  <a:lnTo>
                    <a:pt x="686" y="2814"/>
                  </a:lnTo>
                  <a:lnTo>
                    <a:pt x="690" y="2820"/>
                  </a:lnTo>
                  <a:lnTo>
                    <a:pt x="696" y="2825"/>
                  </a:lnTo>
                  <a:lnTo>
                    <a:pt x="701" y="2829"/>
                  </a:lnTo>
                  <a:lnTo>
                    <a:pt x="708" y="2833"/>
                  </a:lnTo>
                  <a:lnTo>
                    <a:pt x="714" y="2836"/>
                  </a:lnTo>
                  <a:lnTo>
                    <a:pt x="722" y="2838"/>
                  </a:lnTo>
                  <a:lnTo>
                    <a:pt x="730" y="2840"/>
                  </a:lnTo>
                  <a:lnTo>
                    <a:pt x="740" y="2841"/>
                  </a:lnTo>
                  <a:lnTo>
                    <a:pt x="774" y="2838"/>
                  </a:lnTo>
                  <a:lnTo>
                    <a:pt x="810" y="2834"/>
                  </a:lnTo>
                  <a:lnTo>
                    <a:pt x="848" y="2829"/>
                  </a:lnTo>
                  <a:lnTo>
                    <a:pt x="888" y="2825"/>
                  </a:lnTo>
                  <a:lnTo>
                    <a:pt x="908" y="2824"/>
                  </a:lnTo>
                  <a:lnTo>
                    <a:pt x="929" y="2824"/>
                  </a:lnTo>
                  <a:lnTo>
                    <a:pt x="952" y="2824"/>
                  </a:lnTo>
                  <a:lnTo>
                    <a:pt x="974" y="2825"/>
                  </a:lnTo>
                  <a:lnTo>
                    <a:pt x="997" y="2828"/>
                  </a:lnTo>
                  <a:lnTo>
                    <a:pt x="1021" y="2833"/>
                  </a:lnTo>
                  <a:lnTo>
                    <a:pt x="1046" y="2838"/>
                  </a:lnTo>
                  <a:lnTo>
                    <a:pt x="1072" y="2846"/>
                  </a:lnTo>
                  <a:lnTo>
                    <a:pt x="1076" y="2836"/>
                  </a:lnTo>
                  <a:lnTo>
                    <a:pt x="1078" y="2829"/>
                  </a:lnTo>
                  <a:lnTo>
                    <a:pt x="1082" y="2821"/>
                  </a:lnTo>
                  <a:lnTo>
                    <a:pt x="1089" y="2810"/>
                  </a:lnTo>
                  <a:lnTo>
                    <a:pt x="1104" y="2790"/>
                  </a:lnTo>
                  <a:lnTo>
                    <a:pt x="1117" y="2770"/>
                  </a:lnTo>
                  <a:lnTo>
                    <a:pt x="1129" y="2750"/>
                  </a:lnTo>
                  <a:lnTo>
                    <a:pt x="1141" y="2730"/>
                  </a:lnTo>
                  <a:lnTo>
                    <a:pt x="1161" y="2690"/>
                  </a:lnTo>
                  <a:lnTo>
                    <a:pt x="1181" y="2654"/>
                  </a:lnTo>
                  <a:lnTo>
                    <a:pt x="1190" y="2638"/>
                  </a:lnTo>
                  <a:lnTo>
                    <a:pt x="1198" y="2622"/>
                  </a:lnTo>
                  <a:lnTo>
                    <a:pt x="1208" y="2609"/>
                  </a:lnTo>
                  <a:lnTo>
                    <a:pt x="1217" y="2598"/>
                  </a:lnTo>
                  <a:lnTo>
                    <a:pt x="1226" y="2588"/>
                  </a:lnTo>
                  <a:lnTo>
                    <a:pt x="1237" y="2581"/>
                  </a:lnTo>
                  <a:lnTo>
                    <a:pt x="1242" y="2578"/>
                  </a:lnTo>
                  <a:lnTo>
                    <a:pt x="1247" y="2577"/>
                  </a:lnTo>
                  <a:lnTo>
                    <a:pt x="1253" y="2576"/>
                  </a:lnTo>
                  <a:lnTo>
                    <a:pt x="1258" y="2576"/>
                  </a:lnTo>
                  <a:lnTo>
                    <a:pt x="1274" y="2576"/>
                  </a:lnTo>
                  <a:lnTo>
                    <a:pt x="1294" y="2576"/>
                  </a:lnTo>
                  <a:lnTo>
                    <a:pt x="1299" y="2574"/>
                  </a:lnTo>
                  <a:lnTo>
                    <a:pt x="1303" y="2573"/>
                  </a:lnTo>
                  <a:lnTo>
                    <a:pt x="1307" y="2570"/>
                  </a:lnTo>
                  <a:lnTo>
                    <a:pt x="1310" y="2568"/>
                  </a:lnTo>
                  <a:lnTo>
                    <a:pt x="1315" y="2558"/>
                  </a:lnTo>
                  <a:lnTo>
                    <a:pt x="1319" y="2548"/>
                  </a:lnTo>
                  <a:lnTo>
                    <a:pt x="1323" y="2522"/>
                  </a:lnTo>
                  <a:lnTo>
                    <a:pt x="1330" y="2497"/>
                  </a:lnTo>
                  <a:lnTo>
                    <a:pt x="1345" y="2469"/>
                  </a:lnTo>
                  <a:lnTo>
                    <a:pt x="1370" y="2417"/>
                  </a:lnTo>
                  <a:lnTo>
                    <a:pt x="1385" y="2389"/>
                  </a:lnTo>
                  <a:lnTo>
                    <a:pt x="1397" y="2367"/>
                  </a:lnTo>
                  <a:lnTo>
                    <a:pt x="1407" y="2349"/>
                  </a:lnTo>
                  <a:lnTo>
                    <a:pt x="1414" y="2341"/>
                  </a:lnTo>
                  <a:lnTo>
                    <a:pt x="1427" y="2333"/>
                  </a:lnTo>
                  <a:lnTo>
                    <a:pt x="1442" y="2324"/>
                  </a:lnTo>
                  <a:lnTo>
                    <a:pt x="1455" y="2313"/>
                  </a:lnTo>
                  <a:lnTo>
                    <a:pt x="1469" y="2301"/>
                  </a:lnTo>
                  <a:lnTo>
                    <a:pt x="1498" y="2275"/>
                  </a:lnTo>
                  <a:lnTo>
                    <a:pt x="1527" y="2249"/>
                  </a:lnTo>
                  <a:lnTo>
                    <a:pt x="1543" y="2236"/>
                  </a:lnTo>
                  <a:lnTo>
                    <a:pt x="1559" y="2224"/>
                  </a:lnTo>
                  <a:lnTo>
                    <a:pt x="1575" y="2213"/>
                  </a:lnTo>
                  <a:lnTo>
                    <a:pt x="1593" y="2204"/>
                  </a:lnTo>
                  <a:lnTo>
                    <a:pt x="1610" y="2196"/>
                  </a:lnTo>
                  <a:lnTo>
                    <a:pt x="1629" y="2189"/>
                  </a:lnTo>
                  <a:lnTo>
                    <a:pt x="1647" y="2185"/>
                  </a:lnTo>
                  <a:lnTo>
                    <a:pt x="1667" y="2184"/>
                  </a:lnTo>
                  <a:lnTo>
                    <a:pt x="1674" y="2184"/>
                  </a:lnTo>
                  <a:lnTo>
                    <a:pt x="1679" y="2187"/>
                  </a:lnTo>
                  <a:lnTo>
                    <a:pt x="1683" y="2188"/>
                  </a:lnTo>
                  <a:lnTo>
                    <a:pt x="1689" y="2191"/>
                  </a:lnTo>
                  <a:lnTo>
                    <a:pt x="1693" y="2192"/>
                  </a:lnTo>
                  <a:lnTo>
                    <a:pt x="1698" y="2195"/>
                  </a:lnTo>
                  <a:lnTo>
                    <a:pt x="1703" y="2196"/>
                  </a:lnTo>
                  <a:lnTo>
                    <a:pt x="1710" y="2196"/>
                  </a:lnTo>
                  <a:lnTo>
                    <a:pt x="1715" y="2196"/>
                  </a:lnTo>
                  <a:lnTo>
                    <a:pt x="1719" y="2193"/>
                  </a:lnTo>
                  <a:lnTo>
                    <a:pt x="1723" y="2191"/>
                  </a:lnTo>
                  <a:lnTo>
                    <a:pt x="1727" y="2185"/>
                  </a:lnTo>
                  <a:lnTo>
                    <a:pt x="1734" y="2175"/>
                  </a:lnTo>
                  <a:lnTo>
                    <a:pt x="1741" y="2163"/>
                  </a:lnTo>
                  <a:lnTo>
                    <a:pt x="1745" y="2157"/>
                  </a:lnTo>
                  <a:lnTo>
                    <a:pt x="1749" y="2151"/>
                  </a:lnTo>
                  <a:lnTo>
                    <a:pt x="1754" y="2145"/>
                  </a:lnTo>
                  <a:lnTo>
                    <a:pt x="1759" y="2140"/>
                  </a:lnTo>
                  <a:lnTo>
                    <a:pt x="1766" y="2136"/>
                  </a:lnTo>
                  <a:lnTo>
                    <a:pt x="1774" y="2133"/>
                  </a:lnTo>
                  <a:lnTo>
                    <a:pt x="1783" y="2131"/>
                  </a:lnTo>
                  <a:lnTo>
                    <a:pt x="1794" y="2129"/>
                  </a:lnTo>
                  <a:lnTo>
                    <a:pt x="1802" y="2131"/>
                  </a:lnTo>
                  <a:lnTo>
                    <a:pt x="1807" y="2133"/>
                  </a:lnTo>
                  <a:lnTo>
                    <a:pt x="1814" y="2137"/>
                  </a:lnTo>
                  <a:lnTo>
                    <a:pt x="1819" y="2143"/>
                  </a:lnTo>
                  <a:lnTo>
                    <a:pt x="1827" y="2155"/>
                  </a:lnTo>
                  <a:lnTo>
                    <a:pt x="1834" y="2169"/>
                  </a:lnTo>
                  <a:lnTo>
                    <a:pt x="1841" y="2184"/>
                  </a:lnTo>
                  <a:lnTo>
                    <a:pt x="1849" y="2196"/>
                  </a:lnTo>
                  <a:lnTo>
                    <a:pt x="1851" y="2201"/>
                  </a:lnTo>
                  <a:lnTo>
                    <a:pt x="1857" y="2205"/>
                  </a:lnTo>
                  <a:lnTo>
                    <a:pt x="1861" y="2208"/>
                  </a:lnTo>
                  <a:lnTo>
                    <a:pt x="1866" y="2208"/>
                  </a:lnTo>
                  <a:lnTo>
                    <a:pt x="1877" y="2207"/>
                  </a:lnTo>
                  <a:lnTo>
                    <a:pt x="1885" y="2204"/>
                  </a:lnTo>
                  <a:lnTo>
                    <a:pt x="1893" y="2200"/>
                  </a:lnTo>
                  <a:lnTo>
                    <a:pt x="1901" y="2196"/>
                  </a:lnTo>
                  <a:lnTo>
                    <a:pt x="1907" y="2192"/>
                  </a:lnTo>
                  <a:lnTo>
                    <a:pt x="1917" y="2188"/>
                  </a:lnTo>
                  <a:lnTo>
                    <a:pt x="1926" y="2185"/>
                  </a:lnTo>
                  <a:lnTo>
                    <a:pt x="1938" y="2184"/>
                  </a:lnTo>
                  <a:lnTo>
                    <a:pt x="1961" y="2185"/>
                  </a:lnTo>
                  <a:lnTo>
                    <a:pt x="1979" y="2189"/>
                  </a:lnTo>
                  <a:lnTo>
                    <a:pt x="1996" y="2193"/>
                  </a:lnTo>
                  <a:lnTo>
                    <a:pt x="2012" y="2199"/>
                  </a:lnTo>
                  <a:lnTo>
                    <a:pt x="2028" y="2205"/>
                  </a:lnTo>
                  <a:lnTo>
                    <a:pt x="2047" y="2209"/>
                  </a:lnTo>
                  <a:lnTo>
                    <a:pt x="2068" y="2213"/>
                  </a:lnTo>
                  <a:lnTo>
                    <a:pt x="2095" y="2215"/>
                  </a:lnTo>
                  <a:lnTo>
                    <a:pt x="2116" y="2217"/>
                  </a:lnTo>
                  <a:lnTo>
                    <a:pt x="2138" y="2223"/>
                  </a:lnTo>
                  <a:lnTo>
                    <a:pt x="2148" y="2225"/>
                  </a:lnTo>
                  <a:lnTo>
                    <a:pt x="2160" y="2224"/>
                  </a:lnTo>
                  <a:lnTo>
                    <a:pt x="2166" y="2223"/>
                  </a:lnTo>
                  <a:lnTo>
                    <a:pt x="2172" y="2221"/>
                  </a:lnTo>
                  <a:lnTo>
                    <a:pt x="2179" y="2219"/>
                  </a:lnTo>
                  <a:lnTo>
                    <a:pt x="2186" y="2215"/>
                  </a:lnTo>
                  <a:lnTo>
                    <a:pt x="2190" y="2211"/>
                  </a:lnTo>
                  <a:lnTo>
                    <a:pt x="2194" y="2205"/>
                  </a:lnTo>
                  <a:lnTo>
                    <a:pt x="2199" y="2199"/>
                  </a:lnTo>
                  <a:lnTo>
                    <a:pt x="2204" y="2191"/>
                  </a:lnTo>
                  <a:lnTo>
                    <a:pt x="2210" y="2184"/>
                  </a:lnTo>
                  <a:lnTo>
                    <a:pt x="2215" y="2177"/>
                  </a:lnTo>
                  <a:lnTo>
                    <a:pt x="2220" y="2173"/>
                  </a:lnTo>
                  <a:lnTo>
                    <a:pt x="2227" y="2172"/>
                  </a:lnTo>
                  <a:lnTo>
                    <a:pt x="2236" y="2173"/>
                  </a:lnTo>
                  <a:lnTo>
                    <a:pt x="2244" y="2176"/>
                  </a:lnTo>
                  <a:lnTo>
                    <a:pt x="2252" y="2180"/>
                  </a:lnTo>
                  <a:lnTo>
                    <a:pt x="2260" y="2184"/>
                  </a:lnTo>
                  <a:lnTo>
                    <a:pt x="2267" y="2188"/>
                  </a:lnTo>
                  <a:lnTo>
                    <a:pt x="2274" y="2192"/>
                  </a:lnTo>
                  <a:lnTo>
                    <a:pt x="2280" y="2195"/>
                  </a:lnTo>
                  <a:lnTo>
                    <a:pt x="2287" y="2196"/>
                  </a:lnTo>
                  <a:lnTo>
                    <a:pt x="2295" y="2196"/>
                  </a:lnTo>
                  <a:lnTo>
                    <a:pt x="2302" y="2193"/>
                  </a:lnTo>
                  <a:lnTo>
                    <a:pt x="2306" y="2191"/>
                  </a:lnTo>
                  <a:lnTo>
                    <a:pt x="2311" y="2188"/>
                  </a:lnTo>
                  <a:lnTo>
                    <a:pt x="2318" y="2179"/>
                  </a:lnTo>
                  <a:lnTo>
                    <a:pt x="2323" y="2167"/>
                  </a:lnTo>
                  <a:lnTo>
                    <a:pt x="2328" y="2155"/>
                  </a:lnTo>
                  <a:lnTo>
                    <a:pt x="2334" y="2143"/>
                  </a:lnTo>
                  <a:lnTo>
                    <a:pt x="2338" y="2137"/>
                  </a:lnTo>
                  <a:lnTo>
                    <a:pt x="2342" y="2132"/>
                  </a:lnTo>
                  <a:lnTo>
                    <a:pt x="2347" y="2128"/>
                  </a:lnTo>
                  <a:lnTo>
                    <a:pt x="2354" y="2124"/>
                  </a:lnTo>
                  <a:lnTo>
                    <a:pt x="2364" y="2119"/>
                  </a:lnTo>
                  <a:lnTo>
                    <a:pt x="2374" y="2112"/>
                  </a:lnTo>
                  <a:lnTo>
                    <a:pt x="2383" y="2104"/>
                  </a:lnTo>
                  <a:lnTo>
                    <a:pt x="2394" y="2096"/>
                  </a:lnTo>
                  <a:lnTo>
                    <a:pt x="2412" y="2076"/>
                  </a:lnTo>
                  <a:lnTo>
                    <a:pt x="2430" y="2056"/>
                  </a:lnTo>
                  <a:lnTo>
                    <a:pt x="2447" y="2036"/>
                  </a:lnTo>
                  <a:lnTo>
                    <a:pt x="2463" y="2019"/>
                  </a:lnTo>
                  <a:lnTo>
                    <a:pt x="2471" y="2012"/>
                  </a:lnTo>
                  <a:lnTo>
                    <a:pt x="2478" y="2005"/>
                  </a:lnTo>
                  <a:lnTo>
                    <a:pt x="2486" y="2000"/>
                  </a:lnTo>
                  <a:lnTo>
                    <a:pt x="2492" y="1997"/>
                  </a:lnTo>
                  <a:lnTo>
                    <a:pt x="2500" y="1995"/>
                  </a:lnTo>
                  <a:lnTo>
                    <a:pt x="2508" y="1993"/>
                  </a:lnTo>
                  <a:lnTo>
                    <a:pt x="2516" y="1992"/>
                  </a:lnTo>
                  <a:lnTo>
                    <a:pt x="2526" y="1992"/>
                  </a:lnTo>
                  <a:lnTo>
                    <a:pt x="2542" y="1992"/>
                  </a:lnTo>
                  <a:lnTo>
                    <a:pt x="2556" y="1992"/>
                  </a:lnTo>
                  <a:lnTo>
                    <a:pt x="2563" y="1992"/>
                  </a:lnTo>
                  <a:lnTo>
                    <a:pt x="2570" y="1991"/>
                  </a:lnTo>
                  <a:lnTo>
                    <a:pt x="2575" y="1988"/>
                  </a:lnTo>
                  <a:lnTo>
                    <a:pt x="2579" y="1985"/>
                  </a:lnTo>
                  <a:lnTo>
                    <a:pt x="2583" y="1980"/>
                  </a:lnTo>
                  <a:lnTo>
                    <a:pt x="2587" y="1973"/>
                  </a:lnTo>
                  <a:lnTo>
                    <a:pt x="2588" y="1965"/>
                  </a:lnTo>
                  <a:lnTo>
                    <a:pt x="2588" y="1955"/>
                  </a:lnTo>
                  <a:lnTo>
                    <a:pt x="2587" y="1944"/>
                  </a:lnTo>
                  <a:lnTo>
                    <a:pt x="2584" y="1935"/>
                  </a:lnTo>
                  <a:lnTo>
                    <a:pt x="2579" y="1925"/>
                  </a:lnTo>
                  <a:lnTo>
                    <a:pt x="2574" y="1916"/>
                  </a:lnTo>
                  <a:lnTo>
                    <a:pt x="2568" y="1907"/>
                  </a:lnTo>
                  <a:lnTo>
                    <a:pt x="2563" y="1897"/>
                  </a:lnTo>
                  <a:lnTo>
                    <a:pt x="2560" y="1888"/>
                  </a:lnTo>
                  <a:lnTo>
                    <a:pt x="2559" y="1877"/>
                  </a:lnTo>
                  <a:lnTo>
                    <a:pt x="2643" y="1660"/>
                  </a:lnTo>
                  <a:lnTo>
                    <a:pt x="2654" y="1652"/>
                  </a:lnTo>
                  <a:lnTo>
                    <a:pt x="2670" y="1643"/>
                  </a:lnTo>
                  <a:lnTo>
                    <a:pt x="2686" y="1635"/>
                  </a:lnTo>
                  <a:lnTo>
                    <a:pt x="2703" y="1626"/>
                  </a:lnTo>
                  <a:lnTo>
                    <a:pt x="2711" y="1620"/>
                  </a:lnTo>
                  <a:lnTo>
                    <a:pt x="2719" y="1615"/>
                  </a:lnTo>
                  <a:lnTo>
                    <a:pt x="2727" y="1608"/>
                  </a:lnTo>
                  <a:lnTo>
                    <a:pt x="2732" y="1602"/>
                  </a:lnTo>
                  <a:lnTo>
                    <a:pt x="2738" y="1594"/>
                  </a:lnTo>
                  <a:lnTo>
                    <a:pt x="2742" y="1584"/>
                  </a:lnTo>
                  <a:lnTo>
                    <a:pt x="2744" y="1575"/>
                  </a:lnTo>
                  <a:lnTo>
                    <a:pt x="2746" y="1564"/>
                  </a:lnTo>
                  <a:lnTo>
                    <a:pt x="2744" y="1555"/>
                  </a:lnTo>
                  <a:lnTo>
                    <a:pt x="2743" y="1548"/>
                  </a:lnTo>
                  <a:lnTo>
                    <a:pt x="2740" y="1540"/>
                  </a:lnTo>
                  <a:lnTo>
                    <a:pt x="2736" y="1535"/>
                  </a:lnTo>
                  <a:lnTo>
                    <a:pt x="2727" y="1524"/>
                  </a:lnTo>
                  <a:lnTo>
                    <a:pt x="2716" y="1516"/>
                  </a:lnTo>
                  <a:lnTo>
                    <a:pt x="2704" y="1508"/>
                  </a:lnTo>
                  <a:lnTo>
                    <a:pt x="2692" y="1502"/>
                  </a:lnTo>
                  <a:lnTo>
                    <a:pt x="2682" y="1494"/>
                  </a:lnTo>
                  <a:lnTo>
                    <a:pt x="2674" y="1486"/>
                  </a:lnTo>
                  <a:lnTo>
                    <a:pt x="2668" y="1476"/>
                  </a:lnTo>
                  <a:lnTo>
                    <a:pt x="2664" y="1467"/>
                  </a:lnTo>
                  <a:lnTo>
                    <a:pt x="2662" y="1458"/>
                  </a:lnTo>
                  <a:lnTo>
                    <a:pt x="2659" y="1448"/>
                  </a:lnTo>
                  <a:lnTo>
                    <a:pt x="2656" y="1428"/>
                  </a:lnTo>
                  <a:lnTo>
                    <a:pt x="2654" y="1408"/>
                  </a:lnTo>
                  <a:lnTo>
                    <a:pt x="2652" y="1388"/>
                  </a:lnTo>
                  <a:lnTo>
                    <a:pt x="2648" y="1370"/>
                  </a:lnTo>
                  <a:lnTo>
                    <a:pt x="2646" y="1360"/>
                  </a:lnTo>
                  <a:lnTo>
                    <a:pt x="2642" y="1351"/>
                  </a:lnTo>
                  <a:lnTo>
                    <a:pt x="2638" y="1343"/>
                  </a:lnTo>
                  <a:lnTo>
                    <a:pt x="2631" y="1335"/>
                  </a:lnTo>
                  <a:lnTo>
                    <a:pt x="2622" y="1324"/>
                  </a:lnTo>
                  <a:lnTo>
                    <a:pt x="2612" y="1315"/>
                  </a:lnTo>
                  <a:lnTo>
                    <a:pt x="2603" y="1306"/>
                  </a:lnTo>
                  <a:lnTo>
                    <a:pt x="2594" y="1298"/>
                  </a:lnTo>
                  <a:lnTo>
                    <a:pt x="2574" y="1282"/>
                  </a:lnTo>
                  <a:lnTo>
                    <a:pt x="2554" y="1267"/>
                  </a:lnTo>
                  <a:lnTo>
                    <a:pt x="2535" y="1253"/>
                  </a:lnTo>
                  <a:lnTo>
                    <a:pt x="2518" y="1235"/>
                  </a:lnTo>
                  <a:lnTo>
                    <a:pt x="2508" y="1226"/>
                  </a:lnTo>
                  <a:lnTo>
                    <a:pt x="2500" y="1215"/>
                  </a:lnTo>
                  <a:lnTo>
                    <a:pt x="2494" y="1203"/>
                  </a:lnTo>
                  <a:lnTo>
                    <a:pt x="2487" y="1191"/>
                  </a:lnTo>
                  <a:lnTo>
                    <a:pt x="2480" y="1179"/>
                  </a:lnTo>
                  <a:lnTo>
                    <a:pt x="2475" y="1169"/>
                  </a:lnTo>
                  <a:lnTo>
                    <a:pt x="2472" y="1159"/>
                  </a:lnTo>
                  <a:lnTo>
                    <a:pt x="2470" y="1150"/>
                  </a:lnTo>
                  <a:lnTo>
                    <a:pt x="2464" y="1133"/>
                  </a:lnTo>
                  <a:lnTo>
                    <a:pt x="2460" y="1117"/>
                  </a:lnTo>
                  <a:lnTo>
                    <a:pt x="2458" y="1110"/>
                  </a:lnTo>
                  <a:lnTo>
                    <a:pt x="2455" y="1103"/>
                  </a:lnTo>
                  <a:lnTo>
                    <a:pt x="2451" y="1097"/>
                  </a:lnTo>
                  <a:lnTo>
                    <a:pt x="2446" y="1091"/>
                  </a:lnTo>
                  <a:lnTo>
                    <a:pt x="2439" y="1085"/>
                  </a:lnTo>
                  <a:lnTo>
                    <a:pt x="2431" y="1079"/>
                  </a:lnTo>
                  <a:lnTo>
                    <a:pt x="2420" y="1075"/>
                  </a:lnTo>
                  <a:lnTo>
                    <a:pt x="2408" y="1070"/>
                  </a:lnTo>
                  <a:lnTo>
                    <a:pt x="2418" y="1043"/>
                  </a:lnTo>
                  <a:lnTo>
                    <a:pt x="2427" y="1022"/>
                  </a:lnTo>
                  <a:lnTo>
                    <a:pt x="2432" y="1013"/>
                  </a:lnTo>
                  <a:lnTo>
                    <a:pt x="2435" y="1003"/>
                  </a:lnTo>
                  <a:lnTo>
                    <a:pt x="2438" y="995"/>
                  </a:lnTo>
                  <a:lnTo>
                    <a:pt x="2438" y="986"/>
                  </a:lnTo>
                  <a:lnTo>
                    <a:pt x="2440" y="974"/>
                  </a:lnTo>
                  <a:lnTo>
                    <a:pt x="2444" y="961"/>
                  </a:lnTo>
                  <a:lnTo>
                    <a:pt x="2447" y="953"/>
                  </a:lnTo>
                  <a:lnTo>
                    <a:pt x="2448" y="943"/>
                  </a:lnTo>
                  <a:lnTo>
                    <a:pt x="2450" y="930"/>
                  </a:lnTo>
                  <a:lnTo>
                    <a:pt x="2450" y="914"/>
                  </a:lnTo>
                  <a:lnTo>
                    <a:pt x="2432" y="914"/>
                  </a:lnTo>
                  <a:lnTo>
                    <a:pt x="2423" y="909"/>
                  </a:lnTo>
                  <a:lnTo>
                    <a:pt x="2414" y="903"/>
                  </a:lnTo>
                  <a:lnTo>
                    <a:pt x="2403" y="898"/>
                  </a:lnTo>
                  <a:lnTo>
                    <a:pt x="2390" y="890"/>
                  </a:lnTo>
                  <a:lnTo>
                    <a:pt x="2374" y="895"/>
                  </a:lnTo>
                  <a:lnTo>
                    <a:pt x="2360" y="899"/>
                  </a:lnTo>
                  <a:lnTo>
                    <a:pt x="2350" y="905"/>
                  </a:lnTo>
                  <a:lnTo>
                    <a:pt x="2340" y="910"/>
                  </a:lnTo>
                  <a:lnTo>
                    <a:pt x="2332" y="915"/>
                  </a:lnTo>
                  <a:lnTo>
                    <a:pt x="2327" y="919"/>
                  </a:lnTo>
                  <a:lnTo>
                    <a:pt x="2323" y="925"/>
                  </a:lnTo>
                  <a:lnTo>
                    <a:pt x="2320" y="930"/>
                  </a:lnTo>
                  <a:lnTo>
                    <a:pt x="2319" y="935"/>
                  </a:lnTo>
                  <a:lnTo>
                    <a:pt x="2319" y="939"/>
                  </a:lnTo>
                  <a:lnTo>
                    <a:pt x="2320" y="945"/>
                  </a:lnTo>
                  <a:lnTo>
                    <a:pt x="2323" y="950"/>
                  </a:lnTo>
                  <a:lnTo>
                    <a:pt x="2330" y="959"/>
                  </a:lnTo>
                  <a:lnTo>
                    <a:pt x="2339" y="969"/>
                  </a:lnTo>
                  <a:lnTo>
                    <a:pt x="2360" y="987"/>
                  </a:lnTo>
                  <a:lnTo>
                    <a:pt x="2380" y="1003"/>
                  </a:lnTo>
                  <a:lnTo>
                    <a:pt x="2383" y="1009"/>
                  </a:lnTo>
                  <a:lnTo>
                    <a:pt x="2386" y="1013"/>
                  </a:lnTo>
                  <a:lnTo>
                    <a:pt x="2387" y="1015"/>
                  </a:lnTo>
                  <a:lnTo>
                    <a:pt x="2388" y="1019"/>
                  </a:lnTo>
                  <a:lnTo>
                    <a:pt x="2388" y="1023"/>
                  </a:lnTo>
                  <a:lnTo>
                    <a:pt x="2386" y="1027"/>
                  </a:lnTo>
                  <a:lnTo>
                    <a:pt x="2383" y="1031"/>
                  </a:lnTo>
                  <a:lnTo>
                    <a:pt x="2378" y="1034"/>
                  </a:lnTo>
                  <a:lnTo>
                    <a:pt x="2372" y="1046"/>
                  </a:lnTo>
                  <a:lnTo>
                    <a:pt x="2366" y="1058"/>
                  </a:lnTo>
                  <a:lnTo>
                    <a:pt x="2359" y="1069"/>
                  </a:lnTo>
                  <a:lnTo>
                    <a:pt x="2351" y="1079"/>
                  </a:lnTo>
                  <a:lnTo>
                    <a:pt x="2336" y="1098"/>
                  </a:lnTo>
                  <a:lnTo>
                    <a:pt x="2319" y="1115"/>
                  </a:lnTo>
                  <a:lnTo>
                    <a:pt x="2300" y="1130"/>
                  </a:lnTo>
                  <a:lnTo>
                    <a:pt x="2282" y="1143"/>
                  </a:lnTo>
                  <a:lnTo>
                    <a:pt x="2263" y="1157"/>
                  </a:lnTo>
                  <a:lnTo>
                    <a:pt x="2243" y="1169"/>
                  </a:lnTo>
                  <a:lnTo>
                    <a:pt x="2204" y="1190"/>
                  </a:lnTo>
                  <a:lnTo>
                    <a:pt x="2168" y="1210"/>
                  </a:lnTo>
                  <a:lnTo>
                    <a:pt x="2152" y="1221"/>
                  </a:lnTo>
                  <a:lnTo>
                    <a:pt x="2138" y="1233"/>
                  </a:lnTo>
                  <a:lnTo>
                    <a:pt x="2124" y="1245"/>
                  </a:lnTo>
                  <a:lnTo>
                    <a:pt x="2112" y="1257"/>
                  </a:lnTo>
                  <a:lnTo>
                    <a:pt x="2114" y="1243"/>
                  </a:lnTo>
                  <a:lnTo>
                    <a:pt x="2116" y="1227"/>
                  </a:lnTo>
                  <a:lnTo>
                    <a:pt x="2120" y="1211"/>
                  </a:lnTo>
                  <a:lnTo>
                    <a:pt x="2127" y="1194"/>
                  </a:lnTo>
                  <a:lnTo>
                    <a:pt x="2135" y="1177"/>
                  </a:lnTo>
                  <a:lnTo>
                    <a:pt x="2144" y="1157"/>
                  </a:lnTo>
                  <a:lnTo>
                    <a:pt x="2155" y="1137"/>
                  </a:lnTo>
                  <a:lnTo>
                    <a:pt x="2167" y="1117"/>
                  </a:lnTo>
                  <a:lnTo>
                    <a:pt x="2224" y="1026"/>
                  </a:lnTo>
                  <a:lnTo>
                    <a:pt x="2291" y="926"/>
                  </a:lnTo>
                  <a:lnTo>
                    <a:pt x="2326" y="873"/>
                  </a:lnTo>
                  <a:lnTo>
                    <a:pt x="2359" y="819"/>
                  </a:lnTo>
                  <a:lnTo>
                    <a:pt x="2374" y="791"/>
                  </a:lnTo>
                  <a:lnTo>
                    <a:pt x="2390" y="763"/>
                  </a:lnTo>
                  <a:lnTo>
                    <a:pt x="2403" y="737"/>
                  </a:lnTo>
                  <a:lnTo>
                    <a:pt x="2416" y="709"/>
                  </a:lnTo>
                  <a:lnTo>
                    <a:pt x="2430" y="681"/>
                  </a:lnTo>
                  <a:lnTo>
                    <a:pt x="2440" y="653"/>
                  </a:lnTo>
                  <a:lnTo>
                    <a:pt x="2450" y="625"/>
                  </a:lnTo>
                  <a:lnTo>
                    <a:pt x="2459" y="597"/>
                  </a:lnTo>
                  <a:lnTo>
                    <a:pt x="2466" y="569"/>
                  </a:lnTo>
                  <a:lnTo>
                    <a:pt x="2470" y="541"/>
                  </a:lnTo>
                  <a:lnTo>
                    <a:pt x="2474" y="513"/>
                  </a:lnTo>
                  <a:lnTo>
                    <a:pt x="2474" y="486"/>
                  </a:lnTo>
                  <a:lnTo>
                    <a:pt x="2474" y="476"/>
                  </a:lnTo>
                  <a:lnTo>
                    <a:pt x="2472" y="465"/>
                  </a:lnTo>
                  <a:lnTo>
                    <a:pt x="2470" y="454"/>
                  </a:lnTo>
                  <a:lnTo>
                    <a:pt x="2466" y="442"/>
                  </a:lnTo>
                  <a:lnTo>
                    <a:pt x="2456" y="418"/>
                  </a:lnTo>
                  <a:lnTo>
                    <a:pt x="2444" y="393"/>
                  </a:lnTo>
                  <a:lnTo>
                    <a:pt x="2430" y="368"/>
                  </a:lnTo>
                  <a:lnTo>
                    <a:pt x="2412" y="341"/>
                  </a:lnTo>
                  <a:lnTo>
                    <a:pt x="2392" y="316"/>
                  </a:lnTo>
                  <a:lnTo>
                    <a:pt x="2371" y="292"/>
                  </a:lnTo>
                  <a:lnTo>
                    <a:pt x="2348" y="269"/>
                  </a:lnTo>
                  <a:lnTo>
                    <a:pt x="2326" y="248"/>
                  </a:lnTo>
                  <a:lnTo>
                    <a:pt x="2302" y="229"/>
                  </a:lnTo>
                  <a:lnTo>
                    <a:pt x="2279" y="212"/>
                  </a:lnTo>
                  <a:lnTo>
                    <a:pt x="2267" y="205"/>
                  </a:lnTo>
                  <a:lnTo>
                    <a:pt x="2255" y="198"/>
                  </a:lnTo>
                  <a:lnTo>
                    <a:pt x="2244" y="193"/>
                  </a:lnTo>
                  <a:lnTo>
                    <a:pt x="2232" y="188"/>
                  </a:lnTo>
                  <a:lnTo>
                    <a:pt x="2222" y="184"/>
                  </a:lnTo>
                  <a:lnTo>
                    <a:pt x="2211" y="181"/>
                  </a:lnTo>
                  <a:lnTo>
                    <a:pt x="2200" y="180"/>
                  </a:lnTo>
                  <a:lnTo>
                    <a:pt x="2191" y="180"/>
                  </a:lnTo>
                  <a:lnTo>
                    <a:pt x="2159" y="180"/>
                  </a:lnTo>
                  <a:lnTo>
                    <a:pt x="2119" y="182"/>
                  </a:lnTo>
                  <a:lnTo>
                    <a:pt x="2099" y="185"/>
                  </a:lnTo>
                  <a:lnTo>
                    <a:pt x="2079" y="189"/>
                  </a:lnTo>
                  <a:lnTo>
                    <a:pt x="2070" y="192"/>
                  </a:lnTo>
                  <a:lnTo>
                    <a:pt x="2062" y="196"/>
                  </a:lnTo>
                  <a:lnTo>
                    <a:pt x="2054" y="198"/>
                  </a:lnTo>
                  <a:lnTo>
                    <a:pt x="2047" y="204"/>
                  </a:lnTo>
                  <a:lnTo>
                    <a:pt x="2044" y="222"/>
                  </a:lnTo>
                  <a:lnTo>
                    <a:pt x="2040" y="238"/>
                  </a:lnTo>
                  <a:lnTo>
                    <a:pt x="2036" y="252"/>
                  </a:lnTo>
                  <a:lnTo>
                    <a:pt x="2031" y="264"/>
                  </a:lnTo>
                  <a:lnTo>
                    <a:pt x="2024" y="272"/>
                  </a:lnTo>
                  <a:lnTo>
                    <a:pt x="2019" y="280"/>
                  </a:lnTo>
                  <a:lnTo>
                    <a:pt x="2011" y="285"/>
                  </a:lnTo>
                  <a:lnTo>
                    <a:pt x="2004" y="289"/>
                  </a:lnTo>
                  <a:lnTo>
                    <a:pt x="1996" y="292"/>
                  </a:lnTo>
                  <a:lnTo>
                    <a:pt x="1990" y="293"/>
                  </a:lnTo>
                  <a:lnTo>
                    <a:pt x="1982" y="294"/>
                  </a:lnTo>
                  <a:lnTo>
                    <a:pt x="1974" y="294"/>
                  </a:lnTo>
                  <a:lnTo>
                    <a:pt x="1959" y="294"/>
                  </a:lnTo>
                  <a:lnTo>
                    <a:pt x="1945" y="293"/>
                  </a:lnTo>
                  <a:lnTo>
                    <a:pt x="1942" y="293"/>
                  </a:lnTo>
                  <a:lnTo>
                    <a:pt x="1941" y="292"/>
                  </a:lnTo>
                  <a:lnTo>
                    <a:pt x="1941" y="289"/>
                  </a:lnTo>
                  <a:lnTo>
                    <a:pt x="1941" y="285"/>
                  </a:lnTo>
                  <a:lnTo>
                    <a:pt x="1946" y="276"/>
                  </a:lnTo>
                  <a:lnTo>
                    <a:pt x="1953" y="264"/>
                  </a:lnTo>
                  <a:lnTo>
                    <a:pt x="1961" y="249"/>
                  </a:lnTo>
                  <a:lnTo>
                    <a:pt x="1969" y="233"/>
                  </a:lnTo>
                  <a:lnTo>
                    <a:pt x="1975" y="217"/>
                  </a:lnTo>
                  <a:lnTo>
                    <a:pt x="1979" y="201"/>
                  </a:lnTo>
                  <a:lnTo>
                    <a:pt x="1981" y="193"/>
                  </a:lnTo>
                  <a:lnTo>
                    <a:pt x="1981" y="185"/>
                  </a:lnTo>
                  <a:lnTo>
                    <a:pt x="1979" y="178"/>
                  </a:lnTo>
                  <a:lnTo>
                    <a:pt x="1978" y="170"/>
                  </a:lnTo>
                  <a:lnTo>
                    <a:pt x="1974" y="165"/>
                  </a:lnTo>
                  <a:lnTo>
                    <a:pt x="1969" y="158"/>
                  </a:lnTo>
                  <a:lnTo>
                    <a:pt x="1961" y="153"/>
                  </a:lnTo>
                  <a:lnTo>
                    <a:pt x="1953" y="149"/>
                  </a:lnTo>
                  <a:lnTo>
                    <a:pt x="1941" y="145"/>
                  </a:lnTo>
                  <a:lnTo>
                    <a:pt x="1927" y="142"/>
                  </a:lnTo>
                  <a:lnTo>
                    <a:pt x="1913" y="141"/>
                  </a:lnTo>
                  <a:lnTo>
                    <a:pt x="1894" y="140"/>
                  </a:lnTo>
                  <a:lnTo>
                    <a:pt x="1873" y="140"/>
                  </a:lnTo>
                  <a:lnTo>
                    <a:pt x="1850" y="141"/>
                  </a:lnTo>
                  <a:lnTo>
                    <a:pt x="1823" y="145"/>
                  </a:lnTo>
                  <a:lnTo>
                    <a:pt x="1794" y="149"/>
                  </a:lnTo>
                  <a:lnTo>
                    <a:pt x="1791" y="146"/>
                  </a:lnTo>
                  <a:lnTo>
                    <a:pt x="1790" y="145"/>
                  </a:lnTo>
                  <a:lnTo>
                    <a:pt x="1789" y="142"/>
                  </a:lnTo>
                  <a:lnTo>
                    <a:pt x="1789" y="140"/>
                  </a:lnTo>
                  <a:lnTo>
                    <a:pt x="1793" y="136"/>
                  </a:lnTo>
                  <a:lnTo>
                    <a:pt x="1799" y="132"/>
                  </a:lnTo>
                  <a:lnTo>
                    <a:pt x="1817" y="122"/>
                  </a:lnTo>
                  <a:lnTo>
                    <a:pt x="1838" y="111"/>
                  </a:lnTo>
                  <a:lnTo>
                    <a:pt x="1847" y="104"/>
                  </a:lnTo>
                  <a:lnTo>
                    <a:pt x="1855" y="96"/>
                  </a:lnTo>
                  <a:lnTo>
                    <a:pt x="1859" y="92"/>
                  </a:lnTo>
                  <a:lnTo>
                    <a:pt x="1862" y="87"/>
                  </a:lnTo>
                  <a:lnTo>
                    <a:pt x="1863" y="83"/>
                  </a:lnTo>
                  <a:lnTo>
                    <a:pt x="1865" y="77"/>
                  </a:lnTo>
                  <a:lnTo>
                    <a:pt x="1866" y="72"/>
                  </a:lnTo>
                  <a:lnTo>
                    <a:pt x="1865" y="65"/>
                  </a:lnTo>
                  <a:lnTo>
                    <a:pt x="1863" y="60"/>
                  </a:lnTo>
                  <a:lnTo>
                    <a:pt x="1861" y="53"/>
                  </a:lnTo>
                  <a:lnTo>
                    <a:pt x="1857" y="47"/>
                  </a:lnTo>
                  <a:lnTo>
                    <a:pt x="1851" y="39"/>
                  </a:lnTo>
                  <a:lnTo>
                    <a:pt x="1845" y="31"/>
                  </a:lnTo>
                  <a:lnTo>
                    <a:pt x="1837" y="23"/>
                  </a:lnTo>
                  <a:lnTo>
                    <a:pt x="1822" y="16"/>
                  </a:lnTo>
                  <a:lnTo>
                    <a:pt x="1809" y="12"/>
                  </a:lnTo>
                  <a:lnTo>
                    <a:pt x="1795" y="8"/>
                  </a:lnTo>
                  <a:lnTo>
                    <a:pt x="1783" y="4"/>
                  </a:lnTo>
                  <a:lnTo>
                    <a:pt x="1771" y="3"/>
                  </a:lnTo>
                  <a:lnTo>
                    <a:pt x="1761" y="1"/>
                  </a:lnTo>
                  <a:lnTo>
                    <a:pt x="1751" y="0"/>
                  </a:lnTo>
                  <a:lnTo>
                    <a:pt x="1743" y="1"/>
                  </a:lnTo>
                  <a:lnTo>
                    <a:pt x="1734" y="3"/>
                  </a:lnTo>
                  <a:lnTo>
                    <a:pt x="1727" y="4"/>
                  </a:lnTo>
                  <a:lnTo>
                    <a:pt x="1721" y="7"/>
                  </a:lnTo>
                  <a:lnTo>
                    <a:pt x="1715" y="11"/>
                  </a:lnTo>
                  <a:lnTo>
                    <a:pt x="1711" y="13"/>
                  </a:lnTo>
                  <a:lnTo>
                    <a:pt x="1707" y="19"/>
                  </a:lnTo>
                  <a:lnTo>
                    <a:pt x="1705" y="24"/>
                  </a:lnTo>
                  <a:lnTo>
                    <a:pt x="1703" y="29"/>
                  </a:lnTo>
                  <a:lnTo>
                    <a:pt x="1697" y="36"/>
                  </a:lnTo>
                  <a:lnTo>
                    <a:pt x="1690" y="45"/>
                  </a:lnTo>
                  <a:lnTo>
                    <a:pt x="1683" y="55"/>
                  </a:lnTo>
                  <a:lnTo>
                    <a:pt x="1677" y="65"/>
                  </a:lnTo>
                  <a:lnTo>
                    <a:pt x="1665" y="89"/>
                  </a:lnTo>
                  <a:lnTo>
                    <a:pt x="1651" y="115"/>
                  </a:lnTo>
                  <a:lnTo>
                    <a:pt x="1638" y="141"/>
                  </a:lnTo>
                  <a:lnTo>
                    <a:pt x="1625" y="166"/>
                  </a:lnTo>
                  <a:lnTo>
                    <a:pt x="1610" y="189"/>
                  </a:lnTo>
                  <a:lnTo>
                    <a:pt x="1595" y="209"/>
                  </a:lnTo>
                  <a:lnTo>
                    <a:pt x="1591" y="214"/>
                  </a:lnTo>
                  <a:lnTo>
                    <a:pt x="1589" y="220"/>
                  </a:lnTo>
                  <a:lnTo>
                    <a:pt x="1587" y="225"/>
                  </a:lnTo>
                  <a:lnTo>
                    <a:pt x="1586" y="230"/>
                  </a:lnTo>
                  <a:lnTo>
                    <a:pt x="1586" y="241"/>
                  </a:lnTo>
                  <a:lnTo>
                    <a:pt x="1589" y="253"/>
                  </a:lnTo>
                  <a:lnTo>
                    <a:pt x="1597" y="276"/>
                  </a:lnTo>
                  <a:lnTo>
                    <a:pt x="1606" y="300"/>
                  </a:lnTo>
                  <a:lnTo>
                    <a:pt x="1609" y="312"/>
                  </a:lnTo>
                  <a:lnTo>
                    <a:pt x="1611" y="324"/>
                  </a:lnTo>
                  <a:lnTo>
                    <a:pt x="1611" y="329"/>
                  </a:lnTo>
                  <a:lnTo>
                    <a:pt x="1610" y="334"/>
                  </a:lnTo>
                  <a:lnTo>
                    <a:pt x="1609" y="341"/>
                  </a:lnTo>
                  <a:lnTo>
                    <a:pt x="1607" y="346"/>
                  </a:lnTo>
                  <a:lnTo>
                    <a:pt x="1605" y="352"/>
                  </a:lnTo>
                  <a:lnTo>
                    <a:pt x="1601" y="358"/>
                  </a:lnTo>
                  <a:lnTo>
                    <a:pt x="1595" y="364"/>
                  </a:lnTo>
                  <a:lnTo>
                    <a:pt x="1590" y="369"/>
                  </a:lnTo>
                  <a:lnTo>
                    <a:pt x="1582" y="374"/>
                  </a:lnTo>
                  <a:lnTo>
                    <a:pt x="1574" y="380"/>
                  </a:lnTo>
                  <a:lnTo>
                    <a:pt x="1565" y="385"/>
                  </a:lnTo>
                  <a:lnTo>
                    <a:pt x="1553" y="390"/>
                  </a:lnTo>
                  <a:lnTo>
                    <a:pt x="1546" y="388"/>
                  </a:lnTo>
                  <a:lnTo>
                    <a:pt x="1529" y="384"/>
                  </a:lnTo>
                  <a:lnTo>
                    <a:pt x="1518" y="382"/>
                  </a:lnTo>
                  <a:lnTo>
                    <a:pt x="1506" y="381"/>
                  </a:lnTo>
                  <a:lnTo>
                    <a:pt x="1495" y="381"/>
                  </a:lnTo>
                  <a:lnTo>
                    <a:pt x="1486" y="381"/>
                  </a:lnTo>
                  <a:lnTo>
                    <a:pt x="1482" y="382"/>
                  </a:lnTo>
                  <a:lnTo>
                    <a:pt x="1478" y="385"/>
                  </a:lnTo>
                  <a:lnTo>
                    <a:pt x="1475" y="386"/>
                  </a:lnTo>
                  <a:lnTo>
                    <a:pt x="1473" y="389"/>
                  </a:lnTo>
                  <a:lnTo>
                    <a:pt x="1471" y="393"/>
                  </a:lnTo>
                  <a:lnTo>
                    <a:pt x="1471" y="397"/>
                  </a:lnTo>
                  <a:lnTo>
                    <a:pt x="1473" y="402"/>
                  </a:lnTo>
                  <a:lnTo>
                    <a:pt x="1474" y="408"/>
                  </a:lnTo>
                  <a:lnTo>
                    <a:pt x="1477" y="414"/>
                  </a:lnTo>
                  <a:lnTo>
                    <a:pt x="1482" y="421"/>
                  </a:lnTo>
                  <a:lnTo>
                    <a:pt x="1487" y="430"/>
                  </a:lnTo>
                  <a:lnTo>
                    <a:pt x="1495" y="438"/>
                  </a:lnTo>
                  <a:lnTo>
                    <a:pt x="1514" y="461"/>
                  </a:lnTo>
                  <a:lnTo>
                    <a:pt x="1541" y="486"/>
                  </a:lnTo>
                  <a:lnTo>
                    <a:pt x="1519" y="477"/>
                  </a:lnTo>
                  <a:lnTo>
                    <a:pt x="1502" y="470"/>
                  </a:lnTo>
                  <a:lnTo>
                    <a:pt x="1487" y="468"/>
                  </a:lnTo>
                  <a:lnTo>
                    <a:pt x="1478" y="466"/>
                  </a:lnTo>
                  <a:lnTo>
                    <a:pt x="1463" y="466"/>
                  </a:lnTo>
                  <a:lnTo>
                    <a:pt x="1450" y="468"/>
                  </a:lnTo>
                  <a:lnTo>
                    <a:pt x="1437" y="484"/>
                  </a:lnTo>
                  <a:lnTo>
                    <a:pt x="1407" y="516"/>
                  </a:lnTo>
                  <a:lnTo>
                    <a:pt x="1391" y="533"/>
                  </a:lnTo>
                  <a:lnTo>
                    <a:pt x="1374" y="548"/>
                  </a:lnTo>
                  <a:lnTo>
                    <a:pt x="1365" y="553"/>
                  </a:lnTo>
                  <a:lnTo>
                    <a:pt x="1357" y="557"/>
                  </a:lnTo>
                  <a:lnTo>
                    <a:pt x="1349" y="558"/>
                  </a:lnTo>
                  <a:lnTo>
                    <a:pt x="1342" y="558"/>
                  </a:lnTo>
                  <a:lnTo>
                    <a:pt x="1339" y="558"/>
                  </a:lnTo>
                  <a:lnTo>
                    <a:pt x="1337" y="557"/>
                  </a:lnTo>
                  <a:lnTo>
                    <a:pt x="1335" y="554"/>
                  </a:lnTo>
                  <a:lnTo>
                    <a:pt x="1334" y="553"/>
                  </a:lnTo>
                  <a:lnTo>
                    <a:pt x="1334" y="546"/>
                  </a:lnTo>
                  <a:lnTo>
                    <a:pt x="1335" y="540"/>
                  </a:lnTo>
                  <a:lnTo>
                    <a:pt x="1342" y="524"/>
                  </a:lnTo>
                  <a:lnTo>
                    <a:pt x="1350" y="505"/>
                  </a:lnTo>
                  <a:lnTo>
                    <a:pt x="1354" y="496"/>
                  </a:lnTo>
                  <a:lnTo>
                    <a:pt x="1358" y="488"/>
                  </a:lnTo>
                  <a:lnTo>
                    <a:pt x="1359" y="478"/>
                  </a:lnTo>
                  <a:lnTo>
                    <a:pt x="1359" y="472"/>
                  </a:lnTo>
                  <a:lnTo>
                    <a:pt x="1359" y="468"/>
                  </a:lnTo>
                  <a:lnTo>
                    <a:pt x="1358" y="465"/>
                  </a:lnTo>
                  <a:lnTo>
                    <a:pt x="1357" y="462"/>
                  </a:lnTo>
                  <a:lnTo>
                    <a:pt x="1354" y="461"/>
                  </a:lnTo>
                  <a:lnTo>
                    <a:pt x="1351" y="458"/>
                  </a:lnTo>
                  <a:lnTo>
                    <a:pt x="1347" y="457"/>
                  </a:lnTo>
                  <a:lnTo>
                    <a:pt x="1342" y="457"/>
                  </a:lnTo>
                  <a:lnTo>
                    <a:pt x="1337" y="456"/>
                  </a:lnTo>
                  <a:lnTo>
                    <a:pt x="1322" y="468"/>
                  </a:lnTo>
                  <a:lnTo>
                    <a:pt x="1309" y="477"/>
                  </a:lnTo>
                  <a:lnTo>
                    <a:pt x="1295" y="486"/>
                  </a:lnTo>
                  <a:lnTo>
                    <a:pt x="1282" y="493"/>
                  </a:lnTo>
                  <a:lnTo>
                    <a:pt x="1270" y="498"/>
                  </a:lnTo>
                  <a:lnTo>
                    <a:pt x="1259" y="504"/>
                  </a:lnTo>
                  <a:lnTo>
                    <a:pt x="1249" y="506"/>
                  </a:lnTo>
                  <a:lnTo>
                    <a:pt x="1238" y="509"/>
                  </a:lnTo>
                  <a:lnTo>
                    <a:pt x="1198" y="517"/>
                  </a:lnTo>
                  <a:lnTo>
                    <a:pt x="1162" y="522"/>
                  </a:lnTo>
                  <a:lnTo>
                    <a:pt x="1142" y="524"/>
                  </a:lnTo>
                  <a:lnTo>
                    <a:pt x="1128" y="525"/>
                  </a:lnTo>
                  <a:lnTo>
                    <a:pt x="1118" y="528"/>
                  </a:lnTo>
                  <a:lnTo>
                    <a:pt x="1112" y="532"/>
                  </a:lnTo>
                  <a:lnTo>
                    <a:pt x="1110" y="533"/>
                  </a:lnTo>
                  <a:lnTo>
                    <a:pt x="1110" y="536"/>
                  </a:lnTo>
                  <a:lnTo>
                    <a:pt x="1110" y="538"/>
                  </a:lnTo>
                  <a:lnTo>
                    <a:pt x="1110" y="541"/>
                  </a:lnTo>
                  <a:lnTo>
                    <a:pt x="1113" y="548"/>
                  </a:lnTo>
                  <a:lnTo>
                    <a:pt x="1117" y="553"/>
                  </a:lnTo>
                  <a:lnTo>
                    <a:pt x="1128" y="566"/>
                  </a:lnTo>
                  <a:lnTo>
                    <a:pt x="1137" y="581"/>
                  </a:lnTo>
                  <a:lnTo>
                    <a:pt x="1140" y="588"/>
                  </a:lnTo>
                  <a:lnTo>
                    <a:pt x="1140" y="594"/>
                  </a:lnTo>
                  <a:lnTo>
                    <a:pt x="1140" y="598"/>
                  </a:lnTo>
                  <a:lnTo>
                    <a:pt x="1137" y="601"/>
                  </a:lnTo>
                  <a:lnTo>
                    <a:pt x="1136" y="604"/>
                  </a:lnTo>
                  <a:lnTo>
                    <a:pt x="1132" y="606"/>
                  </a:lnTo>
                  <a:lnTo>
                    <a:pt x="1125" y="612"/>
                  </a:lnTo>
                  <a:lnTo>
                    <a:pt x="1117" y="616"/>
                  </a:lnTo>
                  <a:lnTo>
                    <a:pt x="1106" y="618"/>
                  </a:lnTo>
                  <a:lnTo>
                    <a:pt x="1096" y="622"/>
                  </a:lnTo>
                  <a:lnTo>
                    <a:pt x="1069" y="629"/>
                  </a:lnTo>
                  <a:lnTo>
                    <a:pt x="1041" y="637"/>
                  </a:lnTo>
                  <a:lnTo>
                    <a:pt x="1010" y="645"/>
                  </a:lnTo>
                  <a:lnTo>
                    <a:pt x="980" y="656"/>
                  </a:lnTo>
                  <a:lnTo>
                    <a:pt x="965" y="662"/>
                  </a:lnTo>
                  <a:lnTo>
                    <a:pt x="952" y="669"/>
                  </a:lnTo>
                  <a:lnTo>
                    <a:pt x="938" y="677"/>
                  </a:lnTo>
                  <a:lnTo>
                    <a:pt x="926" y="685"/>
                  </a:lnTo>
                  <a:lnTo>
                    <a:pt x="906" y="698"/>
                  </a:lnTo>
                  <a:lnTo>
                    <a:pt x="888" y="713"/>
                  </a:lnTo>
                  <a:lnTo>
                    <a:pt x="870" y="726"/>
                  </a:lnTo>
                  <a:lnTo>
                    <a:pt x="854" y="741"/>
                  </a:lnTo>
                  <a:lnTo>
                    <a:pt x="822" y="769"/>
                  </a:lnTo>
                  <a:lnTo>
                    <a:pt x="796" y="797"/>
                  </a:lnTo>
                  <a:lnTo>
                    <a:pt x="769" y="826"/>
                  </a:lnTo>
                  <a:lnTo>
                    <a:pt x="746" y="855"/>
                  </a:lnTo>
                  <a:lnTo>
                    <a:pt x="725" y="885"/>
                  </a:lnTo>
                  <a:lnTo>
                    <a:pt x="704" y="914"/>
                  </a:lnTo>
                  <a:lnTo>
                    <a:pt x="700" y="921"/>
                  </a:lnTo>
                  <a:lnTo>
                    <a:pt x="696" y="930"/>
                  </a:lnTo>
                  <a:lnTo>
                    <a:pt x="694" y="939"/>
                  </a:lnTo>
                  <a:lnTo>
                    <a:pt x="693" y="950"/>
                  </a:lnTo>
                  <a:lnTo>
                    <a:pt x="694" y="962"/>
                  </a:lnTo>
                  <a:lnTo>
                    <a:pt x="696" y="974"/>
                  </a:lnTo>
                  <a:lnTo>
                    <a:pt x="698" y="986"/>
                  </a:lnTo>
                  <a:lnTo>
                    <a:pt x="701" y="999"/>
                  </a:lnTo>
                  <a:lnTo>
                    <a:pt x="709" y="1026"/>
                  </a:lnTo>
                  <a:lnTo>
                    <a:pt x="720" y="1054"/>
                  </a:lnTo>
                  <a:lnTo>
                    <a:pt x="729" y="1081"/>
                  </a:lnTo>
                  <a:lnTo>
                    <a:pt x="740" y="1106"/>
                  </a:lnTo>
                  <a:lnTo>
                    <a:pt x="748" y="1129"/>
                  </a:lnTo>
                  <a:lnTo>
                    <a:pt x="753" y="1147"/>
                  </a:lnTo>
                  <a:lnTo>
                    <a:pt x="756" y="1155"/>
                  </a:lnTo>
                  <a:lnTo>
                    <a:pt x="756" y="1162"/>
                  </a:lnTo>
                  <a:lnTo>
                    <a:pt x="756" y="1167"/>
                  </a:lnTo>
                  <a:lnTo>
                    <a:pt x="754" y="1170"/>
                  </a:lnTo>
                  <a:lnTo>
                    <a:pt x="750" y="1173"/>
                  </a:lnTo>
                  <a:lnTo>
                    <a:pt x="746" y="1173"/>
                  </a:lnTo>
                  <a:lnTo>
                    <a:pt x="740" y="1171"/>
                  </a:lnTo>
                  <a:lnTo>
                    <a:pt x="732" y="1167"/>
                  </a:lnTo>
                  <a:lnTo>
                    <a:pt x="722" y="1162"/>
                  </a:lnTo>
                  <a:lnTo>
                    <a:pt x="710" y="1154"/>
                  </a:lnTo>
                  <a:lnTo>
                    <a:pt x="696" y="1143"/>
                  </a:lnTo>
                  <a:lnTo>
                    <a:pt x="680" y="1130"/>
                  </a:lnTo>
                  <a:lnTo>
                    <a:pt x="649" y="1137"/>
                  </a:lnTo>
                  <a:lnTo>
                    <a:pt x="621" y="1142"/>
                  </a:lnTo>
                  <a:lnTo>
                    <a:pt x="594" y="1146"/>
                  </a:lnTo>
                  <a:lnTo>
                    <a:pt x="570" y="1149"/>
                  </a:lnTo>
                  <a:lnTo>
                    <a:pt x="526" y="1153"/>
                  </a:lnTo>
                  <a:lnTo>
                    <a:pt x="486" y="1153"/>
                  </a:lnTo>
                  <a:lnTo>
                    <a:pt x="451" y="1153"/>
                  </a:lnTo>
                  <a:lnTo>
                    <a:pt x="415" y="1151"/>
                  </a:lnTo>
                  <a:lnTo>
                    <a:pt x="380" y="1150"/>
                  </a:lnTo>
                  <a:lnTo>
                    <a:pt x="343" y="1149"/>
                  </a:lnTo>
                  <a:lnTo>
                    <a:pt x="317" y="1150"/>
                  </a:lnTo>
                  <a:lnTo>
                    <a:pt x="295" y="1151"/>
                  </a:lnTo>
                  <a:lnTo>
                    <a:pt x="273" y="1155"/>
                  </a:lnTo>
                  <a:lnTo>
                    <a:pt x="256" y="1161"/>
                  </a:lnTo>
                  <a:lnTo>
                    <a:pt x="241" y="1166"/>
                  </a:lnTo>
                  <a:lnTo>
                    <a:pt x="229" y="1175"/>
                  </a:lnTo>
                  <a:lnTo>
                    <a:pt x="224" y="1179"/>
                  </a:lnTo>
                  <a:lnTo>
                    <a:pt x="220" y="1185"/>
                  </a:lnTo>
                  <a:lnTo>
                    <a:pt x="216" y="1190"/>
                  </a:lnTo>
                  <a:lnTo>
                    <a:pt x="213" y="1195"/>
                  </a:lnTo>
                  <a:lnTo>
                    <a:pt x="211" y="1202"/>
                  </a:lnTo>
                  <a:lnTo>
                    <a:pt x="209" y="1207"/>
                  </a:lnTo>
                  <a:lnTo>
                    <a:pt x="208" y="1215"/>
                  </a:lnTo>
                  <a:lnTo>
                    <a:pt x="207" y="1222"/>
                  </a:lnTo>
                  <a:lnTo>
                    <a:pt x="208" y="1238"/>
                  </a:lnTo>
                  <a:lnTo>
                    <a:pt x="211" y="1255"/>
                  </a:lnTo>
                  <a:lnTo>
                    <a:pt x="216" y="1274"/>
                  </a:lnTo>
                  <a:lnTo>
                    <a:pt x="224" y="1295"/>
                  </a:lnTo>
                  <a:lnTo>
                    <a:pt x="233" y="1318"/>
                  </a:lnTo>
                  <a:lnTo>
                    <a:pt x="247" y="1342"/>
                  </a:lnTo>
                  <a:lnTo>
                    <a:pt x="249" y="1350"/>
                  </a:lnTo>
                  <a:lnTo>
                    <a:pt x="251" y="1359"/>
                  </a:lnTo>
                  <a:lnTo>
                    <a:pt x="249" y="1371"/>
                  </a:lnTo>
                  <a:lnTo>
                    <a:pt x="247" y="1382"/>
                  </a:lnTo>
                  <a:lnTo>
                    <a:pt x="240" y="1408"/>
                  </a:lnTo>
                  <a:lnTo>
                    <a:pt x="235" y="1435"/>
                  </a:lnTo>
                  <a:lnTo>
                    <a:pt x="233" y="1450"/>
                  </a:lnTo>
                  <a:lnTo>
                    <a:pt x="233" y="1463"/>
                  </a:lnTo>
                  <a:lnTo>
                    <a:pt x="235" y="1476"/>
                  </a:lnTo>
                  <a:lnTo>
                    <a:pt x="240" y="1490"/>
                  </a:lnTo>
                  <a:lnTo>
                    <a:pt x="243" y="1495"/>
                  </a:lnTo>
                  <a:lnTo>
                    <a:pt x="248" y="1502"/>
                  </a:lnTo>
                  <a:lnTo>
                    <a:pt x="253" y="1508"/>
                  </a:lnTo>
                  <a:lnTo>
                    <a:pt x="259" y="1514"/>
                  </a:lnTo>
                  <a:lnTo>
                    <a:pt x="267" y="1519"/>
                  </a:lnTo>
                  <a:lnTo>
                    <a:pt x="275" y="1524"/>
                  </a:lnTo>
                  <a:lnTo>
                    <a:pt x="284" y="1530"/>
                  </a:lnTo>
                  <a:lnTo>
                    <a:pt x="295" y="1534"/>
                  </a:lnTo>
                  <a:lnTo>
                    <a:pt x="299" y="1531"/>
                  </a:lnTo>
                  <a:lnTo>
                    <a:pt x="301" y="1530"/>
                  </a:lnTo>
                  <a:lnTo>
                    <a:pt x="305" y="1530"/>
                  </a:lnTo>
                  <a:lnTo>
                    <a:pt x="308" y="1531"/>
                  </a:lnTo>
                  <a:lnTo>
                    <a:pt x="313" y="1534"/>
                  </a:lnTo>
                  <a:lnTo>
                    <a:pt x="317" y="1540"/>
                  </a:lnTo>
                  <a:lnTo>
                    <a:pt x="325" y="1559"/>
                  </a:lnTo>
                  <a:lnTo>
                    <a:pt x="332" y="1582"/>
                  </a:lnTo>
                  <a:lnTo>
                    <a:pt x="335" y="1592"/>
                  </a:lnTo>
                  <a:lnTo>
                    <a:pt x="339" y="1603"/>
                  </a:lnTo>
                  <a:lnTo>
                    <a:pt x="341" y="1614"/>
                  </a:lnTo>
                  <a:lnTo>
                    <a:pt x="347" y="1622"/>
                  </a:lnTo>
                  <a:lnTo>
                    <a:pt x="349" y="1624"/>
                  </a:lnTo>
                  <a:lnTo>
                    <a:pt x="352" y="1627"/>
                  </a:lnTo>
                  <a:lnTo>
                    <a:pt x="355" y="1628"/>
                  </a:lnTo>
                  <a:lnTo>
                    <a:pt x="357" y="1630"/>
                  </a:lnTo>
                  <a:lnTo>
                    <a:pt x="361" y="1630"/>
                  </a:lnTo>
                  <a:lnTo>
                    <a:pt x="364" y="1628"/>
                  </a:lnTo>
                  <a:lnTo>
                    <a:pt x="368" y="1627"/>
                  </a:lnTo>
                  <a:lnTo>
                    <a:pt x="373" y="1624"/>
                  </a:lnTo>
                  <a:lnTo>
                    <a:pt x="392" y="1650"/>
                  </a:lnTo>
                  <a:lnTo>
                    <a:pt x="407" y="1672"/>
                  </a:lnTo>
                  <a:lnTo>
                    <a:pt x="412" y="1683"/>
                  </a:lnTo>
                  <a:lnTo>
                    <a:pt x="417" y="1694"/>
                  </a:lnTo>
                  <a:lnTo>
                    <a:pt x="420" y="1703"/>
                  </a:lnTo>
                  <a:lnTo>
                    <a:pt x="421" y="1714"/>
                  </a:lnTo>
                  <a:lnTo>
                    <a:pt x="421" y="1724"/>
                  </a:lnTo>
                  <a:lnTo>
                    <a:pt x="420" y="1735"/>
                  </a:lnTo>
                  <a:lnTo>
                    <a:pt x="416" y="1747"/>
                  </a:lnTo>
                  <a:lnTo>
                    <a:pt x="411" y="1759"/>
                  </a:lnTo>
                  <a:lnTo>
                    <a:pt x="404" y="1772"/>
                  </a:lnTo>
                  <a:lnTo>
                    <a:pt x="393" y="1786"/>
                  </a:lnTo>
                  <a:lnTo>
                    <a:pt x="381" y="1800"/>
                  </a:lnTo>
                  <a:lnTo>
                    <a:pt x="367" y="1816"/>
                  </a:lnTo>
                  <a:lnTo>
                    <a:pt x="377" y="1842"/>
                  </a:lnTo>
                  <a:lnTo>
                    <a:pt x="397" y="1897"/>
                  </a:lnTo>
                  <a:lnTo>
                    <a:pt x="408" y="1929"/>
                  </a:lnTo>
                  <a:lnTo>
                    <a:pt x="415" y="1961"/>
                  </a:lnTo>
                  <a:lnTo>
                    <a:pt x="417" y="1976"/>
                  </a:lnTo>
                  <a:lnTo>
                    <a:pt x="419" y="1989"/>
                  </a:lnTo>
                  <a:lnTo>
                    <a:pt x="417" y="2000"/>
                  </a:lnTo>
                  <a:lnTo>
                    <a:pt x="415" y="2009"/>
                  </a:lnTo>
                  <a:lnTo>
                    <a:pt x="401" y="2033"/>
                  </a:lnTo>
                  <a:lnTo>
                    <a:pt x="389" y="2053"/>
                  </a:lnTo>
                  <a:lnTo>
                    <a:pt x="379" y="2069"/>
                  </a:lnTo>
                  <a:lnTo>
                    <a:pt x="369" y="2081"/>
                  </a:lnTo>
                  <a:lnTo>
                    <a:pt x="361" y="2091"/>
                  </a:lnTo>
                  <a:lnTo>
                    <a:pt x="355" y="2097"/>
                  </a:lnTo>
                  <a:lnTo>
                    <a:pt x="349" y="2101"/>
                  </a:lnTo>
                  <a:lnTo>
                    <a:pt x="344" y="2103"/>
                  </a:lnTo>
                  <a:lnTo>
                    <a:pt x="340" y="2101"/>
                  </a:lnTo>
                  <a:lnTo>
                    <a:pt x="336" y="2099"/>
                  </a:lnTo>
                  <a:lnTo>
                    <a:pt x="333" y="2095"/>
                  </a:lnTo>
                  <a:lnTo>
                    <a:pt x="331" y="2089"/>
                  </a:lnTo>
                  <a:lnTo>
                    <a:pt x="325" y="2077"/>
                  </a:lnTo>
                  <a:lnTo>
                    <a:pt x="319" y="2064"/>
                  </a:lnTo>
                  <a:lnTo>
                    <a:pt x="335" y="2025"/>
                  </a:lnTo>
                  <a:lnTo>
                    <a:pt x="347" y="1992"/>
                  </a:lnTo>
                  <a:lnTo>
                    <a:pt x="355" y="1961"/>
                  </a:lnTo>
                  <a:lnTo>
                    <a:pt x="360" y="1936"/>
                  </a:lnTo>
                  <a:lnTo>
                    <a:pt x="363" y="1915"/>
                  </a:lnTo>
                  <a:lnTo>
                    <a:pt x="361" y="1897"/>
                  </a:lnTo>
                  <a:lnTo>
                    <a:pt x="360" y="1891"/>
                  </a:lnTo>
                  <a:lnTo>
                    <a:pt x="359" y="1885"/>
                  </a:lnTo>
                  <a:lnTo>
                    <a:pt x="356" y="1881"/>
                  </a:lnTo>
                  <a:lnTo>
                    <a:pt x="353" y="1877"/>
                  </a:lnTo>
                  <a:lnTo>
                    <a:pt x="349" y="1876"/>
                  </a:lnTo>
                  <a:lnTo>
                    <a:pt x="347" y="1876"/>
                  </a:lnTo>
                  <a:lnTo>
                    <a:pt x="343" y="1876"/>
                  </a:lnTo>
                  <a:lnTo>
                    <a:pt x="337" y="1879"/>
                  </a:lnTo>
                  <a:lnTo>
                    <a:pt x="333" y="1883"/>
                  </a:lnTo>
                  <a:lnTo>
                    <a:pt x="328" y="1888"/>
                  </a:lnTo>
                  <a:lnTo>
                    <a:pt x="323" y="1893"/>
                  </a:lnTo>
                  <a:lnTo>
                    <a:pt x="317" y="1901"/>
                  </a:lnTo>
                  <a:lnTo>
                    <a:pt x="305" y="1923"/>
                  </a:lnTo>
                  <a:lnTo>
                    <a:pt x="293" y="1949"/>
                  </a:lnTo>
                  <a:lnTo>
                    <a:pt x="283" y="1981"/>
                  </a:lnTo>
                  <a:lnTo>
                    <a:pt x="271" y="2021"/>
                  </a:lnTo>
                  <a:lnTo>
                    <a:pt x="272" y="2003"/>
                  </a:lnTo>
                  <a:lnTo>
                    <a:pt x="276" y="1973"/>
                  </a:lnTo>
                  <a:lnTo>
                    <a:pt x="283" y="1939"/>
                  </a:lnTo>
                  <a:lnTo>
                    <a:pt x="292" y="1901"/>
                  </a:lnTo>
                  <a:lnTo>
                    <a:pt x="301" y="1863"/>
                  </a:lnTo>
                  <a:lnTo>
                    <a:pt x="311" y="1828"/>
                  </a:lnTo>
                  <a:lnTo>
                    <a:pt x="316" y="1814"/>
                  </a:lnTo>
                  <a:lnTo>
                    <a:pt x="321" y="1800"/>
                  </a:lnTo>
                  <a:lnTo>
                    <a:pt x="327" y="1790"/>
                  </a:lnTo>
                  <a:lnTo>
                    <a:pt x="331" y="1780"/>
                  </a:lnTo>
                  <a:lnTo>
                    <a:pt x="351" y="1744"/>
                  </a:lnTo>
                  <a:lnTo>
                    <a:pt x="365" y="1716"/>
                  </a:lnTo>
                  <a:lnTo>
                    <a:pt x="369" y="1704"/>
                  </a:lnTo>
                  <a:lnTo>
                    <a:pt x="373" y="1695"/>
                  </a:lnTo>
                  <a:lnTo>
                    <a:pt x="375" y="1687"/>
                  </a:lnTo>
                  <a:lnTo>
                    <a:pt x="376" y="1679"/>
                  </a:lnTo>
                  <a:lnTo>
                    <a:pt x="376" y="1674"/>
                  </a:lnTo>
                  <a:lnTo>
                    <a:pt x="375" y="1670"/>
                  </a:lnTo>
                  <a:lnTo>
                    <a:pt x="372" y="1666"/>
                  </a:lnTo>
                  <a:lnTo>
                    <a:pt x="369" y="1663"/>
                  </a:lnTo>
                  <a:lnTo>
                    <a:pt x="365" y="1662"/>
                  </a:lnTo>
                  <a:lnTo>
                    <a:pt x="360" y="1662"/>
                  </a:lnTo>
                  <a:lnTo>
                    <a:pt x="356" y="1660"/>
                  </a:lnTo>
                  <a:lnTo>
                    <a:pt x="349" y="1662"/>
                  </a:lnTo>
                  <a:lnTo>
                    <a:pt x="323" y="1664"/>
                  </a:lnTo>
                  <a:lnTo>
                    <a:pt x="292" y="1667"/>
                  </a:lnTo>
                  <a:lnTo>
                    <a:pt x="285" y="1666"/>
                  </a:lnTo>
                  <a:lnTo>
                    <a:pt x="279" y="1664"/>
                  </a:lnTo>
                  <a:lnTo>
                    <a:pt x="272" y="1663"/>
                  </a:lnTo>
                  <a:lnTo>
                    <a:pt x="265" y="1659"/>
                  </a:lnTo>
                  <a:lnTo>
                    <a:pt x="260" y="1655"/>
                  </a:lnTo>
                  <a:lnTo>
                    <a:pt x="255" y="1651"/>
                  </a:lnTo>
                  <a:lnTo>
                    <a:pt x="251" y="1644"/>
                  </a:lnTo>
                  <a:lnTo>
                    <a:pt x="247" y="1636"/>
                  </a:lnTo>
                  <a:lnTo>
                    <a:pt x="239" y="1619"/>
                  </a:lnTo>
                  <a:lnTo>
                    <a:pt x="231" y="1604"/>
                  </a:lnTo>
                  <a:lnTo>
                    <a:pt x="223" y="1591"/>
                  </a:lnTo>
                  <a:lnTo>
                    <a:pt x="215" y="1579"/>
                  </a:lnTo>
                  <a:lnTo>
                    <a:pt x="199" y="1559"/>
                  </a:lnTo>
                  <a:lnTo>
                    <a:pt x="181" y="1542"/>
                  </a:lnTo>
                  <a:lnTo>
                    <a:pt x="163" y="1524"/>
                  </a:lnTo>
                  <a:lnTo>
                    <a:pt x="141" y="1506"/>
                  </a:lnTo>
                  <a:lnTo>
                    <a:pt x="117" y="1483"/>
                  </a:lnTo>
                  <a:lnTo>
                    <a:pt x="89" y="1455"/>
                  </a:lnTo>
                  <a:lnTo>
                    <a:pt x="89" y="1458"/>
                  </a:lnTo>
                  <a:lnTo>
                    <a:pt x="88" y="1460"/>
                  </a:lnTo>
                  <a:lnTo>
                    <a:pt x="85" y="1462"/>
                  </a:lnTo>
                  <a:lnTo>
                    <a:pt x="81" y="1464"/>
                  </a:lnTo>
                  <a:lnTo>
                    <a:pt x="72" y="1467"/>
                  </a:lnTo>
                  <a:lnTo>
                    <a:pt x="60" y="1467"/>
                  </a:lnTo>
                  <a:lnTo>
                    <a:pt x="56" y="1474"/>
                  </a:lnTo>
                  <a:lnTo>
                    <a:pt x="53" y="1479"/>
                  </a:lnTo>
                  <a:lnTo>
                    <a:pt x="52" y="1484"/>
                  </a:lnTo>
                  <a:lnTo>
                    <a:pt x="52" y="1488"/>
                  </a:lnTo>
                  <a:lnTo>
                    <a:pt x="53" y="1498"/>
                  </a:lnTo>
                  <a:lnTo>
                    <a:pt x="53" y="1510"/>
                  </a:lnTo>
                  <a:lnTo>
                    <a:pt x="55" y="1522"/>
                  </a:lnTo>
                  <a:lnTo>
                    <a:pt x="59" y="1531"/>
                  </a:lnTo>
                  <a:lnTo>
                    <a:pt x="64" y="1538"/>
                  </a:lnTo>
                  <a:lnTo>
                    <a:pt x="71" y="1544"/>
                  </a:lnTo>
                  <a:lnTo>
                    <a:pt x="79" y="1550"/>
                  </a:lnTo>
                  <a:lnTo>
                    <a:pt x="88" y="1554"/>
                  </a:lnTo>
                  <a:lnTo>
                    <a:pt x="99" y="1558"/>
                  </a:lnTo>
                  <a:lnTo>
                    <a:pt x="108" y="1562"/>
                  </a:lnTo>
                  <a:lnTo>
                    <a:pt x="119" y="1566"/>
                  </a:lnTo>
                  <a:lnTo>
                    <a:pt x="129" y="1570"/>
                  </a:lnTo>
                  <a:lnTo>
                    <a:pt x="139" y="1575"/>
                  </a:lnTo>
                  <a:lnTo>
                    <a:pt x="148" y="1580"/>
                  </a:lnTo>
                  <a:lnTo>
                    <a:pt x="155" y="1587"/>
                  </a:lnTo>
                  <a:lnTo>
                    <a:pt x="161" y="1595"/>
                  </a:lnTo>
                  <a:lnTo>
                    <a:pt x="165" y="1606"/>
                  </a:lnTo>
                  <a:lnTo>
                    <a:pt x="168" y="1618"/>
                  </a:lnTo>
                  <a:lnTo>
                    <a:pt x="169" y="1636"/>
                  </a:lnTo>
                  <a:lnTo>
                    <a:pt x="168" y="1652"/>
                  </a:lnTo>
                  <a:lnTo>
                    <a:pt x="165" y="1664"/>
                  </a:lnTo>
                  <a:lnTo>
                    <a:pt x="160" y="1674"/>
                  </a:lnTo>
                  <a:lnTo>
                    <a:pt x="153" y="1682"/>
                  </a:lnTo>
                  <a:lnTo>
                    <a:pt x="147" y="1688"/>
                  </a:lnTo>
                  <a:lnTo>
                    <a:pt x="139" y="1692"/>
                  </a:lnTo>
                  <a:lnTo>
                    <a:pt x="131" y="1696"/>
                  </a:lnTo>
                  <a:lnTo>
                    <a:pt x="113" y="1703"/>
                  </a:lnTo>
                  <a:lnTo>
                    <a:pt x="99" y="1710"/>
                  </a:lnTo>
                  <a:lnTo>
                    <a:pt x="92" y="1715"/>
                  </a:lnTo>
                  <a:lnTo>
                    <a:pt x="88" y="1720"/>
                  </a:lnTo>
                  <a:lnTo>
                    <a:pt x="85" y="1728"/>
                  </a:lnTo>
                  <a:lnTo>
                    <a:pt x="84" y="1739"/>
                  </a:lnTo>
                  <a:lnTo>
                    <a:pt x="85" y="1748"/>
                  </a:lnTo>
                  <a:lnTo>
                    <a:pt x="88" y="1758"/>
                  </a:lnTo>
                  <a:lnTo>
                    <a:pt x="92" y="1767"/>
                  </a:lnTo>
                  <a:lnTo>
                    <a:pt x="97" y="1776"/>
                  </a:lnTo>
                  <a:lnTo>
                    <a:pt x="111" y="1794"/>
                  </a:lnTo>
                  <a:lnTo>
                    <a:pt x="125" y="1814"/>
                  </a:lnTo>
                  <a:lnTo>
                    <a:pt x="133" y="1823"/>
                  </a:lnTo>
                  <a:lnTo>
                    <a:pt x="141" y="1834"/>
                  </a:lnTo>
                  <a:lnTo>
                    <a:pt x="148" y="1846"/>
                  </a:lnTo>
                  <a:lnTo>
                    <a:pt x="155" y="1858"/>
                  </a:lnTo>
                  <a:lnTo>
                    <a:pt x="160" y="1871"/>
                  </a:lnTo>
                  <a:lnTo>
                    <a:pt x="164" y="1885"/>
                  </a:lnTo>
                  <a:lnTo>
                    <a:pt x="167" y="1901"/>
                  </a:lnTo>
                  <a:lnTo>
                    <a:pt x="168" y="1919"/>
                  </a:lnTo>
                  <a:lnTo>
                    <a:pt x="168" y="1933"/>
                  </a:lnTo>
                  <a:lnTo>
                    <a:pt x="167" y="1945"/>
                  </a:lnTo>
                  <a:lnTo>
                    <a:pt x="164" y="1957"/>
                  </a:lnTo>
                  <a:lnTo>
                    <a:pt x="161" y="1968"/>
                  </a:lnTo>
                  <a:lnTo>
                    <a:pt x="157" y="1977"/>
                  </a:lnTo>
                  <a:lnTo>
                    <a:pt x="152" y="1987"/>
                  </a:lnTo>
                  <a:lnTo>
                    <a:pt x="148" y="1995"/>
                  </a:lnTo>
                  <a:lnTo>
                    <a:pt x="141" y="2001"/>
                  </a:lnTo>
                  <a:lnTo>
                    <a:pt x="129" y="2015"/>
                  </a:lnTo>
                  <a:lnTo>
                    <a:pt x="115" y="2024"/>
                  </a:lnTo>
                  <a:lnTo>
                    <a:pt x="100" y="2033"/>
                  </a:lnTo>
                  <a:lnTo>
                    <a:pt x="84" y="2041"/>
                  </a:lnTo>
                  <a:lnTo>
                    <a:pt x="68" y="2051"/>
                  </a:lnTo>
                  <a:lnTo>
                    <a:pt x="53" y="2059"/>
                  </a:lnTo>
                  <a:lnTo>
                    <a:pt x="39" y="2069"/>
                  </a:lnTo>
                  <a:lnTo>
                    <a:pt x="25" y="2081"/>
                  </a:lnTo>
                  <a:lnTo>
                    <a:pt x="20" y="2088"/>
                  </a:lnTo>
                  <a:lnTo>
                    <a:pt x="15" y="2095"/>
                  </a:lnTo>
                  <a:lnTo>
                    <a:pt x="11" y="2104"/>
                  </a:lnTo>
                  <a:lnTo>
                    <a:pt x="7" y="2113"/>
                  </a:lnTo>
                  <a:lnTo>
                    <a:pt x="4" y="2123"/>
                  </a:lnTo>
                  <a:lnTo>
                    <a:pt x="1" y="2135"/>
                  </a:lnTo>
                  <a:lnTo>
                    <a:pt x="0" y="2147"/>
                  </a:lnTo>
                  <a:lnTo>
                    <a:pt x="0" y="2160"/>
                  </a:lnTo>
                  <a:lnTo>
                    <a:pt x="0" y="2172"/>
                  </a:lnTo>
                  <a:lnTo>
                    <a:pt x="4" y="2184"/>
                  </a:lnTo>
                  <a:lnTo>
                    <a:pt x="9" y="2197"/>
                  </a:lnTo>
                  <a:lnTo>
                    <a:pt x="17" y="2211"/>
                  </a:lnTo>
                  <a:lnTo>
                    <a:pt x="27" y="2224"/>
                  </a:lnTo>
                  <a:lnTo>
                    <a:pt x="37" y="2237"/>
                  </a:lnTo>
                  <a:lnTo>
                    <a:pt x="48" y="2251"/>
                  </a:lnTo>
                  <a:lnTo>
                    <a:pt x="61" y="2264"/>
                  </a:lnTo>
                  <a:lnTo>
                    <a:pt x="75" y="2276"/>
                  </a:lnTo>
                  <a:lnTo>
                    <a:pt x="88" y="2287"/>
                  </a:lnTo>
                  <a:lnTo>
                    <a:pt x="103" y="2297"/>
                  </a:lnTo>
                  <a:lnTo>
                    <a:pt x="116" y="2305"/>
                  </a:lnTo>
                  <a:lnTo>
                    <a:pt x="131" y="2313"/>
                  </a:lnTo>
                  <a:lnTo>
                    <a:pt x="144" y="2319"/>
                  </a:lnTo>
                  <a:lnTo>
                    <a:pt x="156" y="2321"/>
                  </a:lnTo>
                  <a:lnTo>
                    <a:pt x="168" y="2323"/>
                  </a:lnTo>
                  <a:lnTo>
                    <a:pt x="180" y="2323"/>
                  </a:lnTo>
                  <a:lnTo>
                    <a:pt x="188" y="2321"/>
                  </a:lnTo>
                  <a:lnTo>
                    <a:pt x="195" y="2319"/>
                  </a:lnTo>
                  <a:lnTo>
                    <a:pt x="199" y="2317"/>
                  </a:lnTo>
                  <a:lnTo>
                    <a:pt x="203" y="2316"/>
                  </a:lnTo>
                  <a:lnTo>
                    <a:pt x="207" y="2315"/>
                  </a:lnTo>
                  <a:lnTo>
                    <a:pt x="211" y="2315"/>
                  </a:lnTo>
                  <a:lnTo>
                    <a:pt x="216" y="2316"/>
                  </a:lnTo>
                  <a:lnTo>
                    <a:pt x="227" y="2329"/>
                  </a:lnTo>
                  <a:lnTo>
                    <a:pt x="239" y="2340"/>
                  </a:lnTo>
                  <a:lnTo>
                    <a:pt x="252" y="2352"/>
                  </a:lnTo>
                  <a:lnTo>
                    <a:pt x="264" y="2364"/>
                  </a:lnTo>
                  <a:lnTo>
                    <a:pt x="271" y="2369"/>
                  </a:lnTo>
                  <a:lnTo>
                    <a:pt x="276" y="2377"/>
                  </a:lnTo>
                  <a:lnTo>
                    <a:pt x="281" y="2384"/>
                  </a:lnTo>
                  <a:lnTo>
                    <a:pt x="285" y="2393"/>
                  </a:lnTo>
                  <a:lnTo>
                    <a:pt x="289" y="2403"/>
                  </a:lnTo>
                  <a:lnTo>
                    <a:pt x="292" y="2413"/>
                  </a:lnTo>
                  <a:lnTo>
                    <a:pt x="293" y="2424"/>
                  </a:lnTo>
                  <a:lnTo>
                    <a:pt x="295" y="2437"/>
                  </a:lnTo>
                  <a:lnTo>
                    <a:pt x="295" y="2449"/>
                  </a:lnTo>
                  <a:lnTo>
                    <a:pt x="295" y="2461"/>
                  </a:lnTo>
                  <a:lnTo>
                    <a:pt x="293" y="2470"/>
                  </a:lnTo>
                  <a:lnTo>
                    <a:pt x="291" y="2480"/>
                  </a:lnTo>
                  <a:lnTo>
                    <a:pt x="287" y="2488"/>
                  </a:lnTo>
                  <a:lnTo>
                    <a:pt x="281" y="2496"/>
                  </a:lnTo>
                  <a:lnTo>
                    <a:pt x="275" y="2502"/>
                  </a:lnTo>
                  <a:lnTo>
                    <a:pt x="264" y="2509"/>
                  </a:lnTo>
                  <a:lnTo>
                    <a:pt x="271" y="2540"/>
                  </a:lnTo>
                  <a:lnTo>
                    <a:pt x="276" y="255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7" name="Freeform 123"/>
            <p:cNvSpPr>
              <a:spLocks/>
            </p:cNvSpPr>
            <p:nvPr/>
          </p:nvSpPr>
          <p:spPr bwMode="auto">
            <a:xfrm>
              <a:off x="2807022" y="3883025"/>
              <a:ext cx="1408113" cy="1039812"/>
            </a:xfrm>
            <a:custGeom>
              <a:avLst/>
              <a:gdLst/>
              <a:ahLst/>
              <a:cxnLst>
                <a:cxn ang="0">
                  <a:pos x="1621" y="2017"/>
                </a:cxn>
                <a:cxn ang="0">
                  <a:pos x="1734" y="1944"/>
                </a:cxn>
                <a:cxn ang="0">
                  <a:pos x="1822" y="1741"/>
                </a:cxn>
                <a:cxn ang="0">
                  <a:pos x="1904" y="1680"/>
                </a:cxn>
                <a:cxn ang="0">
                  <a:pos x="2158" y="1739"/>
                </a:cxn>
                <a:cxn ang="0">
                  <a:pos x="2329" y="1768"/>
                </a:cxn>
                <a:cxn ang="0">
                  <a:pos x="2461" y="1823"/>
                </a:cxn>
                <a:cxn ang="0">
                  <a:pos x="2569" y="1743"/>
                </a:cxn>
                <a:cxn ang="0">
                  <a:pos x="2671" y="1771"/>
                </a:cxn>
                <a:cxn ang="0">
                  <a:pos x="2725" y="1749"/>
                </a:cxn>
                <a:cxn ang="0">
                  <a:pos x="2858" y="1687"/>
                </a:cxn>
                <a:cxn ang="0">
                  <a:pos x="2904" y="1613"/>
                </a:cxn>
                <a:cxn ang="0">
                  <a:pos x="2783" y="1533"/>
                </a:cxn>
                <a:cxn ang="0">
                  <a:pos x="2725" y="1395"/>
                </a:cxn>
                <a:cxn ang="0">
                  <a:pos x="2629" y="1355"/>
                </a:cxn>
                <a:cxn ang="0">
                  <a:pos x="2558" y="1282"/>
                </a:cxn>
                <a:cxn ang="0">
                  <a:pos x="2486" y="1280"/>
                </a:cxn>
                <a:cxn ang="0">
                  <a:pos x="2419" y="1228"/>
                </a:cxn>
                <a:cxn ang="0">
                  <a:pos x="2330" y="1183"/>
                </a:cxn>
                <a:cxn ang="0">
                  <a:pos x="2230" y="1275"/>
                </a:cxn>
                <a:cxn ang="0">
                  <a:pos x="2041" y="1256"/>
                </a:cxn>
                <a:cxn ang="0">
                  <a:pos x="1914" y="1126"/>
                </a:cxn>
                <a:cxn ang="0">
                  <a:pos x="1717" y="1058"/>
                </a:cxn>
                <a:cxn ang="0">
                  <a:pos x="1549" y="963"/>
                </a:cxn>
                <a:cxn ang="0">
                  <a:pos x="1373" y="831"/>
                </a:cxn>
                <a:cxn ang="0">
                  <a:pos x="1332" y="697"/>
                </a:cxn>
                <a:cxn ang="0">
                  <a:pos x="1225" y="583"/>
                </a:cxn>
                <a:cxn ang="0">
                  <a:pos x="1155" y="597"/>
                </a:cxn>
                <a:cxn ang="0">
                  <a:pos x="1087" y="591"/>
                </a:cxn>
                <a:cxn ang="0">
                  <a:pos x="993" y="605"/>
                </a:cxn>
                <a:cxn ang="0">
                  <a:pos x="943" y="474"/>
                </a:cxn>
                <a:cxn ang="0">
                  <a:pos x="885" y="409"/>
                </a:cxn>
                <a:cxn ang="0">
                  <a:pos x="664" y="398"/>
                </a:cxn>
                <a:cxn ang="0">
                  <a:pos x="611" y="336"/>
                </a:cxn>
                <a:cxn ang="0">
                  <a:pos x="575" y="256"/>
                </a:cxn>
                <a:cxn ang="0">
                  <a:pos x="633" y="126"/>
                </a:cxn>
                <a:cxn ang="0">
                  <a:pos x="590" y="12"/>
                </a:cxn>
                <a:cxn ang="0">
                  <a:pos x="442" y="110"/>
                </a:cxn>
                <a:cxn ang="0">
                  <a:pos x="379" y="84"/>
                </a:cxn>
                <a:cxn ang="0">
                  <a:pos x="275" y="149"/>
                </a:cxn>
                <a:cxn ang="0">
                  <a:pos x="224" y="301"/>
                </a:cxn>
                <a:cxn ang="0">
                  <a:pos x="91" y="502"/>
                </a:cxn>
                <a:cxn ang="0">
                  <a:pos x="7" y="709"/>
                </a:cxn>
                <a:cxn ang="0">
                  <a:pos x="31" y="770"/>
                </a:cxn>
                <a:cxn ang="0">
                  <a:pos x="163" y="939"/>
                </a:cxn>
                <a:cxn ang="0">
                  <a:pos x="252" y="1087"/>
                </a:cxn>
                <a:cxn ang="0">
                  <a:pos x="235" y="1198"/>
                </a:cxn>
                <a:cxn ang="0">
                  <a:pos x="254" y="1446"/>
                </a:cxn>
                <a:cxn ang="0">
                  <a:pos x="251" y="1572"/>
                </a:cxn>
                <a:cxn ang="0">
                  <a:pos x="368" y="1656"/>
                </a:cxn>
                <a:cxn ang="0">
                  <a:pos x="438" y="1849"/>
                </a:cxn>
                <a:cxn ang="0">
                  <a:pos x="519" y="1837"/>
                </a:cxn>
                <a:cxn ang="0">
                  <a:pos x="687" y="1783"/>
                </a:cxn>
                <a:cxn ang="0">
                  <a:pos x="772" y="1736"/>
                </a:cxn>
                <a:cxn ang="0">
                  <a:pos x="847" y="1709"/>
                </a:cxn>
                <a:cxn ang="0">
                  <a:pos x="888" y="1648"/>
                </a:cxn>
                <a:cxn ang="0">
                  <a:pos x="1007" y="1699"/>
                </a:cxn>
                <a:cxn ang="0">
                  <a:pos x="1144" y="1755"/>
                </a:cxn>
                <a:cxn ang="0">
                  <a:pos x="1224" y="1907"/>
                </a:cxn>
                <a:cxn ang="0">
                  <a:pos x="1345" y="2079"/>
                </a:cxn>
              </a:cxnLst>
              <a:rect l="0" t="0" r="r" b="b"/>
              <a:pathLst>
                <a:path w="2904" h="2144">
                  <a:moveTo>
                    <a:pt x="1530" y="2144"/>
                  </a:moveTo>
                  <a:lnTo>
                    <a:pt x="1566" y="2144"/>
                  </a:lnTo>
                  <a:lnTo>
                    <a:pt x="1576" y="2125"/>
                  </a:lnTo>
                  <a:lnTo>
                    <a:pt x="1584" y="2108"/>
                  </a:lnTo>
                  <a:lnTo>
                    <a:pt x="1590" y="2092"/>
                  </a:lnTo>
                  <a:lnTo>
                    <a:pt x="1596" y="2076"/>
                  </a:lnTo>
                  <a:lnTo>
                    <a:pt x="1601" y="2060"/>
                  </a:lnTo>
                  <a:lnTo>
                    <a:pt x="1606" y="2045"/>
                  </a:lnTo>
                  <a:lnTo>
                    <a:pt x="1613" y="2031"/>
                  </a:lnTo>
                  <a:lnTo>
                    <a:pt x="1621" y="2017"/>
                  </a:lnTo>
                  <a:lnTo>
                    <a:pt x="1626" y="2007"/>
                  </a:lnTo>
                  <a:lnTo>
                    <a:pt x="1633" y="1997"/>
                  </a:lnTo>
                  <a:lnTo>
                    <a:pt x="1641" y="1991"/>
                  </a:lnTo>
                  <a:lnTo>
                    <a:pt x="1649" y="1985"/>
                  </a:lnTo>
                  <a:lnTo>
                    <a:pt x="1666" y="1976"/>
                  </a:lnTo>
                  <a:lnTo>
                    <a:pt x="1684" y="1969"/>
                  </a:lnTo>
                  <a:lnTo>
                    <a:pt x="1702" y="1963"/>
                  </a:lnTo>
                  <a:lnTo>
                    <a:pt x="1718" y="1955"/>
                  </a:lnTo>
                  <a:lnTo>
                    <a:pt x="1726" y="1949"/>
                  </a:lnTo>
                  <a:lnTo>
                    <a:pt x="1734" y="1944"/>
                  </a:lnTo>
                  <a:lnTo>
                    <a:pt x="1741" y="1936"/>
                  </a:lnTo>
                  <a:lnTo>
                    <a:pt x="1746" y="1927"/>
                  </a:lnTo>
                  <a:lnTo>
                    <a:pt x="1754" y="1913"/>
                  </a:lnTo>
                  <a:lnTo>
                    <a:pt x="1762" y="1899"/>
                  </a:lnTo>
                  <a:lnTo>
                    <a:pt x="1769" y="1881"/>
                  </a:lnTo>
                  <a:lnTo>
                    <a:pt x="1776" y="1863"/>
                  </a:lnTo>
                  <a:lnTo>
                    <a:pt x="1789" y="1821"/>
                  </a:lnTo>
                  <a:lnTo>
                    <a:pt x="1805" y="1780"/>
                  </a:lnTo>
                  <a:lnTo>
                    <a:pt x="1813" y="1760"/>
                  </a:lnTo>
                  <a:lnTo>
                    <a:pt x="1822" y="1741"/>
                  </a:lnTo>
                  <a:lnTo>
                    <a:pt x="1833" y="1725"/>
                  </a:lnTo>
                  <a:lnTo>
                    <a:pt x="1845" y="1709"/>
                  </a:lnTo>
                  <a:lnTo>
                    <a:pt x="1850" y="1703"/>
                  </a:lnTo>
                  <a:lnTo>
                    <a:pt x="1857" y="1697"/>
                  </a:lnTo>
                  <a:lnTo>
                    <a:pt x="1864" y="1692"/>
                  </a:lnTo>
                  <a:lnTo>
                    <a:pt x="1870" y="1688"/>
                  </a:lnTo>
                  <a:lnTo>
                    <a:pt x="1878" y="1684"/>
                  </a:lnTo>
                  <a:lnTo>
                    <a:pt x="1886" y="1681"/>
                  </a:lnTo>
                  <a:lnTo>
                    <a:pt x="1894" y="1680"/>
                  </a:lnTo>
                  <a:lnTo>
                    <a:pt x="1904" y="1680"/>
                  </a:lnTo>
                  <a:lnTo>
                    <a:pt x="1920" y="1680"/>
                  </a:lnTo>
                  <a:lnTo>
                    <a:pt x="1934" y="1684"/>
                  </a:lnTo>
                  <a:lnTo>
                    <a:pt x="1948" y="1688"/>
                  </a:lnTo>
                  <a:lnTo>
                    <a:pt x="1961" y="1692"/>
                  </a:lnTo>
                  <a:lnTo>
                    <a:pt x="1986" y="1703"/>
                  </a:lnTo>
                  <a:lnTo>
                    <a:pt x="2006" y="1709"/>
                  </a:lnTo>
                  <a:lnTo>
                    <a:pt x="2109" y="1709"/>
                  </a:lnTo>
                  <a:lnTo>
                    <a:pt x="2125" y="1721"/>
                  </a:lnTo>
                  <a:lnTo>
                    <a:pt x="2141" y="1732"/>
                  </a:lnTo>
                  <a:lnTo>
                    <a:pt x="2158" y="1739"/>
                  </a:lnTo>
                  <a:lnTo>
                    <a:pt x="2177" y="1744"/>
                  </a:lnTo>
                  <a:lnTo>
                    <a:pt x="2195" y="1748"/>
                  </a:lnTo>
                  <a:lnTo>
                    <a:pt x="2215" y="1751"/>
                  </a:lnTo>
                  <a:lnTo>
                    <a:pt x="2237" y="1752"/>
                  </a:lnTo>
                  <a:lnTo>
                    <a:pt x="2259" y="1752"/>
                  </a:lnTo>
                  <a:lnTo>
                    <a:pt x="2275" y="1752"/>
                  </a:lnTo>
                  <a:lnTo>
                    <a:pt x="2291" y="1755"/>
                  </a:lnTo>
                  <a:lnTo>
                    <a:pt x="2305" y="1759"/>
                  </a:lnTo>
                  <a:lnTo>
                    <a:pt x="2318" y="1763"/>
                  </a:lnTo>
                  <a:lnTo>
                    <a:pt x="2329" y="1768"/>
                  </a:lnTo>
                  <a:lnTo>
                    <a:pt x="2339" y="1775"/>
                  </a:lnTo>
                  <a:lnTo>
                    <a:pt x="2350" y="1781"/>
                  </a:lnTo>
                  <a:lnTo>
                    <a:pt x="2359" y="1788"/>
                  </a:lnTo>
                  <a:lnTo>
                    <a:pt x="2379" y="1801"/>
                  </a:lnTo>
                  <a:lnTo>
                    <a:pt x="2399" y="1813"/>
                  </a:lnTo>
                  <a:lnTo>
                    <a:pt x="2410" y="1817"/>
                  </a:lnTo>
                  <a:lnTo>
                    <a:pt x="2423" y="1821"/>
                  </a:lnTo>
                  <a:lnTo>
                    <a:pt x="2437" y="1823"/>
                  </a:lnTo>
                  <a:lnTo>
                    <a:pt x="2451" y="1824"/>
                  </a:lnTo>
                  <a:lnTo>
                    <a:pt x="2461" y="1823"/>
                  </a:lnTo>
                  <a:lnTo>
                    <a:pt x="2470" y="1820"/>
                  </a:lnTo>
                  <a:lnTo>
                    <a:pt x="2479" y="1816"/>
                  </a:lnTo>
                  <a:lnTo>
                    <a:pt x="2487" y="1811"/>
                  </a:lnTo>
                  <a:lnTo>
                    <a:pt x="2505" y="1796"/>
                  </a:lnTo>
                  <a:lnTo>
                    <a:pt x="2521" y="1779"/>
                  </a:lnTo>
                  <a:lnTo>
                    <a:pt x="2530" y="1771"/>
                  </a:lnTo>
                  <a:lnTo>
                    <a:pt x="2538" y="1763"/>
                  </a:lnTo>
                  <a:lnTo>
                    <a:pt x="2547" y="1755"/>
                  </a:lnTo>
                  <a:lnTo>
                    <a:pt x="2558" y="1748"/>
                  </a:lnTo>
                  <a:lnTo>
                    <a:pt x="2569" y="1743"/>
                  </a:lnTo>
                  <a:lnTo>
                    <a:pt x="2581" y="1737"/>
                  </a:lnTo>
                  <a:lnTo>
                    <a:pt x="2594" y="1735"/>
                  </a:lnTo>
                  <a:lnTo>
                    <a:pt x="2609" y="1733"/>
                  </a:lnTo>
                  <a:lnTo>
                    <a:pt x="2615" y="1735"/>
                  </a:lnTo>
                  <a:lnTo>
                    <a:pt x="2623" y="1736"/>
                  </a:lnTo>
                  <a:lnTo>
                    <a:pt x="2630" y="1739"/>
                  </a:lnTo>
                  <a:lnTo>
                    <a:pt x="2635" y="1743"/>
                  </a:lnTo>
                  <a:lnTo>
                    <a:pt x="2647" y="1751"/>
                  </a:lnTo>
                  <a:lnTo>
                    <a:pt x="2659" y="1761"/>
                  </a:lnTo>
                  <a:lnTo>
                    <a:pt x="2671" y="1771"/>
                  </a:lnTo>
                  <a:lnTo>
                    <a:pt x="2682" y="1780"/>
                  </a:lnTo>
                  <a:lnTo>
                    <a:pt x="2689" y="1783"/>
                  </a:lnTo>
                  <a:lnTo>
                    <a:pt x="2695" y="1785"/>
                  </a:lnTo>
                  <a:lnTo>
                    <a:pt x="2703" y="1788"/>
                  </a:lnTo>
                  <a:lnTo>
                    <a:pt x="2710" y="1788"/>
                  </a:lnTo>
                  <a:lnTo>
                    <a:pt x="2711" y="1779"/>
                  </a:lnTo>
                  <a:lnTo>
                    <a:pt x="2713" y="1771"/>
                  </a:lnTo>
                  <a:lnTo>
                    <a:pt x="2715" y="1763"/>
                  </a:lnTo>
                  <a:lnTo>
                    <a:pt x="2719" y="1756"/>
                  </a:lnTo>
                  <a:lnTo>
                    <a:pt x="2725" y="1749"/>
                  </a:lnTo>
                  <a:lnTo>
                    <a:pt x="2730" y="1744"/>
                  </a:lnTo>
                  <a:lnTo>
                    <a:pt x="2737" y="1739"/>
                  </a:lnTo>
                  <a:lnTo>
                    <a:pt x="2743" y="1735"/>
                  </a:lnTo>
                  <a:lnTo>
                    <a:pt x="2759" y="1725"/>
                  </a:lnTo>
                  <a:lnTo>
                    <a:pt x="2777" y="1719"/>
                  </a:lnTo>
                  <a:lnTo>
                    <a:pt x="2795" y="1712"/>
                  </a:lnTo>
                  <a:lnTo>
                    <a:pt x="2814" y="1705"/>
                  </a:lnTo>
                  <a:lnTo>
                    <a:pt x="2833" y="1699"/>
                  </a:lnTo>
                  <a:lnTo>
                    <a:pt x="2850" y="1692"/>
                  </a:lnTo>
                  <a:lnTo>
                    <a:pt x="2858" y="1687"/>
                  </a:lnTo>
                  <a:lnTo>
                    <a:pt x="2866" y="1683"/>
                  </a:lnTo>
                  <a:lnTo>
                    <a:pt x="2874" y="1677"/>
                  </a:lnTo>
                  <a:lnTo>
                    <a:pt x="2881" y="1672"/>
                  </a:lnTo>
                  <a:lnTo>
                    <a:pt x="2887" y="1665"/>
                  </a:lnTo>
                  <a:lnTo>
                    <a:pt x="2893" y="1659"/>
                  </a:lnTo>
                  <a:lnTo>
                    <a:pt x="2897" y="1652"/>
                  </a:lnTo>
                  <a:lnTo>
                    <a:pt x="2901" y="1643"/>
                  </a:lnTo>
                  <a:lnTo>
                    <a:pt x="2903" y="1635"/>
                  </a:lnTo>
                  <a:lnTo>
                    <a:pt x="2904" y="1624"/>
                  </a:lnTo>
                  <a:lnTo>
                    <a:pt x="2904" y="1613"/>
                  </a:lnTo>
                  <a:lnTo>
                    <a:pt x="2903" y="1601"/>
                  </a:lnTo>
                  <a:lnTo>
                    <a:pt x="2886" y="1600"/>
                  </a:lnTo>
                  <a:lnTo>
                    <a:pt x="2869" y="1597"/>
                  </a:lnTo>
                  <a:lnTo>
                    <a:pt x="2854" y="1593"/>
                  </a:lnTo>
                  <a:lnTo>
                    <a:pt x="2839" y="1587"/>
                  </a:lnTo>
                  <a:lnTo>
                    <a:pt x="2826" y="1579"/>
                  </a:lnTo>
                  <a:lnTo>
                    <a:pt x="2813" y="1569"/>
                  </a:lnTo>
                  <a:lnTo>
                    <a:pt x="2802" y="1559"/>
                  </a:lnTo>
                  <a:lnTo>
                    <a:pt x="2791" y="1547"/>
                  </a:lnTo>
                  <a:lnTo>
                    <a:pt x="2783" y="1533"/>
                  </a:lnTo>
                  <a:lnTo>
                    <a:pt x="2775" y="1519"/>
                  </a:lnTo>
                  <a:lnTo>
                    <a:pt x="2769" y="1503"/>
                  </a:lnTo>
                  <a:lnTo>
                    <a:pt x="2762" y="1487"/>
                  </a:lnTo>
                  <a:lnTo>
                    <a:pt x="2758" y="1470"/>
                  </a:lnTo>
                  <a:lnTo>
                    <a:pt x="2755" y="1452"/>
                  </a:lnTo>
                  <a:lnTo>
                    <a:pt x="2753" y="1434"/>
                  </a:lnTo>
                  <a:lnTo>
                    <a:pt x="2753" y="1415"/>
                  </a:lnTo>
                  <a:lnTo>
                    <a:pt x="2742" y="1410"/>
                  </a:lnTo>
                  <a:lnTo>
                    <a:pt x="2733" y="1403"/>
                  </a:lnTo>
                  <a:lnTo>
                    <a:pt x="2725" y="1395"/>
                  </a:lnTo>
                  <a:lnTo>
                    <a:pt x="2717" y="1388"/>
                  </a:lnTo>
                  <a:lnTo>
                    <a:pt x="2709" y="1380"/>
                  </a:lnTo>
                  <a:lnTo>
                    <a:pt x="2701" y="1372"/>
                  </a:lnTo>
                  <a:lnTo>
                    <a:pt x="2691" y="1366"/>
                  </a:lnTo>
                  <a:lnTo>
                    <a:pt x="2681" y="1360"/>
                  </a:lnTo>
                  <a:lnTo>
                    <a:pt x="2670" y="1358"/>
                  </a:lnTo>
                  <a:lnTo>
                    <a:pt x="2659" y="1356"/>
                  </a:lnTo>
                  <a:lnTo>
                    <a:pt x="2649" y="1356"/>
                  </a:lnTo>
                  <a:lnTo>
                    <a:pt x="2638" y="1356"/>
                  </a:lnTo>
                  <a:lnTo>
                    <a:pt x="2629" y="1355"/>
                  </a:lnTo>
                  <a:lnTo>
                    <a:pt x="2618" y="1354"/>
                  </a:lnTo>
                  <a:lnTo>
                    <a:pt x="2607" y="1350"/>
                  </a:lnTo>
                  <a:lnTo>
                    <a:pt x="2597" y="1343"/>
                  </a:lnTo>
                  <a:lnTo>
                    <a:pt x="2589" y="1335"/>
                  </a:lnTo>
                  <a:lnTo>
                    <a:pt x="2582" y="1326"/>
                  </a:lnTo>
                  <a:lnTo>
                    <a:pt x="2578" y="1316"/>
                  </a:lnTo>
                  <a:lnTo>
                    <a:pt x="2574" y="1307"/>
                  </a:lnTo>
                  <a:lnTo>
                    <a:pt x="2569" y="1296"/>
                  </a:lnTo>
                  <a:lnTo>
                    <a:pt x="2562" y="1287"/>
                  </a:lnTo>
                  <a:lnTo>
                    <a:pt x="2558" y="1282"/>
                  </a:lnTo>
                  <a:lnTo>
                    <a:pt x="2554" y="1278"/>
                  </a:lnTo>
                  <a:lnTo>
                    <a:pt x="2549" y="1274"/>
                  </a:lnTo>
                  <a:lnTo>
                    <a:pt x="2542" y="1270"/>
                  </a:lnTo>
                  <a:lnTo>
                    <a:pt x="2535" y="1268"/>
                  </a:lnTo>
                  <a:lnTo>
                    <a:pt x="2529" y="1268"/>
                  </a:lnTo>
                  <a:lnTo>
                    <a:pt x="2522" y="1268"/>
                  </a:lnTo>
                  <a:lnTo>
                    <a:pt x="2515" y="1270"/>
                  </a:lnTo>
                  <a:lnTo>
                    <a:pt x="2503" y="1274"/>
                  </a:lnTo>
                  <a:lnTo>
                    <a:pt x="2491" y="1279"/>
                  </a:lnTo>
                  <a:lnTo>
                    <a:pt x="2486" y="1280"/>
                  </a:lnTo>
                  <a:lnTo>
                    <a:pt x="2479" y="1282"/>
                  </a:lnTo>
                  <a:lnTo>
                    <a:pt x="2474" y="1282"/>
                  </a:lnTo>
                  <a:lnTo>
                    <a:pt x="2469" y="1282"/>
                  </a:lnTo>
                  <a:lnTo>
                    <a:pt x="2462" y="1279"/>
                  </a:lnTo>
                  <a:lnTo>
                    <a:pt x="2457" y="1276"/>
                  </a:lnTo>
                  <a:lnTo>
                    <a:pt x="2451" y="1271"/>
                  </a:lnTo>
                  <a:lnTo>
                    <a:pt x="2446" y="1264"/>
                  </a:lnTo>
                  <a:lnTo>
                    <a:pt x="2437" y="1255"/>
                  </a:lnTo>
                  <a:lnTo>
                    <a:pt x="2429" y="1243"/>
                  </a:lnTo>
                  <a:lnTo>
                    <a:pt x="2419" y="1228"/>
                  </a:lnTo>
                  <a:lnTo>
                    <a:pt x="2410" y="1212"/>
                  </a:lnTo>
                  <a:lnTo>
                    <a:pt x="2399" y="1198"/>
                  </a:lnTo>
                  <a:lnTo>
                    <a:pt x="2389" y="1186"/>
                  </a:lnTo>
                  <a:lnTo>
                    <a:pt x="2382" y="1180"/>
                  </a:lnTo>
                  <a:lnTo>
                    <a:pt x="2375" y="1176"/>
                  </a:lnTo>
                  <a:lnTo>
                    <a:pt x="2369" y="1175"/>
                  </a:lnTo>
                  <a:lnTo>
                    <a:pt x="2361" y="1174"/>
                  </a:lnTo>
                  <a:lnTo>
                    <a:pt x="2350" y="1175"/>
                  </a:lnTo>
                  <a:lnTo>
                    <a:pt x="2339" y="1178"/>
                  </a:lnTo>
                  <a:lnTo>
                    <a:pt x="2330" y="1183"/>
                  </a:lnTo>
                  <a:lnTo>
                    <a:pt x="2321" y="1190"/>
                  </a:lnTo>
                  <a:lnTo>
                    <a:pt x="2305" y="1206"/>
                  </a:lnTo>
                  <a:lnTo>
                    <a:pt x="2291" y="1226"/>
                  </a:lnTo>
                  <a:lnTo>
                    <a:pt x="2283" y="1235"/>
                  </a:lnTo>
                  <a:lnTo>
                    <a:pt x="2277" y="1244"/>
                  </a:lnTo>
                  <a:lnTo>
                    <a:pt x="2269" y="1252"/>
                  </a:lnTo>
                  <a:lnTo>
                    <a:pt x="2261" y="1260"/>
                  </a:lnTo>
                  <a:lnTo>
                    <a:pt x="2251" y="1267"/>
                  </a:lnTo>
                  <a:lnTo>
                    <a:pt x="2241" y="1272"/>
                  </a:lnTo>
                  <a:lnTo>
                    <a:pt x="2230" y="1275"/>
                  </a:lnTo>
                  <a:lnTo>
                    <a:pt x="2217" y="1276"/>
                  </a:lnTo>
                  <a:lnTo>
                    <a:pt x="2186" y="1275"/>
                  </a:lnTo>
                  <a:lnTo>
                    <a:pt x="2157" y="1270"/>
                  </a:lnTo>
                  <a:lnTo>
                    <a:pt x="2128" y="1266"/>
                  </a:lnTo>
                  <a:lnTo>
                    <a:pt x="2097" y="1264"/>
                  </a:lnTo>
                  <a:lnTo>
                    <a:pt x="2084" y="1264"/>
                  </a:lnTo>
                  <a:lnTo>
                    <a:pt x="2072" y="1263"/>
                  </a:lnTo>
                  <a:lnTo>
                    <a:pt x="2061" y="1262"/>
                  </a:lnTo>
                  <a:lnTo>
                    <a:pt x="2050" y="1259"/>
                  </a:lnTo>
                  <a:lnTo>
                    <a:pt x="2041" y="1256"/>
                  </a:lnTo>
                  <a:lnTo>
                    <a:pt x="2033" y="1252"/>
                  </a:lnTo>
                  <a:lnTo>
                    <a:pt x="2024" y="1248"/>
                  </a:lnTo>
                  <a:lnTo>
                    <a:pt x="2017" y="1244"/>
                  </a:lnTo>
                  <a:lnTo>
                    <a:pt x="2002" y="1235"/>
                  </a:lnTo>
                  <a:lnTo>
                    <a:pt x="1990" y="1223"/>
                  </a:lnTo>
                  <a:lnTo>
                    <a:pt x="1978" y="1211"/>
                  </a:lnTo>
                  <a:lnTo>
                    <a:pt x="1969" y="1198"/>
                  </a:lnTo>
                  <a:lnTo>
                    <a:pt x="1949" y="1168"/>
                  </a:lnTo>
                  <a:lnTo>
                    <a:pt x="1926" y="1140"/>
                  </a:lnTo>
                  <a:lnTo>
                    <a:pt x="1914" y="1126"/>
                  </a:lnTo>
                  <a:lnTo>
                    <a:pt x="1901" y="1112"/>
                  </a:lnTo>
                  <a:lnTo>
                    <a:pt x="1885" y="1100"/>
                  </a:lnTo>
                  <a:lnTo>
                    <a:pt x="1868" y="1090"/>
                  </a:lnTo>
                  <a:lnTo>
                    <a:pt x="1857" y="1086"/>
                  </a:lnTo>
                  <a:lnTo>
                    <a:pt x="1844" y="1082"/>
                  </a:lnTo>
                  <a:lnTo>
                    <a:pt x="1830" y="1078"/>
                  </a:lnTo>
                  <a:lnTo>
                    <a:pt x="1816" y="1075"/>
                  </a:lnTo>
                  <a:lnTo>
                    <a:pt x="1785" y="1070"/>
                  </a:lnTo>
                  <a:lnTo>
                    <a:pt x="1752" y="1064"/>
                  </a:lnTo>
                  <a:lnTo>
                    <a:pt x="1717" y="1058"/>
                  </a:lnTo>
                  <a:lnTo>
                    <a:pt x="1685" y="1051"/>
                  </a:lnTo>
                  <a:lnTo>
                    <a:pt x="1669" y="1046"/>
                  </a:lnTo>
                  <a:lnTo>
                    <a:pt x="1653" y="1042"/>
                  </a:lnTo>
                  <a:lnTo>
                    <a:pt x="1640" y="1035"/>
                  </a:lnTo>
                  <a:lnTo>
                    <a:pt x="1626" y="1030"/>
                  </a:lnTo>
                  <a:lnTo>
                    <a:pt x="1612" y="1020"/>
                  </a:lnTo>
                  <a:lnTo>
                    <a:pt x="1598" y="1010"/>
                  </a:lnTo>
                  <a:lnTo>
                    <a:pt x="1585" y="999"/>
                  </a:lnTo>
                  <a:lnTo>
                    <a:pt x="1573" y="988"/>
                  </a:lnTo>
                  <a:lnTo>
                    <a:pt x="1549" y="963"/>
                  </a:lnTo>
                  <a:lnTo>
                    <a:pt x="1524" y="933"/>
                  </a:lnTo>
                  <a:lnTo>
                    <a:pt x="1409" y="933"/>
                  </a:lnTo>
                  <a:lnTo>
                    <a:pt x="1402" y="926"/>
                  </a:lnTo>
                  <a:lnTo>
                    <a:pt x="1397" y="919"/>
                  </a:lnTo>
                  <a:lnTo>
                    <a:pt x="1392" y="911"/>
                  </a:lnTo>
                  <a:lnTo>
                    <a:pt x="1389" y="903"/>
                  </a:lnTo>
                  <a:lnTo>
                    <a:pt x="1384" y="886"/>
                  </a:lnTo>
                  <a:lnTo>
                    <a:pt x="1380" y="869"/>
                  </a:lnTo>
                  <a:lnTo>
                    <a:pt x="1377" y="850"/>
                  </a:lnTo>
                  <a:lnTo>
                    <a:pt x="1373" y="831"/>
                  </a:lnTo>
                  <a:lnTo>
                    <a:pt x="1371" y="822"/>
                  </a:lnTo>
                  <a:lnTo>
                    <a:pt x="1367" y="813"/>
                  </a:lnTo>
                  <a:lnTo>
                    <a:pt x="1361" y="803"/>
                  </a:lnTo>
                  <a:lnTo>
                    <a:pt x="1356" y="794"/>
                  </a:lnTo>
                  <a:lnTo>
                    <a:pt x="1347" y="775"/>
                  </a:lnTo>
                  <a:lnTo>
                    <a:pt x="1339" y="753"/>
                  </a:lnTo>
                  <a:lnTo>
                    <a:pt x="1333" y="733"/>
                  </a:lnTo>
                  <a:lnTo>
                    <a:pt x="1332" y="717"/>
                  </a:lnTo>
                  <a:lnTo>
                    <a:pt x="1332" y="707"/>
                  </a:lnTo>
                  <a:lnTo>
                    <a:pt x="1332" y="697"/>
                  </a:lnTo>
                  <a:lnTo>
                    <a:pt x="1332" y="685"/>
                  </a:lnTo>
                  <a:lnTo>
                    <a:pt x="1332" y="669"/>
                  </a:lnTo>
                  <a:lnTo>
                    <a:pt x="1331" y="663"/>
                  </a:lnTo>
                  <a:lnTo>
                    <a:pt x="1327" y="657"/>
                  </a:lnTo>
                  <a:lnTo>
                    <a:pt x="1321" y="650"/>
                  </a:lnTo>
                  <a:lnTo>
                    <a:pt x="1313" y="643"/>
                  </a:lnTo>
                  <a:lnTo>
                    <a:pt x="1295" y="627"/>
                  </a:lnTo>
                  <a:lnTo>
                    <a:pt x="1272" y="611"/>
                  </a:lnTo>
                  <a:lnTo>
                    <a:pt x="1248" y="595"/>
                  </a:lnTo>
                  <a:lnTo>
                    <a:pt x="1225" y="583"/>
                  </a:lnTo>
                  <a:lnTo>
                    <a:pt x="1215" y="578"/>
                  </a:lnTo>
                  <a:lnTo>
                    <a:pt x="1205" y="575"/>
                  </a:lnTo>
                  <a:lnTo>
                    <a:pt x="1199" y="573"/>
                  </a:lnTo>
                  <a:lnTo>
                    <a:pt x="1193" y="571"/>
                  </a:lnTo>
                  <a:lnTo>
                    <a:pt x="1187" y="573"/>
                  </a:lnTo>
                  <a:lnTo>
                    <a:pt x="1180" y="577"/>
                  </a:lnTo>
                  <a:lnTo>
                    <a:pt x="1175" y="581"/>
                  </a:lnTo>
                  <a:lnTo>
                    <a:pt x="1168" y="587"/>
                  </a:lnTo>
                  <a:lnTo>
                    <a:pt x="1161" y="593"/>
                  </a:lnTo>
                  <a:lnTo>
                    <a:pt x="1155" y="597"/>
                  </a:lnTo>
                  <a:lnTo>
                    <a:pt x="1148" y="601"/>
                  </a:lnTo>
                  <a:lnTo>
                    <a:pt x="1139" y="602"/>
                  </a:lnTo>
                  <a:lnTo>
                    <a:pt x="1132" y="602"/>
                  </a:lnTo>
                  <a:lnTo>
                    <a:pt x="1128" y="601"/>
                  </a:lnTo>
                  <a:lnTo>
                    <a:pt x="1123" y="599"/>
                  </a:lnTo>
                  <a:lnTo>
                    <a:pt x="1119" y="598"/>
                  </a:lnTo>
                  <a:lnTo>
                    <a:pt x="1113" y="591"/>
                  </a:lnTo>
                  <a:lnTo>
                    <a:pt x="1109" y="583"/>
                  </a:lnTo>
                  <a:lnTo>
                    <a:pt x="1097" y="587"/>
                  </a:lnTo>
                  <a:lnTo>
                    <a:pt x="1087" y="591"/>
                  </a:lnTo>
                  <a:lnTo>
                    <a:pt x="1077" y="597"/>
                  </a:lnTo>
                  <a:lnTo>
                    <a:pt x="1067" y="601"/>
                  </a:lnTo>
                  <a:lnTo>
                    <a:pt x="1056" y="606"/>
                  </a:lnTo>
                  <a:lnTo>
                    <a:pt x="1047" y="610"/>
                  </a:lnTo>
                  <a:lnTo>
                    <a:pt x="1036" y="613"/>
                  </a:lnTo>
                  <a:lnTo>
                    <a:pt x="1024" y="614"/>
                  </a:lnTo>
                  <a:lnTo>
                    <a:pt x="1015" y="614"/>
                  </a:lnTo>
                  <a:lnTo>
                    <a:pt x="1007" y="611"/>
                  </a:lnTo>
                  <a:lnTo>
                    <a:pt x="1000" y="609"/>
                  </a:lnTo>
                  <a:lnTo>
                    <a:pt x="993" y="605"/>
                  </a:lnTo>
                  <a:lnTo>
                    <a:pt x="987" y="601"/>
                  </a:lnTo>
                  <a:lnTo>
                    <a:pt x="981" y="595"/>
                  </a:lnTo>
                  <a:lnTo>
                    <a:pt x="976" y="589"/>
                  </a:lnTo>
                  <a:lnTo>
                    <a:pt x="972" y="582"/>
                  </a:lnTo>
                  <a:lnTo>
                    <a:pt x="965" y="566"/>
                  </a:lnTo>
                  <a:lnTo>
                    <a:pt x="960" y="549"/>
                  </a:lnTo>
                  <a:lnTo>
                    <a:pt x="955" y="530"/>
                  </a:lnTo>
                  <a:lnTo>
                    <a:pt x="951" y="511"/>
                  </a:lnTo>
                  <a:lnTo>
                    <a:pt x="947" y="493"/>
                  </a:lnTo>
                  <a:lnTo>
                    <a:pt x="943" y="474"/>
                  </a:lnTo>
                  <a:lnTo>
                    <a:pt x="937" y="457"/>
                  </a:lnTo>
                  <a:lnTo>
                    <a:pt x="931" y="441"/>
                  </a:lnTo>
                  <a:lnTo>
                    <a:pt x="928" y="434"/>
                  </a:lnTo>
                  <a:lnTo>
                    <a:pt x="924" y="429"/>
                  </a:lnTo>
                  <a:lnTo>
                    <a:pt x="919" y="422"/>
                  </a:lnTo>
                  <a:lnTo>
                    <a:pt x="913" y="418"/>
                  </a:lnTo>
                  <a:lnTo>
                    <a:pt x="908" y="414"/>
                  </a:lnTo>
                  <a:lnTo>
                    <a:pt x="901" y="411"/>
                  </a:lnTo>
                  <a:lnTo>
                    <a:pt x="893" y="410"/>
                  </a:lnTo>
                  <a:lnTo>
                    <a:pt x="885" y="409"/>
                  </a:lnTo>
                  <a:lnTo>
                    <a:pt x="856" y="409"/>
                  </a:lnTo>
                  <a:lnTo>
                    <a:pt x="820" y="409"/>
                  </a:lnTo>
                  <a:lnTo>
                    <a:pt x="779" y="409"/>
                  </a:lnTo>
                  <a:lnTo>
                    <a:pt x="735" y="409"/>
                  </a:lnTo>
                  <a:lnTo>
                    <a:pt x="715" y="409"/>
                  </a:lnTo>
                  <a:lnTo>
                    <a:pt x="696" y="407"/>
                  </a:lnTo>
                  <a:lnTo>
                    <a:pt x="688" y="406"/>
                  </a:lnTo>
                  <a:lnTo>
                    <a:pt x="679" y="405"/>
                  </a:lnTo>
                  <a:lnTo>
                    <a:pt x="671" y="402"/>
                  </a:lnTo>
                  <a:lnTo>
                    <a:pt x="664" y="398"/>
                  </a:lnTo>
                  <a:lnTo>
                    <a:pt x="657" y="395"/>
                  </a:lnTo>
                  <a:lnTo>
                    <a:pt x="651" y="390"/>
                  </a:lnTo>
                  <a:lnTo>
                    <a:pt x="645" y="385"/>
                  </a:lnTo>
                  <a:lnTo>
                    <a:pt x="641" y="378"/>
                  </a:lnTo>
                  <a:lnTo>
                    <a:pt x="637" y="371"/>
                  </a:lnTo>
                  <a:lnTo>
                    <a:pt x="635" y="363"/>
                  </a:lnTo>
                  <a:lnTo>
                    <a:pt x="633" y="354"/>
                  </a:lnTo>
                  <a:lnTo>
                    <a:pt x="633" y="344"/>
                  </a:lnTo>
                  <a:lnTo>
                    <a:pt x="621" y="341"/>
                  </a:lnTo>
                  <a:lnTo>
                    <a:pt x="611" y="336"/>
                  </a:lnTo>
                  <a:lnTo>
                    <a:pt x="600" y="330"/>
                  </a:lnTo>
                  <a:lnTo>
                    <a:pt x="592" y="324"/>
                  </a:lnTo>
                  <a:lnTo>
                    <a:pt x="584" y="314"/>
                  </a:lnTo>
                  <a:lnTo>
                    <a:pt x="578" y="304"/>
                  </a:lnTo>
                  <a:lnTo>
                    <a:pt x="576" y="298"/>
                  </a:lnTo>
                  <a:lnTo>
                    <a:pt x="574" y="292"/>
                  </a:lnTo>
                  <a:lnTo>
                    <a:pt x="574" y="285"/>
                  </a:lnTo>
                  <a:lnTo>
                    <a:pt x="572" y="277"/>
                  </a:lnTo>
                  <a:lnTo>
                    <a:pt x="574" y="266"/>
                  </a:lnTo>
                  <a:lnTo>
                    <a:pt x="575" y="256"/>
                  </a:lnTo>
                  <a:lnTo>
                    <a:pt x="579" y="246"/>
                  </a:lnTo>
                  <a:lnTo>
                    <a:pt x="583" y="237"/>
                  </a:lnTo>
                  <a:lnTo>
                    <a:pt x="592" y="220"/>
                  </a:lnTo>
                  <a:lnTo>
                    <a:pt x="603" y="204"/>
                  </a:lnTo>
                  <a:lnTo>
                    <a:pt x="614" y="188"/>
                  </a:lnTo>
                  <a:lnTo>
                    <a:pt x="624" y="169"/>
                  </a:lnTo>
                  <a:lnTo>
                    <a:pt x="627" y="160"/>
                  </a:lnTo>
                  <a:lnTo>
                    <a:pt x="631" y="149"/>
                  </a:lnTo>
                  <a:lnTo>
                    <a:pt x="632" y="138"/>
                  </a:lnTo>
                  <a:lnTo>
                    <a:pt x="633" y="126"/>
                  </a:lnTo>
                  <a:lnTo>
                    <a:pt x="633" y="102"/>
                  </a:lnTo>
                  <a:lnTo>
                    <a:pt x="633" y="85"/>
                  </a:lnTo>
                  <a:lnTo>
                    <a:pt x="633" y="68"/>
                  </a:lnTo>
                  <a:lnTo>
                    <a:pt x="633" y="36"/>
                  </a:lnTo>
                  <a:lnTo>
                    <a:pt x="632" y="25"/>
                  </a:lnTo>
                  <a:lnTo>
                    <a:pt x="629" y="18"/>
                  </a:lnTo>
                  <a:lnTo>
                    <a:pt x="625" y="10"/>
                  </a:lnTo>
                  <a:lnTo>
                    <a:pt x="621" y="0"/>
                  </a:lnTo>
                  <a:lnTo>
                    <a:pt x="604" y="5"/>
                  </a:lnTo>
                  <a:lnTo>
                    <a:pt x="590" y="12"/>
                  </a:lnTo>
                  <a:lnTo>
                    <a:pt x="576" y="20"/>
                  </a:lnTo>
                  <a:lnTo>
                    <a:pt x="563" y="28"/>
                  </a:lnTo>
                  <a:lnTo>
                    <a:pt x="539" y="46"/>
                  </a:lnTo>
                  <a:lnTo>
                    <a:pt x="516" y="66"/>
                  </a:lnTo>
                  <a:lnTo>
                    <a:pt x="504" y="76"/>
                  </a:lnTo>
                  <a:lnTo>
                    <a:pt x="492" y="85"/>
                  </a:lnTo>
                  <a:lnTo>
                    <a:pt x="482" y="93"/>
                  </a:lnTo>
                  <a:lnTo>
                    <a:pt x="468" y="100"/>
                  </a:lnTo>
                  <a:lnTo>
                    <a:pt x="455" y="106"/>
                  </a:lnTo>
                  <a:lnTo>
                    <a:pt x="442" y="110"/>
                  </a:lnTo>
                  <a:lnTo>
                    <a:pt x="427" y="113"/>
                  </a:lnTo>
                  <a:lnTo>
                    <a:pt x="410" y="114"/>
                  </a:lnTo>
                  <a:lnTo>
                    <a:pt x="408" y="113"/>
                  </a:lnTo>
                  <a:lnTo>
                    <a:pt x="406" y="110"/>
                  </a:lnTo>
                  <a:lnTo>
                    <a:pt x="404" y="106"/>
                  </a:lnTo>
                  <a:lnTo>
                    <a:pt x="402" y="101"/>
                  </a:lnTo>
                  <a:lnTo>
                    <a:pt x="399" y="92"/>
                  </a:lnTo>
                  <a:lnTo>
                    <a:pt x="398" y="84"/>
                  </a:lnTo>
                  <a:lnTo>
                    <a:pt x="386" y="84"/>
                  </a:lnTo>
                  <a:lnTo>
                    <a:pt x="379" y="84"/>
                  </a:lnTo>
                  <a:lnTo>
                    <a:pt x="375" y="84"/>
                  </a:lnTo>
                  <a:lnTo>
                    <a:pt x="368" y="84"/>
                  </a:lnTo>
                  <a:lnTo>
                    <a:pt x="352" y="85"/>
                  </a:lnTo>
                  <a:lnTo>
                    <a:pt x="338" y="89"/>
                  </a:lnTo>
                  <a:lnTo>
                    <a:pt x="324" y="94"/>
                  </a:lnTo>
                  <a:lnTo>
                    <a:pt x="312" y="102"/>
                  </a:lnTo>
                  <a:lnTo>
                    <a:pt x="302" y="112"/>
                  </a:lnTo>
                  <a:lnTo>
                    <a:pt x="291" y="122"/>
                  </a:lnTo>
                  <a:lnTo>
                    <a:pt x="283" y="136"/>
                  </a:lnTo>
                  <a:lnTo>
                    <a:pt x="275" y="149"/>
                  </a:lnTo>
                  <a:lnTo>
                    <a:pt x="268" y="164"/>
                  </a:lnTo>
                  <a:lnTo>
                    <a:pt x="262" y="178"/>
                  </a:lnTo>
                  <a:lnTo>
                    <a:pt x="256" y="194"/>
                  </a:lnTo>
                  <a:lnTo>
                    <a:pt x="251" y="212"/>
                  </a:lnTo>
                  <a:lnTo>
                    <a:pt x="243" y="245"/>
                  </a:lnTo>
                  <a:lnTo>
                    <a:pt x="235" y="277"/>
                  </a:lnTo>
                  <a:lnTo>
                    <a:pt x="235" y="282"/>
                  </a:lnTo>
                  <a:lnTo>
                    <a:pt x="232" y="288"/>
                  </a:lnTo>
                  <a:lnTo>
                    <a:pt x="228" y="294"/>
                  </a:lnTo>
                  <a:lnTo>
                    <a:pt x="224" y="301"/>
                  </a:lnTo>
                  <a:lnTo>
                    <a:pt x="212" y="316"/>
                  </a:lnTo>
                  <a:lnTo>
                    <a:pt x="198" y="332"/>
                  </a:lnTo>
                  <a:lnTo>
                    <a:pt x="167" y="361"/>
                  </a:lnTo>
                  <a:lnTo>
                    <a:pt x="146" y="385"/>
                  </a:lnTo>
                  <a:lnTo>
                    <a:pt x="135" y="399"/>
                  </a:lnTo>
                  <a:lnTo>
                    <a:pt x="126" y="413"/>
                  </a:lnTo>
                  <a:lnTo>
                    <a:pt x="118" y="427"/>
                  </a:lnTo>
                  <a:lnTo>
                    <a:pt x="111" y="442"/>
                  </a:lnTo>
                  <a:lnTo>
                    <a:pt x="100" y="471"/>
                  </a:lnTo>
                  <a:lnTo>
                    <a:pt x="91" y="502"/>
                  </a:lnTo>
                  <a:lnTo>
                    <a:pt x="83" y="535"/>
                  </a:lnTo>
                  <a:lnTo>
                    <a:pt x="76" y="569"/>
                  </a:lnTo>
                  <a:lnTo>
                    <a:pt x="67" y="602"/>
                  </a:lnTo>
                  <a:lnTo>
                    <a:pt x="55" y="638"/>
                  </a:lnTo>
                  <a:lnTo>
                    <a:pt x="50" y="650"/>
                  </a:lnTo>
                  <a:lnTo>
                    <a:pt x="42" y="661"/>
                  </a:lnTo>
                  <a:lnTo>
                    <a:pt x="32" y="673"/>
                  </a:lnTo>
                  <a:lnTo>
                    <a:pt x="23" y="683"/>
                  </a:lnTo>
                  <a:lnTo>
                    <a:pt x="15" y="695"/>
                  </a:lnTo>
                  <a:lnTo>
                    <a:pt x="7" y="709"/>
                  </a:lnTo>
                  <a:lnTo>
                    <a:pt x="4" y="715"/>
                  </a:lnTo>
                  <a:lnTo>
                    <a:pt x="3" y="721"/>
                  </a:lnTo>
                  <a:lnTo>
                    <a:pt x="2" y="727"/>
                  </a:lnTo>
                  <a:lnTo>
                    <a:pt x="0" y="734"/>
                  </a:lnTo>
                  <a:lnTo>
                    <a:pt x="2" y="739"/>
                  </a:lnTo>
                  <a:lnTo>
                    <a:pt x="6" y="745"/>
                  </a:lnTo>
                  <a:lnTo>
                    <a:pt x="10" y="750"/>
                  </a:lnTo>
                  <a:lnTo>
                    <a:pt x="16" y="755"/>
                  </a:lnTo>
                  <a:lnTo>
                    <a:pt x="26" y="765"/>
                  </a:lnTo>
                  <a:lnTo>
                    <a:pt x="31" y="770"/>
                  </a:lnTo>
                  <a:lnTo>
                    <a:pt x="38" y="791"/>
                  </a:lnTo>
                  <a:lnTo>
                    <a:pt x="47" y="811"/>
                  </a:lnTo>
                  <a:lnTo>
                    <a:pt x="56" y="827"/>
                  </a:lnTo>
                  <a:lnTo>
                    <a:pt x="67" y="843"/>
                  </a:lnTo>
                  <a:lnTo>
                    <a:pt x="79" y="857"/>
                  </a:lnTo>
                  <a:lnTo>
                    <a:pt x="91" y="869"/>
                  </a:lnTo>
                  <a:lnTo>
                    <a:pt x="103" y="881"/>
                  </a:lnTo>
                  <a:lnTo>
                    <a:pt x="115" y="893"/>
                  </a:lnTo>
                  <a:lnTo>
                    <a:pt x="140" y="915"/>
                  </a:lnTo>
                  <a:lnTo>
                    <a:pt x="163" y="939"/>
                  </a:lnTo>
                  <a:lnTo>
                    <a:pt x="174" y="954"/>
                  </a:lnTo>
                  <a:lnTo>
                    <a:pt x="183" y="968"/>
                  </a:lnTo>
                  <a:lnTo>
                    <a:pt x="192" y="986"/>
                  </a:lnTo>
                  <a:lnTo>
                    <a:pt x="199" y="1006"/>
                  </a:lnTo>
                  <a:lnTo>
                    <a:pt x="215" y="1027"/>
                  </a:lnTo>
                  <a:lnTo>
                    <a:pt x="234" y="1048"/>
                  </a:lnTo>
                  <a:lnTo>
                    <a:pt x="242" y="1060"/>
                  </a:lnTo>
                  <a:lnTo>
                    <a:pt x="248" y="1072"/>
                  </a:lnTo>
                  <a:lnTo>
                    <a:pt x="250" y="1079"/>
                  </a:lnTo>
                  <a:lnTo>
                    <a:pt x="252" y="1087"/>
                  </a:lnTo>
                  <a:lnTo>
                    <a:pt x="254" y="1094"/>
                  </a:lnTo>
                  <a:lnTo>
                    <a:pt x="254" y="1102"/>
                  </a:lnTo>
                  <a:lnTo>
                    <a:pt x="252" y="1115"/>
                  </a:lnTo>
                  <a:lnTo>
                    <a:pt x="251" y="1127"/>
                  </a:lnTo>
                  <a:lnTo>
                    <a:pt x="248" y="1139"/>
                  </a:lnTo>
                  <a:lnTo>
                    <a:pt x="244" y="1150"/>
                  </a:lnTo>
                  <a:lnTo>
                    <a:pt x="242" y="1162"/>
                  </a:lnTo>
                  <a:lnTo>
                    <a:pt x="239" y="1172"/>
                  </a:lnTo>
                  <a:lnTo>
                    <a:pt x="236" y="1184"/>
                  </a:lnTo>
                  <a:lnTo>
                    <a:pt x="235" y="1198"/>
                  </a:lnTo>
                  <a:lnTo>
                    <a:pt x="236" y="1222"/>
                  </a:lnTo>
                  <a:lnTo>
                    <a:pt x="239" y="1246"/>
                  </a:lnTo>
                  <a:lnTo>
                    <a:pt x="242" y="1268"/>
                  </a:lnTo>
                  <a:lnTo>
                    <a:pt x="244" y="1291"/>
                  </a:lnTo>
                  <a:lnTo>
                    <a:pt x="248" y="1314"/>
                  </a:lnTo>
                  <a:lnTo>
                    <a:pt x="251" y="1336"/>
                  </a:lnTo>
                  <a:lnTo>
                    <a:pt x="252" y="1360"/>
                  </a:lnTo>
                  <a:lnTo>
                    <a:pt x="254" y="1384"/>
                  </a:lnTo>
                  <a:lnTo>
                    <a:pt x="254" y="1415"/>
                  </a:lnTo>
                  <a:lnTo>
                    <a:pt x="254" y="1446"/>
                  </a:lnTo>
                  <a:lnTo>
                    <a:pt x="254" y="1474"/>
                  </a:lnTo>
                  <a:lnTo>
                    <a:pt x="254" y="1494"/>
                  </a:lnTo>
                  <a:lnTo>
                    <a:pt x="251" y="1504"/>
                  </a:lnTo>
                  <a:lnTo>
                    <a:pt x="246" y="1519"/>
                  </a:lnTo>
                  <a:lnTo>
                    <a:pt x="243" y="1527"/>
                  </a:lnTo>
                  <a:lnTo>
                    <a:pt x="240" y="1535"/>
                  </a:lnTo>
                  <a:lnTo>
                    <a:pt x="240" y="1544"/>
                  </a:lnTo>
                  <a:lnTo>
                    <a:pt x="242" y="1553"/>
                  </a:lnTo>
                  <a:lnTo>
                    <a:pt x="246" y="1564"/>
                  </a:lnTo>
                  <a:lnTo>
                    <a:pt x="251" y="1572"/>
                  </a:lnTo>
                  <a:lnTo>
                    <a:pt x="259" y="1580"/>
                  </a:lnTo>
                  <a:lnTo>
                    <a:pt x="267" y="1585"/>
                  </a:lnTo>
                  <a:lnTo>
                    <a:pt x="284" y="1596"/>
                  </a:lnTo>
                  <a:lnTo>
                    <a:pt x="304" y="1604"/>
                  </a:lnTo>
                  <a:lnTo>
                    <a:pt x="324" y="1612"/>
                  </a:lnTo>
                  <a:lnTo>
                    <a:pt x="343" y="1623"/>
                  </a:lnTo>
                  <a:lnTo>
                    <a:pt x="351" y="1629"/>
                  </a:lnTo>
                  <a:lnTo>
                    <a:pt x="358" y="1636"/>
                  </a:lnTo>
                  <a:lnTo>
                    <a:pt x="364" y="1645"/>
                  </a:lnTo>
                  <a:lnTo>
                    <a:pt x="368" y="1656"/>
                  </a:lnTo>
                  <a:lnTo>
                    <a:pt x="375" y="1679"/>
                  </a:lnTo>
                  <a:lnTo>
                    <a:pt x="382" y="1705"/>
                  </a:lnTo>
                  <a:lnTo>
                    <a:pt x="387" y="1735"/>
                  </a:lnTo>
                  <a:lnTo>
                    <a:pt x="394" y="1763"/>
                  </a:lnTo>
                  <a:lnTo>
                    <a:pt x="402" y="1811"/>
                  </a:lnTo>
                  <a:lnTo>
                    <a:pt x="404" y="1831"/>
                  </a:lnTo>
                  <a:lnTo>
                    <a:pt x="410" y="1831"/>
                  </a:lnTo>
                  <a:lnTo>
                    <a:pt x="419" y="1839"/>
                  </a:lnTo>
                  <a:lnTo>
                    <a:pt x="431" y="1847"/>
                  </a:lnTo>
                  <a:lnTo>
                    <a:pt x="438" y="1849"/>
                  </a:lnTo>
                  <a:lnTo>
                    <a:pt x="446" y="1852"/>
                  </a:lnTo>
                  <a:lnTo>
                    <a:pt x="454" y="1853"/>
                  </a:lnTo>
                  <a:lnTo>
                    <a:pt x="464" y="1855"/>
                  </a:lnTo>
                  <a:lnTo>
                    <a:pt x="475" y="1853"/>
                  </a:lnTo>
                  <a:lnTo>
                    <a:pt x="484" y="1852"/>
                  </a:lnTo>
                  <a:lnTo>
                    <a:pt x="494" y="1851"/>
                  </a:lnTo>
                  <a:lnTo>
                    <a:pt x="500" y="1848"/>
                  </a:lnTo>
                  <a:lnTo>
                    <a:pt x="507" y="1845"/>
                  </a:lnTo>
                  <a:lnTo>
                    <a:pt x="514" y="1841"/>
                  </a:lnTo>
                  <a:lnTo>
                    <a:pt x="519" y="1837"/>
                  </a:lnTo>
                  <a:lnTo>
                    <a:pt x="524" y="1833"/>
                  </a:lnTo>
                  <a:lnTo>
                    <a:pt x="542" y="1813"/>
                  </a:lnTo>
                  <a:lnTo>
                    <a:pt x="560" y="1795"/>
                  </a:lnTo>
                  <a:lnTo>
                    <a:pt x="571" y="1789"/>
                  </a:lnTo>
                  <a:lnTo>
                    <a:pt x="583" y="1785"/>
                  </a:lnTo>
                  <a:lnTo>
                    <a:pt x="595" y="1783"/>
                  </a:lnTo>
                  <a:lnTo>
                    <a:pt x="608" y="1781"/>
                  </a:lnTo>
                  <a:lnTo>
                    <a:pt x="633" y="1781"/>
                  </a:lnTo>
                  <a:lnTo>
                    <a:pt x="661" y="1781"/>
                  </a:lnTo>
                  <a:lnTo>
                    <a:pt x="687" y="1783"/>
                  </a:lnTo>
                  <a:lnTo>
                    <a:pt x="711" y="1783"/>
                  </a:lnTo>
                  <a:lnTo>
                    <a:pt x="721" y="1781"/>
                  </a:lnTo>
                  <a:lnTo>
                    <a:pt x="731" y="1779"/>
                  </a:lnTo>
                  <a:lnTo>
                    <a:pt x="740" y="1775"/>
                  </a:lnTo>
                  <a:lnTo>
                    <a:pt x="748" y="1769"/>
                  </a:lnTo>
                  <a:lnTo>
                    <a:pt x="753" y="1767"/>
                  </a:lnTo>
                  <a:lnTo>
                    <a:pt x="759" y="1760"/>
                  </a:lnTo>
                  <a:lnTo>
                    <a:pt x="764" y="1752"/>
                  </a:lnTo>
                  <a:lnTo>
                    <a:pt x="768" y="1744"/>
                  </a:lnTo>
                  <a:lnTo>
                    <a:pt x="772" y="1736"/>
                  </a:lnTo>
                  <a:lnTo>
                    <a:pt x="775" y="1728"/>
                  </a:lnTo>
                  <a:lnTo>
                    <a:pt x="779" y="1724"/>
                  </a:lnTo>
                  <a:lnTo>
                    <a:pt x="784" y="1721"/>
                  </a:lnTo>
                  <a:lnTo>
                    <a:pt x="792" y="1716"/>
                  </a:lnTo>
                  <a:lnTo>
                    <a:pt x="801" y="1713"/>
                  </a:lnTo>
                  <a:lnTo>
                    <a:pt x="811" y="1713"/>
                  </a:lnTo>
                  <a:lnTo>
                    <a:pt x="820" y="1713"/>
                  </a:lnTo>
                  <a:lnTo>
                    <a:pt x="828" y="1712"/>
                  </a:lnTo>
                  <a:lnTo>
                    <a:pt x="837" y="1712"/>
                  </a:lnTo>
                  <a:lnTo>
                    <a:pt x="847" y="1709"/>
                  </a:lnTo>
                  <a:lnTo>
                    <a:pt x="856" y="1704"/>
                  </a:lnTo>
                  <a:lnTo>
                    <a:pt x="860" y="1701"/>
                  </a:lnTo>
                  <a:lnTo>
                    <a:pt x="863" y="1697"/>
                  </a:lnTo>
                  <a:lnTo>
                    <a:pt x="867" y="1693"/>
                  </a:lnTo>
                  <a:lnTo>
                    <a:pt x="868" y="1689"/>
                  </a:lnTo>
                  <a:lnTo>
                    <a:pt x="872" y="1679"/>
                  </a:lnTo>
                  <a:lnTo>
                    <a:pt x="876" y="1669"/>
                  </a:lnTo>
                  <a:lnTo>
                    <a:pt x="879" y="1659"/>
                  </a:lnTo>
                  <a:lnTo>
                    <a:pt x="884" y="1651"/>
                  </a:lnTo>
                  <a:lnTo>
                    <a:pt x="888" y="1648"/>
                  </a:lnTo>
                  <a:lnTo>
                    <a:pt x="892" y="1645"/>
                  </a:lnTo>
                  <a:lnTo>
                    <a:pt x="897" y="1644"/>
                  </a:lnTo>
                  <a:lnTo>
                    <a:pt x="904" y="1644"/>
                  </a:lnTo>
                  <a:lnTo>
                    <a:pt x="909" y="1644"/>
                  </a:lnTo>
                  <a:lnTo>
                    <a:pt x="916" y="1647"/>
                  </a:lnTo>
                  <a:lnTo>
                    <a:pt x="923" y="1649"/>
                  </a:lnTo>
                  <a:lnTo>
                    <a:pt x="932" y="1653"/>
                  </a:lnTo>
                  <a:lnTo>
                    <a:pt x="949" y="1663"/>
                  </a:lnTo>
                  <a:lnTo>
                    <a:pt x="969" y="1675"/>
                  </a:lnTo>
                  <a:lnTo>
                    <a:pt x="1007" y="1699"/>
                  </a:lnTo>
                  <a:lnTo>
                    <a:pt x="1031" y="1716"/>
                  </a:lnTo>
                  <a:lnTo>
                    <a:pt x="1044" y="1721"/>
                  </a:lnTo>
                  <a:lnTo>
                    <a:pt x="1056" y="1724"/>
                  </a:lnTo>
                  <a:lnTo>
                    <a:pt x="1069" y="1727"/>
                  </a:lnTo>
                  <a:lnTo>
                    <a:pt x="1081" y="1728"/>
                  </a:lnTo>
                  <a:lnTo>
                    <a:pt x="1095" y="1731"/>
                  </a:lnTo>
                  <a:lnTo>
                    <a:pt x="1107" y="1733"/>
                  </a:lnTo>
                  <a:lnTo>
                    <a:pt x="1120" y="1739"/>
                  </a:lnTo>
                  <a:lnTo>
                    <a:pt x="1133" y="1745"/>
                  </a:lnTo>
                  <a:lnTo>
                    <a:pt x="1144" y="1755"/>
                  </a:lnTo>
                  <a:lnTo>
                    <a:pt x="1153" y="1764"/>
                  </a:lnTo>
                  <a:lnTo>
                    <a:pt x="1163" y="1773"/>
                  </a:lnTo>
                  <a:lnTo>
                    <a:pt x="1172" y="1784"/>
                  </a:lnTo>
                  <a:lnTo>
                    <a:pt x="1180" y="1793"/>
                  </a:lnTo>
                  <a:lnTo>
                    <a:pt x="1187" y="1804"/>
                  </a:lnTo>
                  <a:lnTo>
                    <a:pt x="1193" y="1815"/>
                  </a:lnTo>
                  <a:lnTo>
                    <a:pt x="1199" y="1827"/>
                  </a:lnTo>
                  <a:lnTo>
                    <a:pt x="1209" y="1851"/>
                  </a:lnTo>
                  <a:lnTo>
                    <a:pt x="1217" y="1877"/>
                  </a:lnTo>
                  <a:lnTo>
                    <a:pt x="1224" y="1907"/>
                  </a:lnTo>
                  <a:lnTo>
                    <a:pt x="1229" y="1939"/>
                  </a:lnTo>
                  <a:lnTo>
                    <a:pt x="1237" y="1952"/>
                  </a:lnTo>
                  <a:lnTo>
                    <a:pt x="1257" y="1981"/>
                  </a:lnTo>
                  <a:lnTo>
                    <a:pt x="1277" y="2012"/>
                  </a:lnTo>
                  <a:lnTo>
                    <a:pt x="1289" y="2029"/>
                  </a:lnTo>
                  <a:lnTo>
                    <a:pt x="1296" y="2041"/>
                  </a:lnTo>
                  <a:lnTo>
                    <a:pt x="1305" y="2052"/>
                  </a:lnTo>
                  <a:lnTo>
                    <a:pt x="1317" y="2061"/>
                  </a:lnTo>
                  <a:lnTo>
                    <a:pt x="1331" y="2071"/>
                  </a:lnTo>
                  <a:lnTo>
                    <a:pt x="1345" y="2079"/>
                  </a:lnTo>
                  <a:lnTo>
                    <a:pt x="1361" y="2087"/>
                  </a:lnTo>
                  <a:lnTo>
                    <a:pt x="1379" y="2093"/>
                  </a:lnTo>
                  <a:lnTo>
                    <a:pt x="1396" y="2100"/>
                  </a:lnTo>
                  <a:lnTo>
                    <a:pt x="1433" y="2112"/>
                  </a:lnTo>
                  <a:lnTo>
                    <a:pt x="1469" y="2122"/>
                  </a:lnTo>
                  <a:lnTo>
                    <a:pt x="1502" y="2132"/>
                  </a:lnTo>
                  <a:lnTo>
                    <a:pt x="1530" y="214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8" name="Freeform 124"/>
            <p:cNvSpPr>
              <a:spLocks/>
            </p:cNvSpPr>
            <p:nvPr/>
          </p:nvSpPr>
          <p:spPr bwMode="auto">
            <a:xfrm>
              <a:off x="2345059" y="4162425"/>
              <a:ext cx="171450" cy="307975"/>
            </a:xfrm>
            <a:custGeom>
              <a:avLst/>
              <a:gdLst/>
              <a:ahLst/>
              <a:cxnLst>
                <a:cxn ang="0">
                  <a:pos x="14" y="141"/>
                </a:cxn>
                <a:cxn ang="0">
                  <a:pos x="25" y="164"/>
                </a:cxn>
                <a:cxn ang="0">
                  <a:pos x="53" y="188"/>
                </a:cxn>
                <a:cxn ang="0">
                  <a:pos x="85" y="207"/>
                </a:cxn>
                <a:cxn ang="0">
                  <a:pos x="114" y="227"/>
                </a:cxn>
                <a:cxn ang="0">
                  <a:pos x="129" y="251"/>
                </a:cxn>
                <a:cxn ang="0">
                  <a:pos x="131" y="271"/>
                </a:cxn>
                <a:cxn ang="0">
                  <a:pos x="129" y="292"/>
                </a:cxn>
                <a:cxn ang="0">
                  <a:pos x="111" y="320"/>
                </a:cxn>
                <a:cxn ang="0">
                  <a:pos x="81" y="345"/>
                </a:cxn>
                <a:cxn ang="0">
                  <a:pos x="45" y="366"/>
                </a:cxn>
                <a:cxn ang="0">
                  <a:pos x="17" y="394"/>
                </a:cxn>
                <a:cxn ang="0">
                  <a:pos x="6" y="418"/>
                </a:cxn>
                <a:cxn ang="0">
                  <a:pos x="5" y="464"/>
                </a:cxn>
                <a:cxn ang="0">
                  <a:pos x="5" y="554"/>
                </a:cxn>
                <a:cxn ang="0">
                  <a:pos x="9" y="577"/>
                </a:cxn>
                <a:cxn ang="0">
                  <a:pos x="18" y="594"/>
                </a:cxn>
                <a:cxn ang="0">
                  <a:pos x="40" y="612"/>
                </a:cxn>
                <a:cxn ang="0">
                  <a:pos x="83" y="626"/>
                </a:cxn>
                <a:cxn ang="0">
                  <a:pos x="137" y="632"/>
                </a:cxn>
                <a:cxn ang="0">
                  <a:pos x="229" y="632"/>
                </a:cxn>
                <a:cxn ang="0">
                  <a:pos x="301" y="629"/>
                </a:cxn>
                <a:cxn ang="0">
                  <a:pos x="317" y="617"/>
                </a:cxn>
                <a:cxn ang="0">
                  <a:pos x="318" y="601"/>
                </a:cxn>
                <a:cxn ang="0">
                  <a:pos x="309" y="585"/>
                </a:cxn>
                <a:cxn ang="0">
                  <a:pos x="273" y="556"/>
                </a:cxn>
                <a:cxn ang="0">
                  <a:pos x="255" y="530"/>
                </a:cxn>
                <a:cxn ang="0">
                  <a:pos x="253" y="496"/>
                </a:cxn>
                <a:cxn ang="0">
                  <a:pos x="266" y="456"/>
                </a:cxn>
                <a:cxn ang="0">
                  <a:pos x="302" y="394"/>
                </a:cxn>
                <a:cxn ang="0">
                  <a:pos x="323" y="355"/>
                </a:cxn>
                <a:cxn ang="0">
                  <a:pos x="335" y="308"/>
                </a:cxn>
                <a:cxn ang="0">
                  <a:pos x="338" y="256"/>
                </a:cxn>
                <a:cxn ang="0">
                  <a:pos x="349" y="196"/>
                </a:cxn>
                <a:cxn ang="0">
                  <a:pos x="334" y="160"/>
                </a:cxn>
                <a:cxn ang="0">
                  <a:pos x="307" y="141"/>
                </a:cxn>
                <a:cxn ang="0">
                  <a:pos x="278" y="107"/>
                </a:cxn>
                <a:cxn ang="0">
                  <a:pos x="259" y="97"/>
                </a:cxn>
                <a:cxn ang="0">
                  <a:pos x="242" y="96"/>
                </a:cxn>
                <a:cxn ang="0">
                  <a:pos x="225" y="95"/>
                </a:cxn>
                <a:cxn ang="0">
                  <a:pos x="218" y="80"/>
                </a:cxn>
                <a:cxn ang="0">
                  <a:pos x="215" y="41"/>
                </a:cxn>
                <a:cxn ang="0">
                  <a:pos x="205" y="16"/>
                </a:cxn>
                <a:cxn ang="0">
                  <a:pos x="182" y="4"/>
                </a:cxn>
                <a:cxn ang="0">
                  <a:pos x="95" y="5"/>
                </a:cxn>
                <a:cxn ang="0">
                  <a:pos x="75" y="5"/>
                </a:cxn>
                <a:cxn ang="0">
                  <a:pos x="40" y="1"/>
                </a:cxn>
                <a:cxn ang="0">
                  <a:pos x="26" y="1"/>
                </a:cxn>
                <a:cxn ang="0">
                  <a:pos x="24" y="5"/>
                </a:cxn>
                <a:cxn ang="0">
                  <a:pos x="28" y="39"/>
                </a:cxn>
                <a:cxn ang="0">
                  <a:pos x="34" y="69"/>
                </a:cxn>
                <a:cxn ang="0">
                  <a:pos x="34" y="104"/>
                </a:cxn>
                <a:cxn ang="0">
                  <a:pos x="22" y="120"/>
                </a:cxn>
                <a:cxn ang="0">
                  <a:pos x="5" y="125"/>
                </a:cxn>
              </a:cxnLst>
              <a:rect l="0" t="0" r="r" b="b"/>
              <a:pathLst>
                <a:path w="354" h="633">
                  <a:moveTo>
                    <a:pt x="12" y="127"/>
                  </a:moveTo>
                  <a:lnTo>
                    <a:pt x="13" y="133"/>
                  </a:lnTo>
                  <a:lnTo>
                    <a:pt x="14" y="141"/>
                  </a:lnTo>
                  <a:lnTo>
                    <a:pt x="16" y="148"/>
                  </a:lnTo>
                  <a:lnTo>
                    <a:pt x="18" y="153"/>
                  </a:lnTo>
                  <a:lnTo>
                    <a:pt x="25" y="164"/>
                  </a:lnTo>
                  <a:lnTo>
                    <a:pt x="33" y="173"/>
                  </a:lnTo>
                  <a:lnTo>
                    <a:pt x="42" y="181"/>
                  </a:lnTo>
                  <a:lnTo>
                    <a:pt x="53" y="188"/>
                  </a:lnTo>
                  <a:lnTo>
                    <a:pt x="63" y="195"/>
                  </a:lnTo>
                  <a:lnTo>
                    <a:pt x="74" y="201"/>
                  </a:lnTo>
                  <a:lnTo>
                    <a:pt x="85" y="207"/>
                  </a:lnTo>
                  <a:lnTo>
                    <a:pt x="95" y="213"/>
                  </a:lnTo>
                  <a:lnTo>
                    <a:pt x="105" y="220"/>
                  </a:lnTo>
                  <a:lnTo>
                    <a:pt x="114" y="227"/>
                  </a:lnTo>
                  <a:lnTo>
                    <a:pt x="121" y="236"/>
                  </a:lnTo>
                  <a:lnTo>
                    <a:pt x="127" y="245"/>
                  </a:lnTo>
                  <a:lnTo>
                    <a:pt x="129" y="251"/>
                  </a:lnTo>
                  <a:lnTo>
                    <a:pt x="130" y="257"/>
                  </a:lnTo>
                  <a:lnTo>
                    <a:pt x="131" y="264"/>
                  </a:lnTo>
                  <a:lnTo>
                    <a:pt x="131" y="271"/>
                  </a:lnTo>
                  <a:lnTo>
                    <a:pt x="131" y="279"/>
                  </a:lnTo>
                  <a:lnTo>
                    <a:pt x="130" y="285"/>
                  </a:lnTo>
                  <a:lnTo>
                    <a:pt x="129" y="292"/>
                  </a:lnTo>
                  <a:lnTo>
                    <a:pt x="126" y="299"/>
                  </a:lnTo>
                  <a:lnTo>
                    <a:pt x="121" y="309"/>
                  </a:lnTo>
                  <a:lnTo>
                    <a:pt x="111" y="320"/>
                  </a:lnTo>
                  <a:lnTo>
                    <a:pt x="102" y="329"/>
                  </a:lnTo>
                  <a:lnTo>
                    <a:pt x="91" y="337"/>
                  </a:lnTo>
                  <a:lnTo>
                    <a:pt x="81" y="345"/>
                  </a:lnTo>
                  <a:lnTo>
                    <a:pt x="69" y="352"/>
                  </a:lnTo>
                  <a:lnTo>
                    <a:pt x="57" y="360"/>
                  </a:lnTo>
                  <a:lnTo>
                    <a:pt x="45" y="366"/>
                  </a:lnTo>
                  <a:lnTo>
                    <a:pt x="34" y="376"/>
                  </a:lnTo>
                  <a:lnTo>
                    <a:pt x="25" y="384"/>
                  </a:lnTo>
                  <a:lnTo>
                    <a:pt x="17" y="394"/>
                  </a:lnTo>
                  <a:lnTo>
                    <a:pt x="10" y="405"/>
                  </a:lnTo>
                  <a:lnTo>
                    <a:pt x="9" y="412"/>
                  </a:lnTo>
                  <a:lnTo>
                    <a:pt x="6" y="418"/>
                  </a:lnTo>
                  <a:lnTo>
                    <a:pt x="6" y="425"/>
                  </a:lnTo>
                  <a:lnTo>
                    <a:pt x="5" y="433"/>
                  </a:lnTo>
                  <a:lnTo>
                    <a:pt x="5" y="464"/>
                  </a:lnTo>
                  <a:lnTo>
                    <a:pt x="5" y="492"/>
                  </a:lnTo>
                  <a:lnTo>
                    <a:pt x="5" y="521"/>
                  </a:lnTo>
                  <a:lnTo>
                    <a:pt x="5" y="554"/>
                  </a:lnTo>
                  <a:lnTo>
                    <a:pt x="6" y="562"/>
                  </a:lnTo>
                  <a:lnTo>
                    <a:pt x="8" y="569"/>
                  </a:lnTo>
                  <a:lnTo>
                    <a:pt x="9" y="577"/>
                  </a:lnTo>
                  <a:lnTo>
                    <a:pt x="12" y="582"/>
                  </a:lnTo>
                  <a:lnTo>
                    <a:pt x="14" y="589"/>
                  </a:lnTo>
                  <a:lnTo>
                    <a:pt x="18" y="594"/>
                  </a:lnTo>
                  <a:lnTo>
                    <a:pt x="22" y="600"/>
                  </a:lnTo>
                  <a:lnTo>
                    <a:pt x="28" y="604"/>
                  </a:lnTo>
                  <a:lnTo>
                    <a:pt x="40" y="612"/>
                  </a:lnTo>
                  <a:lnTo>
                    <a:pt x="52" y="618"/>
                  </a:lnTo>
                  <a:lnTo>
                    <a:pt x="67" y="624"/>
                  </a:lnTo>
                  <a:lnTo>
                    <a:pt x="83" y="626"/>
                  </a:lnTo>
                  <a:lnTo>
                    <a:pt x="99" y="629"/>
                  </a:lnTo>
                  <a:lnTo>
                    <a:pt x="118" y="632"/>
                  </a:lnTo>
                  <a:lnTo>
                    <a:pt x="137" y="632"/>
                  </a:lnTo>
                  <a:lnTo>
                    <a:pt x="155" y="633"/>
                  </a:lnTo>
                  <a:lnTo>
                    <a:pt x="193" y="633"/>
                  </a:lnTo>
                  <a:lnTo>
                    <a:pt x="229" y="632"/>
                  </a:lnTo>
                  <a:lnTo>
                    <a:pt x="261" y="633"/>
                  </a:lnTo>
                  <a:lnTo>
                    <a:pt x="289" y="632"/>
                  </a:lnTo>
                  <a:lnTo>
                    <a:pt x="301" y="629"/>
                  </a:lnTo>
                  <a:lnTo>
                    <a:pt x="310" y="625"/>
                  </a:lnTo>
                  <a:lnTo>
                    <a:pt x="314" y="621"/>
                  </a:lnTo>
                  <a:lnTo>
                    <a:pt x="317" y="617"/>
                  </a:lnTo>
                  <a:lnTo>
                    <a:pt x="318" y="613"/>
                  </a:lnTo>
                  <a:lnTo>
                    <a:pt x="318" y="608"/>
                  </a:lnTo>
                  <a:lnTo>
                    <a:pt x="318" y="601"/>
                  </a:lnTo>
                  <a:lnTo>
                    <a:pt x="315" y="596"/>
                  </a:lnTo>
                  <a:lnTo>
                    <a:pt x="313" y="590"/>
                  </a:lnTo>
                  <a:lnTo>
                    <a:pt x="309" y="585"/>
                  </a:lnTo>
                  <a:lnTo>
                    <a:pt x="298" y="576"/>
                  </a:lnTo>
                  <a:lnTo>
                    <a:pt x="286" y="566"/>
                  </a:lnTo>
                  <a:lnTo>
                    <a:pt x="273" y="556"/>
                  </a:lnTo>
                  <a:lnTo>
                    <a:pt x="262" y="545"/>
                  </a:lnTo>
                  <a:lnTo>
                    <a:pt x="258" y="537"/>
                  </a:lnTo>
                  <a:lnTo>
                    <a:pt x="255" y="530"/>
                  </a:lnTo>
                  <a:lnTo>
                    <a:pt x="253" y="521"/>
                  </a:lnTo>
                  <a:lnTo>
                    <a:pt x="253" y="512"/>
                  </a:lnTo>
                  <a:lnTo>
                    <a:pt x="253" y="496"/>
                  </a:lnTo>
                  <a:lnTo>
                    <a:pt x="255" y="482"/>
                  </a:lnTo>
                  <a:lnTo>
                    <a:pt x="259" y="469"/>
                  </a:lnTo>
                  <a:lnTo>
                    <a:pt x="266" y="456"/>
                  </a:lnTo>
                  <a:lnTo>
                    <a:pt x="279" y="430"/>
                  </a:lnTo>
                  <a:lnTo>
                    <a:pt x="294" y="406"/>
                  </a:lnTo>
                  <a:lnTo>
                    <a:pt x="302" y="394"/>
                  </a:lnTo>
                  <a:lnTo>
                    <a:pt x="310" y="382"/>
                  </a:lnTo>
                  <a:lnTo>
                    <a:pt x="317" y="369"/>
                  </a:lnTo>
                  <a:lnTo>
                    <a:pt x="323" y="355"/>
                  </a:lnTo>
                  <a:lnTo>
                    <a:pt x="329" y="340"/>
                  </a:lnTo>
                  <a:lnTo>
                    <a:pt x="333" y="324"/>
                  </a:lnTo>
                  <a:lnTo>
                    <a:pt x="335" y="308"/>
                  </a:lnTo>
                  <a:lnTo>
                    <a:pt x="337" y="289"/>
                  </a:lnTo>
                  <a:lnTo>
                    <a:pt x="337" y="272"/>
                  </a:lnTo>
                  <a:lnTo>
                    <a:pt x="338" y="256"/>
                  </a:lnTo>
                  <a:lnTo>
                    <a:pt x="341" y="240"/>
                  </a:lnTo>
                  <a:lnTo>
                    <a:pt x="343" y="225"/>
                  </a:lnTo>
                  <a:lnTo>
                    <a:pt x="349" y="196"/>
                  </a:lnTo>
                  <a:lnTo>
                    <a:pt x="354" y="163"/>
                  </a:lnTo>
                  <a:lnTo>
                    <a:pt x="343" y="161"/>
                  </a:lnTo>
                  <a:lnTo>
                    <a:pt x="334" y="160"/>
                  </a:lnTo>
                  <a:lnTo>
                    <a:pt x="326" y="156"/>
                  </a:lnTo>
                  <a:lnTo>
                    <a:pt x="319" y="152"/>
                  </a:lnTo>
                  <a:lnTo>
                    <a:pt x="307" y="141"/>
                  </a:lnTo>
                  <a:lnTo>
                    <a:pt x="297" y="129"/>
                  </a:lnTo>
                  <a:lnTo>
                    <a:pt x="287" y="117"/>
                  </a:lnTo>
                  <a:lnTo>
                    <a:pt x="278" y="107"/>
                  </a:lnTo>
                  <a:lnTo>
                    <a:pt x="273" y="103"/>
                  </a:lnTo>
                  <a:lnTo>
                    <a:pt x="266" y="99"/>
                  </a:lnTo>
                  <a:lnTo>
                    <a:pt x="259" y="97"/>
                  </a:lnTo>
                  <a:lnTo>
                    <a:pt x="253" y="96"/>
                  </a:lnTo>
                  <a:lnTo>
                    <a:pt x="245" y="96"/>
                  </a:lnTo>
                  <a:lnTo>
                    <a:pt x="242" y="96"/>
                  </a:lnTo>
                  <a:lnTo>
                    <a:pt x="239" y="96"/>
                  </a:lnTo>
                  <a:lnTo>
                    <a:pt x="229" y="96"/>
                  </a:lnTo>
                  <a:lnTo>
                    <a:pt x="225" y="95"/>
                  </a:lnTo>
                  <a:lnTo>
                    <a:pt x="221" y="91"/>
                  </a:lnTo>
                  <a:lnTo>
                    <a:pt x="219" y="87"/>
                  </a:lnTo>
                  <a:lnTo>
                    <a:pt x="218" y="80"/>
                  </a:lnTo>
                  <a:lnTo>
                    <a:pt x="217" y="65"/>
                  </a:lnTo>
                  <a:lnTo>
                    <a:pt x="217" y="55"/>
                  </a:lnTo>
                  <a:lnTo>
                    <a:pt x="215" y="41"/>
                  </a:lnTo>
                  <a:lnTo>
                    <a:pt x="213" y="31"/>
                  </a:lnTo>
                  <a:lnTo>
                    <a:pt x="209" y="23"/>
                  </a:lnTo>
                  <a:lnTo>
                    <a:pt x="205" y="16"/>
                  </a:lnTo>
                  <a:lnTo>
                    <a:pt x="198" y="11"/>
                  </a:lnTo>
                  <a:lnTo>
                    <a:pt x="190" y="7"/>
                  </a:lnTo>
                  <a:lnTo>
                    <a:pt x="182" y="4"/>
                  </a:lnTo>
                  <a:lnTo>
                    <a:pt x="174" y="3"/>
                  </a:lnTo>
                  <a:lnTo>
                    <a:pt x="135" y="3"/>
                  </a:lnTo>
                  <a:lnTo>
                    <a:pt x="95" y="5"/>
                  </a:lnTo>
                  <a:lnTo>
                    <a:pt x="86" y="5"/>
                  </a:lnTo>
                  <a:lnTo>
                    <a:pt x="81" y="5"/>
                  </a:lnTo>
                  <a:lnTo>
                    <a:pt x="75" y="5"/>
                  </a:lnTo>
                  <a:lnTo>
                    <a:pt x="66" y="5"/>
                  </a:lnTo>
                  <a:lnTo>
                    <a:pt x="54" y="4"/>
                  </a:lnTo>
                  <a:lnTo>
                    <a:pt x="40" y="1"/>
                  </a:lnTo>
                  <a:lnTo>
                    <a:pt x="34" y="0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5" y="3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19"/>
                  </a:lnTo>
                  <a:lnTo>
                    <a:pt x="25" y="29"/>
                  </a:lnTo>
                  <a:lnTo>
                    <a:pt x="28" y="39"/>
                  </a:lnTo>
                  <a:lnTo>
                    <a:pt x="29" y="49"/>
                  </a:lnTo>
                  <a:lnTo>
                    <a:pt x="32" y="59"/>
                  </a:lnTo>
                  <a:lnTo>
                    <a:pt x="34" y="69"/>
                  </a:lnTo>
                  <a:lnTo>
                    <a:pt x="36" y="81"/>
                  </a:lnTo>
                  <a:lnTo>
                    <a:pt x="36" y="96"/>
                  </a:lnTo>
                  <a:lnTo>
                    <a:pt x="34" y="104"/>
                  </a:lnTo>
                  <a:lnTo>
                    <a:pt x="32" y="111"/>
                  </a:lnTo>
                  <a:lnTo>
                    <a:pt x="28" y="116"/>
                  </a:lnTo>
                  <a:lnTo>
                    <a:pt x="22" y="120"/>
                  </a:lnTo>
                  <a:lnTo>
                    <a:pt x="16" y="123"/>
                  </a:lnTo>
                  <a:lnTo>
                    <a:pt x="10" y="125"/>
                  </a:lnTo>
                  <a:lnTo>
                    <a:pt x="5" y="125"/>
                  </a:lnTo>
                  <a:lnTo>
                    <a:pt x="0" y="127"/>
                  </a:lnTo>
                  <a:lnTo>
                    <a:pt x="12" y="12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29" name="Freeform 125"/>
            <p:cNvSpPr>
              <a:spLocks/>
            </p:cNvSpPr>
            <p:nvPr/>
          </p:nvSpPr>
          <p:spPr bwMode="auto">
            <a:xfrm>
              <a:off x="3084834" y="3135313"/>
              <a:ext cx="1157288" cy="1436687"/>
            </a:xfrm>
            <a:custGeom>
              <a:avLst/>
              <a:gdLst/>
              <a:ahLst/>
              <a:cxnLst>
                <a:cxn ang="0">
                  <a:pos x="2271" y="2839"/>
                </a:cxn>
                <a:cxn ang="0">
                  <a:pos x="2277" y="2652"/>
                </a:cxn>
                <a:cxn ang="0">
                  <a:pos x="2375" y="2372"/>
                </a:cxn>
                <a:cxn ang="0">
                  <a:pos x="2247" y="2226"/>
                </a:cxn>
                <a:cxn ang="0">
                  <a:pos x="2131" y="1802"/>
                </a:cxn>
                <a:cxn ang="0">
                  <a:pos x="2039" y="1519"/>
                </a:cxn>
                <a:cxn ang="0">
                  <a:pos x="2143" y="1357"/>
                </a:cxn>
                <a:cxn ang="0">
                  <a:pos x="2073" y="1176"/>
                </a:cxn>
                <a:cxn ang="0">
                  <a:pos x="1879" y="1072"/>
                </a:cxn>
                <a:cxn ang="0">
                  <a:pos x="1991" y="876"/>
                </a:cxn>
                <a:cxn ang="0">
                  <a:pos x="1959" y="637"/>
                </a:cxn>
                <a:cxn ang="0">
                  <a:pos x="2027" y="467"/>
                </a:cxn>
                <a:cxn ang="0">
                  <a:pos x="1915" y="340"/>
                </a:cxn>
                <a:cxn ang="0">
                  <a:pos x="1874" y="448"/>
                </a:cxn>
                <a:cxn ang="0">
                  <a:pos x="1686" y="467"/>
                </a:cxn>
                <a:cxn ang="0">
                  <a:pos x="1865" y="677"/>
                </a:cxn>
                <a:cxn ang="0">
                  <a:pos x="1741" y="620"/>
                </a:cxn>
                <a:cxn ang="0">
                  <a:pos x="1629" y="440"/>
                </a:cxn>
                <a:cxn ang="0">
                  <a:pos x="1659" y="127"/>
                </a:cxn>
                <a:cxn ang="0">
                  <a:pos x="1566" y="352"/>
                </a:cxn>
                <a:cxn ang="0">
                  <a:pos x="1460" y="657"/>
                </a:cxn>
                <a:cxn ang="0">
                  <a:pos x="1376" y="968"/>
                </a:cxn>
                <a:cxn ang="0">
                  <a:pos x="1578" y="1104"/>
                </a:cxn>
                <a:cxn ang="0">
                  <a:pos x="1685" y="1362"/>
                </a:cxn>
                <a:cxn ang="0">
                  <a:pos x="1678" y="1529"/>
                </a:cxn>
                <a:cxn ang="0">
                  <a:pos x="1598" y="1509"/>
                </a:cxn>
                <a:cxn ang="0">
                  <a:pos x="1545" y="1162"/>
                </a:cxn>
                <a:cxn ang="0">
                  <a:pos x="1369" y="1244"/>
                </a:cxn>
                <a:cxn ang="0">
                  <a:pos x="1225" y="1622"/>
                </a:cxn>
                <a:cxn ang="0">
                  <a:pos x="1040" y="1738"/>
                </a:cxn>
                <a:cxn ang="0">
                  <a:pos x="821" y="1631"/>
                </a:cxn>
                <a:cxn ang="0">
                  <a:pos x="844" y="1534"/>
                </a:cxn>
                <a:cxn ang="0">
                  <a:pos x="976" y="1671"/>
                </a:cxn>
                <a:cxn ang="0">
                  <a:pos x="1224" y="1391"/>
                </a:cxn>
                <a:cxn ang="0">
                  <a:pos x="1324" y="1261"/>
                </a:cxn>
                <a:cxn ang="0">
                  <a:pos x="1294" y="850"/>
                </a:cxn>
                <a:cxn ang="0">
                  <a:pos x="1354" y="469"/>
                </a:cxn>
                <a:cxn ang="0">
                  <a:pos x="1497" y="204"/>
                </a:cxn>
                <a:cxn ang="0">
                  <a:pos x="1282" y="3"/>
                </a:cxn>
                <a:cxn ang="0">
                  <a:pos x="1068" y="311"/>
                </a:cxn>
                <a:cxn ang="0">
                  <a:pos x="888" y="449"/>
                </a:cxn>
                <a:cxn ang="0">
                  <a:pos x="884" y="611"/>
                </a:cxn>
                <a:cxn ang="0">
                  <a:pos x="832" y="816"/>
                </a:cxn>
                <a:cxn ang="0">
                  <a:pos x="912" y="1057"/>
                </a:cxn>
                <a:cxn ang="0">
                  <a:pos x="775" y="1046"/>
                </a:cxn>
                <a:cxn ang="0">
                  <a:pos x="568" y="878"/>
                </a:cxn>
                <a:cxn ang="0">
                  <a:pos x="559" y="1088"/>
                </a:cxn>
                <a:cxn ang="0">
                  <a:pos x="587" y="1232"/>
                </a:cxn>
                <a:cxn ang="0">
                  <a:pos x="260" y="1430"/>
                </a:cxn>
                <a:cxn ang="0">
                  <a:pos x="55" y="1705"/>
                </a:cxn>
                <a:cxn ang="0">
                  <a:pos x="61" y="1889"/>
                </a:cxn>
                <a:cxn ang="0">
                  <a:pos x="321" y="1955"/>
                </a:cxn>
                <a:cxn ang="0">
                  <a:pos x="421" y="2150"/>
                </a:cxn>
                <a:cxn ang="0">
                  <a:pos x="576" y="2146"/>
                </a:cxn>
                <a:cxn ang="0">
                  <a:pos x="760" y="2214"/>
                </a:cxn>
                <a:cxn ang="0">
                  <a:pos x="830" y="2471"/>
                </a:cxn>
                <a:cxn ang="0">
                  <a:pos x="1285" y="2631"/>
                </a:cxn>
                <a:cxn ang="0">
                  <a:pos x="1525" y="2809"/>
                </a:cxn>
                <a:cxn ang="0">
                  <a:pos x="1797" y="2720"/>
                </a:cxn>
                <a:cxn ang="0">
                  <a:pos x="1943" y="2815"/>
                </a:cxn>
                <a:cxn ang="0">
                  <a:pos x="2077" y="2901"/>
                </a:cxn>
              </a:cxnLst>
              <a:rect l="0" t="0" r="r" b="b"/>
              <a:pathLst>
                <a:path w="2386" h="2965">
                  <a:moveTo>
                    <a:pt x="2181" y="2960"/>
                  </a:moveTo>
                  <a:lnTo>
                    <a:pt x="2181" y="2965"/>
                  </a:lnTo>
                  <a:lnTo>
                    <a:pt x="2193" y="2963"/>
                  </a:lnTo>
                  <a:lnTo>
                    <a:pt x="2202" y="2963"/>
                  </a:lnTo>
                  <a:lnTo>
                    <a:pt x="2206" y="2961"/>
                  </a:lnTo>
                  <a:lnTo>
                    <a:pt x="2211" y="2960"/>
                  </a:lnTo>
                  <a:lnTo>
                    <a:pt x="2217" y="2957"/>
                  </a:lnTo>
                  <a:lnTo>
                    <a:pt x="2223" y="2953"/>
                  </a:lnTo>
                  <a:lnTo>
                    <a:pt x="2229" y="2948"/>
                  </a:lnTo>
                  <a:lnTo>
                    <a:pt x="2233" y="2941"/>
                  </a:lnTo>
                  <a:lnTo>
                    <a:pt x="2235" y="2933"/>
                  </a:lnTo>
                  <a:lnTo>
                    <a:pt x="2237" y="2924"/>
                  </a:lnTo>
                  <a:lnTo>
                    <a:pt x="2238" y="2904"/>
                  </a:lnTo>
                  <a:lnTo>
                    <a:pt x="2241" y="2881"/>
                  </a:lnTo>
                  <a:lnTo>
                    <a:pt x="2243" y="2873"/>
                  </a:lnTo>
                  <a:lnTo>
                    <a:pt x="2247" y="2865"/>
                  </a:lnTo>
                  <a:lnTo>
                    <a:pt x="2253" y="2857"/>
                  </a:lnTo>
                  <a:lnTo>
                    <a:pt x="2258" y="2851"/>
                  </a:lnTo>
                  <a:lnTo>
                    <a:pt x="2271" y="2839"/>
                  </a:lnTo>
                  <a:lnTo>
                    <a:pt x="2285" y="2827"/>
                  </a:lnTo>
                  <a:lnTo>
                    <a:pt x="2298" y="2815"/>
                  </a:lnTo>
                  <a:lnTo>
                    <a:pt x="2309" y="2801"/>
                  </a:lnTo>
                  <a:lnTo>
                    <a:pt x="2313" y="2793"/>
                  </a:lnTo>
                  <a:lnTo>
                    <a:pt x="2317" y="2785"/>
                  </a:lnTo>
                  <a:lnTo>
                    <a:pt x="2318" y="2777"/>
                  </a:lnTo>
                  <a:lnTo>
                    <a:pt x="2319" y="2767"/>
                  </a:lnTo>
                  <a:lnTo>
                    <a:pt x="2319" y="2757"/>
                  </a:lnTo>
                  <a:lnTo>
                    <a:pt x="2318" y="2748"/>
                  </a:lnTo>
                  <a:lnTo>
                    <a:pt x="2315" y="2740"/>
                  </a:lnTo>
                  <a:lnTo>
                    <a:pt x="2313" y="2732"/>
                  </a:lnTo>
                  <a:lnTo>
                    <a:pt x="2306" y="2716"/>
                  </a:lnTo>
                  <a:lnTo>
                    <a:pt x="2298" y="2703"/>
                  </a:lnTo>
                  <a:lnTo>
                    <a:pt x="2290" y="2691"/>
                  </a:lnTo>
                  <a:lnTo>
                    <a:pt x="2283" y="2679"/>
                  </a:lnTo>
                  <a:lnTo>
                    <a:pt x="2281" y="2672"/>
                  </a:lnTo>
                  <a:lnTo>
                    <a:pt x="2279" y="2665"/>
                  </a:lnTo>
                  <a:lnTo>
                    <a:pt x="2278" y="2659"/>
                  </a:lnTo>
                  <a:lnTo>
                    <a:pt x="2277" y="2652"/>
                  </a:lnTo>
                  <a:lnTo>
                    <a:pt x="2278" y="2635"/>
                  </a:lnTo>
                  <a:lnTo>
                    <a:pt x="2282" y="2620"/>
                  </a:lnTo>
                  <a:lnTo>
                    <a:pt x="2287" y="2607"/>
                  </a:lnTo>
                  <a:lnTo>
                    <a:pt x="2294" y="2596"/>
                  </a:lnTo>
                  <a:lnTo>
                    <a:pt x="2302" y="2585"/>
                  </a:lnTo>
                  <a:lnTo>
                    <a:pt x="2311" y="2577"/>
                  </a:lnTo>
                  <a:lnTo>
                    <a:pt x="2321" y="2569"/>
                  </a:lnTo>
                  <a:lnTo>
                    <a:pt x="2331" y="2561"/>
                  </a:lnTo>
                  <a:lnTo>
                    <a:pt x="2342" y="2553"/>
                  </a:lnTo>
                  <a:lnTo>
                    <a:pt x="2351" y="2545"/>
                  </a:lnTo>
                  <a:lnTo>
                    <a:pt x="2360" y="2536"/>
                  </a:lnTo>
                  <a:lnTo>
                    <a:pt x="2368" y="2527"/>
                  </a:lnTo>
                  <a:lnTo>
                    <a:pt x="2375" y="2515"/>
                  </a:lnTo>
                  <a:lnTo>
                    <a:pt x="2380" y="2501"/>
                  </a:lnTo>
                  <a:lnTo>
                    <a:pt x="2384" y="2485"/>
                  </a:lnTo>
                  <a:lnTo>
                    <a:pt x="2386" y="2466"/>
                  </a:lnTo>
                  <a:lnTo>
                    <a:pt x="2383" y="2432"/>
                  </a:lnTo>
                  <a:lnTo>
                    <a:pt x="2379" y="2402"/>
                  </a:lnTo>
                  <a:lnTo>
                    <a:pt x="2375" y="2372"/>
                  </a:lnTo>
                  <a:lnTo>
                    <a:pt x="2374" y="2346"/>
                  </a:lnTo>
                  <a:lnTo>
                    <a:pt x="2355" y="2344"/>
                  </a:lnTo>
                  <a:lnTo>
                    <a:pt x="2332" y="2340"/>
                  </a:lnTo>
                  <a:lnTo>
                    <a:pt x="2307" y="2334"/>
                  </a:lnTo>
                  <a:lnTo>
                    <a:pt x="2282" y="2326"/>
                  </a:lnTo>
                  <a:lnTo>
                    <a:pt x="2270" y="2320"/>
                  </a:lnTo>
                  <a:lnTo>
                    <a:pt x="2259" y="2315"/>
                  </a:lnTo>
                  <a:lnTo>
                    <a:pt x="2249" y="2308"/>
                  </a:lnTo>
                  <a:lnTo>
                    <a:pt x="2241" y="2303"/>
                  </a:lnTo>
                  <a:lnTo>
                    <a:pt x="2233" y="2296"/>
                  </a:lnTo>
                  <a:lnTo>
                    <a:pt x="2227" y="2288"/>
                  </a:lnTo>
                  <a:lnTo>
                    <a:pt x="2225" y="2282"/>
                  </a:lnTo>
                  <a:lnTo>
                    <a:pt x="2223" y="2274"/>
                  </a:lnTo>
                  <a:lnTo>
                    <a:pt x="2223" y="2267"/>
                  </a:lnTo>
                  <a:lnTo>
                    <a:pt x="2226" y="2259"/>
                  </a:lnTo>
                  <a:lnTo>
                    <a:pt x="2229" y="2252"/>
                  </a:lnTo>
                  <a:lnTo>
                    <a:pt x="2233" y="2244"/>
                  </a:lnTo>
                  <a:lnTo>
                    <a:pt x="2241" y="2232"/>
                  </a:lnTo>
                  <a:lnTo>
                    <a:pt x="2247" y="2226"/>
                  </a:lnTo>
                  <a:lnTo>
                    <a:pt x="2241" y="2111"/>
                  </a:lnTo>
                  <a:lnTo>
                    <a:pt x="2222" y="2099"/>
                  </a:lnTo>
                  <a:lnTo>
                    <a:pt x="2203" y="2088"/>
                  </a:lnTo>
                  <a:lnTo>
                    <a:pt x="2186" y="2076"/>
                  </a:lnTo>
                  <a:lnTo>
                    <a:pt x="2169" y="2063"/>
                  </a:lnTo>
                  <a:lnTo>
                    <a:pt x="2161" y="2056"/>
                  </a:lnTo>
                  <a:lnTo>
                    <a:pt x="2154" y="2048"/>
                  </a:lnTo>
                  <a:lnTo>
                    <a:pt x="2147" y="2039"/>
                  </a:lnTo>
                  <a:lnTo>
                    <a:pt x="2142" y="2030"/>
                  </a:lnTo>
                  <a:lnTo>
                    <a:pt x="2138" y="2020"/>
                  </a:lnTo>
                  <a:lnTo>
                    <a:pt x="2135" y="2010"/>
                  </a:lnTo>
                  <a:lnTo>
                    <a:pt x="2133" y="1998"/>
                  </a:lnTo>
                  <a:lnTo>
                    <a:pt x="2133" y="1984"/>
                  </a:lnTo>
                  <a:lnTo>
                    <a:pt x="2133" y="1934"/>
                  </a:lnTo>
                  <a:lnTo>
                    <a:pt x="2133" y="1896"/>
                  </a:lnTo>
                  <a:lnTo>
                    <a:pt x="2133" y="1862"/>
                  </a:lnTo>
                  <a:lnTo>
                    <a:pt x="2133" y="1822"/>
                  </a:lnTo>
                  <a:lnTo>
                    <a:pt x="2133" y="1811"/>
                  </a:lnTo>
                  <a:lnTo>
                    <a:pt x="2131" y="1802"/>
                  </a:lnTo>
                  <a:lnTo>
                    <a:pt x="2130" y="1795"/>
                  </a:lnTo>
                  <a:lnTo>
                    <a:pt x="2129" y="1789"/>
                  </a:lnTo>
                  <a:lnTo>
                    <a:pt x="2126" y="1783"/>
                  </a:lnTo>
                  <a:lnTo>
                    <a:pt x="2123" y="1778"/>
                  </a:lnTo>
                  <a:lnTo>
                    <a:pt x="2121" y="1774"/>
                  </a:lnTo>
                  <a:lnTo>
                    <a:pt x="2117" y="1771"/>
                  </a:lnTo>
                  <a:lnTo>
                    <a:pt x="2099" y="1758"/>
                  </a:lnTo>
                  <a:lnTo>
                    <a:pt x="2078" y="1738"/>
                  </a:lnTo>
                  <a:lnTo>
                    <a:pt x="2073" y="1722"/>
                  </a:lnTo>
                  <a:lnTo>
                    <a:pt x="2066" y="1695"/>
                  </a:lnTo>
                  <a:lnTo>
                    <a:pt x="2059" y="1662"/>
                  </a:lnTo>
                  <a:lnTo>
                    <a:pt x="2053" y="1626"/>
                  </a:lnTo>
                  <a:lnTo>
                    <a:pt x="2046" y="1591"/>
                  </a:lnTo>
                  <a:lnTo>
                    <a:pt x="2041" y="1562"/>
                  </a:lnTo>
                  <a:lnTo>
                    <a:pt x="2038" y="1541"/>
                  </a:lnTo>
                  <a:lnTo>
                    <a:pt x="2037" y="1533"/>
                  </a:lnTo>
                  <a:lnTo>
                    <a:pt x="2037" y="1527"/>
                  </a:lnTo>
                  <a:lnTo>
                    <a:pt x="2038" y="1523"/>
                  </a:lnTo>
                  <a:lnTo>
                    <a:pt x="2039" y="1519"/>
                  </a:lnTo>
                  <a:lnTo>
                    <a:pt x="2042" y="1517"/>
                  </a:lnTo>
                  <a:lnTo>
                    <a:pt x="2049" y="1511"/>
                  </a:lnTo>
                  <a:lnTo>
                    <a:pt x="2057" y="1509"/>
                  </a:lnTo>
                  <a:lnTo>
                    <a:pt x="2074" y="1506"/>
                  </a:lnTo>
                  <a:lnTo>
                    <a:pt x="2090" y="1502"/>
                  </a:lnTo>
                  <a:lnTo>
                    <a:pt x="2099" y="1495"/>
                  </a:lnTo>
                  <a:lnTo>
                    <a:pt x="2107" y="1485"/>
                  </a:lnTo>
                  <a:lnTo>
                    <a:pt x="2114" y="1474"/>
                  </a:lnTo>
                  <a:lnTo>
                    <a:pt x="2121" y="1463"/>
                  </a:lnTo>
                  <a:lnTo>
                    <a:pt x="2126" y="1451"/>
                  </a:lnTo>
                  <a:lnTo>
                    <a:pt x="2129" y="1439"/>
                  </a:lnTo>
                  <a:lnTo>
                    <a:pt x="2131" y="1429"/>
                  </a:lnTo>
                  <a:lnTo>
                    <a:pt x="2133" y="1418"/>
                  </a:lnTo>
                  <a:lnTo>
                    <a:pt x="2138" y="1418"/>
                  </a:lnTo>
                  <a:lnTo>
                    <a:pt x="2133" y="1406"/>
                  </a:lnTo>
                  <a:lnTo>
                    <a:pt x="2130" y="1386"/>
                  </a:lnTo>
                  <a:lnTo>
                    <a:pt x="2126" y="1370"/>
                  </a:lnTo>
                  <a:lnTo>
                    <a:pt x="2137" y="1363"/>
                  </a:lnTo>
                  <a:lnTo>
                    <a:pt x="2143" y="1357"/>
                  </a:lnTo>
                  <a:lnTo>
                    <a:pt x="2149" y="1349"/>
                  </a:lnTo>
                  <a:lnTo>
                    <a:pt x="2153" y="1341"/>
                  </a:lnTo>
                  <a:lnTo>
                    <a:pt x="2155" y="1331"/>
                  </a:lnTo>
                  <a:lnTo>
                    <a:pt x="2157" y="1322"/>
                  </a:lnTo>
                  <a:lnTo>
                    <a:pt x="2157" y="1310"/>
                  </a:lnTo>
                  <a:lnTo>
                    <a:pt x="2157" y="1298"/>
                  </a:lnTo>
                  <a:lnTo>
                    <a:pt x="2155" y="1285"/>
                  </a:lnTo>
                  <a:lnTo>
                    <a:pt x="2154" y="1274"/>
                  </a:lnTo>
                  <a:lnTo>
                    <a:pt x="2151" y="1264"/>
                  </a:lnTo>
                  <a:lnTo>
                    <a:pt x="2147" y="1254"/>
                  </a:lnTo>
                  <a:lnTo>
                    <a:pt x="2143" y="1245"/>
                  </a:lnTo>
                  <a:lnTo>
                    <a:pt x="2138" y="1238"/>
                  </a:lnTo>
                  <a:lnTo>
                    <a:pt x="2133" y="1230"/>
                  </a:lnTo>
                  <a:lnTo>
                    <a:pt x="2126" y="1225"/>
                  </a:lnTo>
                  <a:lnTo>
                    <a:pt x="2114" y="1213"/>
                  </a:lnTo>
                  <a:lnTo>
                    <a:pt x="2101" y="1201"/>
                  </a:lnTo>
                  <a:lnTo>
                    <a:pt x="2089" y="1190"/>
                  </a:lnTo>
                  <a:lnTo>
                    <a:pt x="2078" y="1177"/>
                  </a:lnTo>
                  <a:lnTo>
                    <a:pt x="2073" y="1176"/>
                  </a:lnTo>
                  <a:lnTo>
                    <a:pt x="2069" y="1176"/>
                  </a:lnTo>
                  <a:lnTo>
                    <a:pt x="2065" y="1177"/>
                  </a:lnTo>
                  <a:lnTo>
                    <a:pt x="2061" y="1178"/>
                  </a:lnTo>
                  <a:lnTo>
                    <a:pt x="2057" y="1180"/>
                  </a:lnTo>
                  <a:lnTo>
                    <a:pt x="2050" y="1182"/>
                  </a:lnTo>
                  <a:lnTo>
                    <a:pt x="2042" y="1184"/>
                  </a:lnTo>
                  <a:lnTo>
                    <a:pt x="2030" y="1184"/>
                  </a:lnTo>
                  <a:lnTo>
                    <a:pt x="2018" y="1182"/>
                  </a:lnTo>
                  <a:lnTo>
                    <a:pt x="2006" y="1180"/>
                  </a:lnTo>
                  <a:lnTo>
                    <a:pt x="1993" y="1174"/>
                  </a:lnTo>
                  <a:lnTo>
                    <a:pt x="1978" y="1166"/>
                  </a:lnTo>
                  <a:lnTo>
                    <a:pt x="1965" y="1158"/>
                  </a:lnTo>
                  <a:lnTo>
                    <a:pt x="1950" y="1148"/>
                  </a:lnTo>
                  <a:lnTo>
                    <a:pt x="1937" y="1137"/>
                  </a:lnTo>
                  <a:lnTo>
                    <a:pt x="1923" y="1125"/>
                  </a:lnTo>
                  <a:lnTo>
                    <a:pt x="1910" y="1112"/>
                  </a:lnTo>
                  <a:lnTo>
                    <a:pt x="1899" y="1098"/>
                  </a:lnTo>
                  <a:lnTo>
                    <a:pt x="1889" y="1085"/>
                  </a:lnTo>
                  <a:lnTo>
                    <a:pt x="1879" y="1072"/>
                  </a:lnTo>
                  <a:lnTo>
                    <a:pt x="1871" y="1058"/>
                  </a:lnTo>
                  <a:lnTo>
                    <a:pt x="1866" y="1045"/>
                  </a:lnTo>
                  <a:lnTo>
                    <a:pt x="1862" y="1033"/>
                  </a:lnTo>
                  <a:lnTo>
                    <a:pt x="1862" y="1021"/>
                  </a:lnTo>
                  <a:lnTo>
                    <a:pt x="1862" y="1008"/>
                  </a:lnTo>
                  <a:lnTo>
                    <a:pt x="1863" y="996"/>
                  </a:lnTo>
                  <a:lnTo>
                    <a:pt x="1866" y="984"/>
                  </a:lnTo>
                  <a:lnTo>
                    <a:pt x="1869" y="974"/>
                  </a:lnTo>
                  <a:lnTo>
                    <a:pt x="1873" y="965"/>
                  </a:lnTo>
                  <a:lnTo>
                    <a:pt x="1877" y="956"/>
                  </a:lnTo>
                  <a:lnTo>
                    <a:pt x="1882" y="949"/>
                  </a:lnTo>
                  <a:lnTo>
                    <a:pt x="1887" y="942"/>
                  </a:lnTo>
                  <a:lnTo>
                    <a:pt x="1901" y="930"/>
                  </a:lnTo>
                  <a:lnTo>
                    <a:pt x="1915" y="920"/>
                  </a:lnTo>
                  <a:lnTo>
                    <a:pt x="1930" y="912"/>
                  </a:lnTo>
                  <a:lnTo>
                    <a:pt x="1946" y="902"/>
                  </a:lnTo>
                  <a:lnTo>
                    <a:pt x="1962" y="894"/>
                  </a:lnTo>
                  <a:lnTo>
                    <a:pt x="1977" y="885"/>
                  </a:lnTo>
                  <a:lnTo>
                    <a:pt x="1991" y="876"/>
                  </a:lnTo>
                  <a:lnTo>
                    <a:pt x="2003" y="862"/>
                  </a:lnTo>
                  <a:lnTo>
                    <a:pt x="2010" y="856"/>
                  </a:lnTo>
                  <a:lnTo>
                    <a:pt x="2014" y="848"/>
                  </a:lnTo>
                  <a:lnTo>
                    <a:pt x="2019" y="838"/>
                  </a:lnTo>
                  <a:lnTo>
                    <a:pt x="2023" y="829"/>
                  </a:lnTo>
                  <a:lnTo>
                    <a:pt x="2026" y="818"/>
                  </a:lnTo>
                  <a:lnTo>
                    <a:pt x="2029" y="806"/>
                  </a:lnTo>
                  <a:lnTo>
                    <a:pt x="2030" y="794"/>
                  </a:lnTo>
                  <a:lnTo>
                    <a:pt x="2030" y="780"/>
                  </a:lnTo>
                  <a:lnTo>
                    <a:pt x="2029" y="762"/>
                  </a:lnTo>
                  <a:lnTo>
                    <a:pt x="2026" y="746"/>
                  </a:lnTo>
                  <a:lnTo>
                    <a:pt x="2022" y="732"/>
                  </a:lnTo>
                  <a:lnTo>
                    <a:pt x="2017" y="719"/>
                  </a:lnTo>
                  <a:lnTo>
                    <a:pt x="2010" y="707"/>
                  </a:lnTo>
                  <a:lnTo>
                    <a:pt x="2003" y="695"/>
                  </a:lnTo>
                  <a:lnTo>
                    <a:pt x="1995" y="684"/>
                  </a:lnTo>
                  <a:lnTo>
                    <a:pt x="1987" y="675"/>
                  </a:lnTo>
                  <a:lnTo>
                    <a:pt x="1973" y="655"/>
                  </a:lnTo>
                  <a:lnTo>
                    <a:pt x="1959" y="637"/>
                  </a:lnTo>
                  <a:lnTo>
                    <a:pt x="1954" y="628"/>
                  </a:lnTo>
                  <a:lnTo>
                    <a:pt x="1950" y="619"/>
                  </a:lnTo>
                  <a:lnTo>
                    <a:pt x="1947" y="609"/>
                  </a:lnTo>
                  <a:lnTo>
                    <a:pt x="1946" y="600"/>
                  </a:lnTo>
                  <a:lnTo>
                    <a:pt x="1947" y="589"/>
                  </a:lnTo>
                  <a:lnTo>
                    <a:pt x="1950" y="581"/>
                  </a:lnTo>
                  <a:lnTo>
                    <a:pt x="1954" y="576"/>
                  </a:lnTo>
                  <a:lnTo>
                    <a:pt x="1961" y="571"/>
                  </a:lnTo>
                  <a:lnTo>
                    <a:pt x="1975" y="564"/>
                  </a:lnTo>
                  <a:lnTo>
                    <a:pt x="1993" y="557"/>
                  </a:lnTo>
                  <a:lnTo>
                    <a:pt x="2001" y="553"/>
                  </a:lnTo>
                  <a:lnTo>
                    <a:pt x="2009" y="549"/>
                  </a:lnTo>
                  <a:lnTo>
                    <a:pt x="2015" y="543"/>
                  </a:lnTo>
                  <a:lnTo>
                    <a:pt x="2022" y="535"/>
                  </a:lnTo>
                  <a:lnTo>
                    <a:pt x="2027" y="525"/>
                  </a:lnTo>
                  <a:lnTo>
                    <a:pt x="2030" y="513"/>
                  </a:lnTo>
                  <a:lnTo>
                    <a:pt x="2031" y="497"/>
                  </a:lnTo>
                  <a:lnTo>
                    <a:pt x="2030" y="479"/>
                  </a:lnTo>
                  <a:lnTo>
                    <a:pt x="2027" y="467"/>
                  </a:lnTo>
                  <a:lnTo>
                    <a:pt x="2023" y="456"/>
                  </a:lnTo>
                  <a:lnTo>
                    <a:pt x="2017" y="448"/>
                  </a:lnTo>
                  <a:lnTo>
                    <a:pt x="2010" y="441"/>
                  </a:lnTo>
                  <a:lnTo>
                    <a:pt x="2001" y="436"/>
                  </a:lnTo>
                  <a:lnTo>
                    <a:pt x="1991" y="431"/>
                  </a:lnTo>
                  <a:lnTo>
                    <a:pt x="1981" y="427"/>
                  </a:lnTo>
                  <a:lnTo>
                    <a:pt x="1970" y="423"/>
                  </a:lnTo>
                  <a:lnTo>
                    <a:pt x="1961" y="419"/>
                  </a:lnTo>
                  <a:lnTo>
                    <a:pt x="1950" y="415"/>
                  </a:lnTo>
                  <a:lnTo>
                    <a:pt x="1941" y="411"/>
                  </a:lnTo>
                  <a:lnTo>
                    <a:pt x="1933" y="405"/>
                  </a:lnTo>
                  <a:lnTo>
                    <a:pt x="1926" y="399"/>
                  </a:lnTo>
                  <a:lnTo>
                    <a:pt x="1921" y="392"/>
                  </a:lnTo>
                  <a:lnTo>
                    <a:pt x="1917" y="383"/>
                  </a:lnTo>
                  <a:lnTo>
                    <a:pt x="1915" y="371"/>
                  </a:lnTo>
                  <a:lnTo>
                    <a:pt x="1915" y="359"/>
                  </a:lnTo>
                  <a:lnTo>
                    <a:pt x="1914" y="349"/>
                  </a:lnTo>
                  <a:lnTo>
                    <a:pt x="1914" y="345"/>
                  </a:lnTo>
                  <a:lnTo>
                    <a:pt x="1915" y="340"/>
                  </a:lnTo>
                  <a:lnTo>
                    <a:pt x="1918" y="335"/>
                  </a:lnTo>
                  <a:lnTo>
                    <a:pt x="1922" y="328"/>
                  </a:lnTo>
                  <a:lnTo>
                    <a:pt x="1893" y="333"/>
                  </a:lnTo>
                  <a:lnTo>
                    <a:pt x="1865" y="340"/>
                  </a:lnTo>
                  <a:lnTo>
                    <a:pt x="1853" y="344"/>
                  </a:lnTo>
                  <a:lnTo>
                    <a:pt x="1843" y="349"/>
                  </a:lnTo>
                  <a:lnTo>
                    <a:pt x="1839" y="353"/>
                  </a:lnTo>
                  <a:lnTo>
                    <a:pt x="1835" y="356"/>
                  </a:lnTo>
                  <a:lnTo>
                    <a:pt x="1833" y="360"/>
                  </a:lnTo>
                  <a:lnTo>
                    <a:pt x="1831" y="365"/>
                  </a:lnTo>
                  <a:lnTo>
                    <a:pt x="1849" y="385"/>
                  </a:lnTo>
                  <a:lnTo>
                    <a:pt x="1863" y="403"/>
                  </a:lnTo>
                  <a:lnTo>
                    <a:pt x="1871" y="417"/>
                  </a:lnTo>
                  <a:lnTo>
                    <a:pt x="1877" y="429"/>
                  </a:lnTo>
                  <a:lnTo>
                    <a:pt x="1878" y="435"/>
                  </a:lnTo>
                  <a:lnTo>
                    <a:pt x="1878" y="439"/>
                  </a:lnTo>
                  <a:lnTo>
                    <a:pt x="1878" y="443"/>
                  </a:lnTo>
                  <a:lnTo>
                    <a:pt x="1877" y="445"/>
                  </a:lnTo>
                  <a:lnTo>
                    <a:pt x="1874" y="448"/>
                  </a:lnTo>
                  <a:lnTo>
                    <a:pt x="1871" y="451"/>
                  </a:lnTo>
                  <a:lnTo>
                    <a:pt x="1867" y="452"/>
                  </a:lnTo>
                  <a:lnTo>
                    <a:pt x="1863" y="452"/>
                  </a:lnTo>
                  <a:lnTo>
                    <a:pt x="1853" y="452"/>
                  </a:lnTo>
                  <a:lnTo>
                    <a:pt x="1841" y="448"/>
                  </a:lnTo>
                  <a:lnTo>
                    <a:pt x="1825" y="443"/>
                  </a:lnTo>
                  <a:lnTo>
                    <a:pt x="1809" y="435"/>
                  </a:lnTo>
                  <a:lnTo>
                    <a:pt x="1790" y="424"/>
                  </a:lnTo>
                  <a:lnTo>
                    <a:pt x="1770" y="411"/>
                  </a:lnTo>
                  <a:lnTo>
                    <a:pt x="1750" y="395"/>
                  </a:lnTo>
                  <a:lnTo>
                    <a:pt x="1729" y="377"/>
                  </a:lnTo>
                  <a:lnTo>
                    <a:pt x="1717" y="392"/>
                  </a:lnTo>
                  <a:lnTo>
                    <a:pt x="1703" y="409"/>
                  </a:lnTo>
                  <a:lnTo>
                    <a:pt x="1697" y="420"/>
                  </a:lnTo>
                  <a:lnTo>
                    <a:pt x="1691" y="431"/>
                  </a:lnTo>
                  <a:lnTo>
                    <a:pt x="1687" y="441"/>
                  </a:lnTo>
                  <a:lnTo>
                    <a:pt x="1685" y="453"/>
                  </a:lnTo>
                  <a:lnTo>
                    <a:pt x="1685" y="460"/>
                  </a:lnTo>
                  <a:lnTo>
                    <a:pt x="1686" y="467"/>
                  </a:lnTo>
                  <a:lnTo>
                    <a:pt x="1687" y="473"/>
                  </a:lnTo>
                  <a:lnTo>
                    <a:pt x="1690" y="480"/>
                  </a:lnTo>
                  <a:lnTo>
                    <a:pt x="1694" y="487"/>
                  </a:lnTo>
                  <a:lnTo>
                    <a:pt x="1698" y="495"/>
                  </a:lnTo>
                  <a:lnTo>
                    <a:pt x="1703" y="501"/>
                  </a:lnTo>
                  <a:lnTo>
                    <a:pt x="1710" y="509"/>
                  </a:lnTo>
                  <a:lnTo>
                    <a:pt x="1718" y="516"/>
                  </a:lnTo>
                  <a:lnTo>
                    <a:pt x="1727" y="524"/>
                  </a:lnTo>
                  <a:lnTo>
                    <a:pt x="1738" y="532"/>
                  </a:lnTo>
                  <a:lnTo>
                    <a:pt x="1750" y="541"/>
                  </a:lnTo>
                  <a:lnTo>
                    <a:pt x="1778" y="557"/>
                  </a:lnTo>
                  <a:lnTo>
                    <a:pt x="1813" y="576"/>
                  </a:lnTo>
                  <a:lnTo>
                    <a:pt x="1817" y="581"/>
                  </a:lnTo>
                  <a:lnTo>
                    <a:pt x="1826" y="595"/>
                  </a:lnTo>
                  <a:lnTo>
                    <a:pt x="1839" y="615"/>
                  </a:lnTo>
                  <a:lnTo>
                    <a:pt x="1851" y="640"/>
                  </a:lnTo>
                  <a:lnTo>
                    <a:pt x="1857" y="652"/>
                  </a:lnTo>
                  <a:lnTo>
                    <a:pt x="1862" y="665"/>
                  </a:lnTo>
                  <a:lnTo>
                    <a:pt x="1865" y="677"/>
                  </a:lnTo>
                  <a:lnTo>
                    <a:pt x="1866" y="689"/>
                  </a:lnTo>
                  <a:lnTo>
                    <a:pt x="1866" y="701"/>
                  </a:lnTo>
                  <a:lnTo>
                    <a:pt x="1863" y="711"/>
                  </a:lnTo>
                  <a:lnTo>
                    <a:pt x="1861" y="716"/>
                  </a:lnTo>
                  <a:lnTo>
                    <a:pt x="1858" y="720"/>
                  </a:lnTo>
                  <a:lnTo>
                    <a:pt x="1854" y="723"/>
                  </a:lnTo>
                  <a:lnTo>
                    <a:pt x="1850" y="727"/>
                  </a:lnTo>
                  <a:lnTo>
                    <a:pt x="1843" y="723"/>
                  </a:lnTo>
                  <a:lnTo>
                    <a:pt x="1837" y="717"/>
                  </a:lnTo>
                  <a:lnTo>
                    <a:pt x="1831" y="712"/>
                  </a:lnTo>
                  <a:lnTo>
                    <a:pt x="1827" y="707"/>
                  </a:lnTo>
                  <a:lnTo>
                    <a:pt x="1818" y="693"/>
                  </a:lnTo>
                  <a:lnTo>
                    <a:pt x="1810" y="680"/>
                  </a:lnTo>
                  <a:lnTo>
                    <a:pt x="1802" y="664"/>
                  </a:lnTo>
                  <a:lnTo>
                    <a:pt x="1794" y="649"/>
                  </a:lnTo>
                  <a:lnTo>
                    <a:pt x="1783" y="636"/>
                  </a:lnTo>
                  <a:lnTo>
                    <a:pt x="1771" y="624"/>
                  </a:lnTo>
                  <a:lnTo>
                    <a:pt x="1755" y="623"/>
                  </a:lnTo>
                  <a:lnTo>
                    <a:pt x="1741" y="620"/>
                  </a:lnTo>
                  <a:lnTo>
                    <a:pt x="1726" y="616"/>
                  </a:lnTo>
                  <a:lnTo>
                    <a:pt x="1713" y="611"/>
                  </a:lnTo>
                  <a:lnTo>
                    <a:pt x="1699" y="605"/>
                  </a:lnTo>
                  <a:lnTo>
                    <a:pt x="1687" y="597"/>
                  </a:lnTo>
                  <a:lnTo>
                    <a:pt x="1677" y="589"/>
                  </a:lnTo>
                  <a:lnTo>
                    <a:pt x="1666" y="581"/>
                  </a:lnTo>
                  <a:lnTo>
                    <a:pt x="1657" y="572"/>
                  </a:lnTo>
                  <a:lnTo>
                    <a:pt x="1649" y="563"/>
                  </a:lnTo>
                  <a:lnTo>
                    <a:pt x="1641" y="553"/>
                  </a:lnTo>
                  <a:lnTo>
                    <a:pt x="1634" y="545"/>
                  </a:lnTo>
                  <a:lnTo>
                    <a:pt x="1630" y="536"/>
                  </a:lnTo>
                  <a:lnTo>
                    <a:pt x="1625" y="528"/>
                  </a:lnTo>
                  <a:lnTo>
                    <a:pt x="1622" y="521"/>
                  </a:lnTo>
                  <a:lnTo>
                    <a:pt x="1621" y="515"/>
                  </a:lnTo>
                  <a:lnTo>
                    <a:pt x="1619" y="499"/>
                  </a:lnTo>
                  <a:lnTo>
                    <a:pt x="1621" y="483"/>
                  </a:lnTo>
                  <a:lnTo>
                    <a:pt x="1622" y="468"/>
                  </a:lnTo>
                  <a:lnTo>
                    <a:pt x="1625" y="453"/>
                  </a:lnTo>
                  <a:lnTo>
                    <a:pt x="1629" y="440"/>
                  </a:lnTo>
                  <a:lnTo>
                    <a:pt x="1633" y="427"/>
                  </a:lnTo>
                  <a:lnTo>
                    <a:pt x="1638" y="413"/>
                  </a:lnTo>
                  <a:lnTo>
                    <a:pt x="1643" y="400"/>
                  </a:lnTo>
                  <a:lnTo>
                    <a:pt x="1655" y="375"/>
                  </a:lnTo>
                  <a:lnTo>
                    <a:pt x="1667" y="351"/>
                  </a:lnTo>
                  <a:lnTo>
                    <a:pt x="1681" y="325"/>
                  </a:lnTo>
                  <a:lnTo>
                    <a:pt x="1693" y="299"/>
                  </a:lnTo>
                  <a:lnTo>
                    <a:pt x="1695" y="285"/>
                  </a:lnTo>
                  <a:lnTo>
                    <a:pt x="1699" y="248"/>
                  </a:lnTo>
                  <a:lnTo>
                    <a:pt x="1701" y="223"/>
                  </a:lnTo>
                  <a:lnTo>
                    <a:pt x="1701" y="195"/>
                  </a:lnTo>
                  <a:lnTo>
                    <a:pt x="1698" y="163"/>
                  </a:lnTo>
                  <a:lnTo>
                    <a:pt x="1693" y="130"/>
                  </a:lnTo>
                  <a:lnTo>
                    <a:pt x="1686" y="124"/>
                  </a:lnTo>
                  <a:lnTo>
                    <a:pt x="1679" y="122"/>
                  </a:lnTo>
                  <a:lnTo>
                    <a:pt x="1674" y="120"/>
                  </a:lnTo>
                  <a:lnTo>
                    <a:pt x="1669" y="120"/>
                  </a:lnTo>
                  <a:lnTo>
                    <a:pt x="1663" y="123"/>
                  </a:lnTo>
                  <a:lnTo>
                    <a:pt x="1659" y="127"/>
                  </a:lnTo>
                  <a:lnTo>
                    <a:pt x="1657" y="131"/>
                  </a:lnTo>
                  <a:lnTo>
                    <a:pt x="1653" y="138"/>
                  </a:lnTo>
                  <a:lnTo>
                    <a:pt x="1647" y="153"/>
                  </a:lnTo>
                  <a:lnTo>
                    <a:pt x="1643" y="172"/>
                  </a:lnTo>
                  <a:lnTo>
                    <a:pt x="1639" y="195"/>
                  </a:lnTo>
                  <a:lnTo>
                    <a:pt x="1637" y="217"/>
                  </a:lnTo>
                  <a:lnTo>
                    <a:pt x="1634" y="243"/>
                  </a:lnTo>
                  <a:lnTo>
                    <a:pt x="1631" y="265"/>
                  </a:lnTo>
                  <a:lnTo>
                    <a:pt x="1627" y="288"/>
                  </a:lnTo>
                  <a:lnTo>
                    <a:pt x="1623" y="308"/>
                  </a:lnTo>
                  <a:lnTo>
                    <a:pt x="1621" y="317"/>
                  </a:lnTo>
                  <a:lnTo>
                    <a:pt x="1618" y="325"/>
                  </a:lnTo>
                  <a:lnTo>
                    <a:pt x="1614" y="332"/>
                  </a:lnTo>
                  <a:lnTo>
                    <a:pt x="1610" y="339"/>
                  </a:lnTo>
                  <a:lnTo>
                    <a:pt x="1606" y="343"/>
                  </a:lnTo>
                  <a:lnTo>
                    <a:pt x="1602" y="345"/>
                  </a:lnTo>
                  <a:lnTo>
                    <a:pt x="1597" y="347"/>
                  </a:lnTo>
                  <a:lnTo>
                    <a:pt x="1590" y="347"/>
                  </a:lnTo>
                  <a:lnTo>
                    <a:pt x="1566" y="352"/>
                  </a:lnTo>
                  <a:lnTo>
                    <a:pt x="1545" y="359"/>
                  </a:lnTo>
                  <a:lnTo>
                    <a:pt x="1526" y="365"/>
                  </a:lnTo>
                  <a:lnTo>
                    <a:pt x="1510" y="372"/>
                  </a:lnTo>
                  <a:lnTo>
                    <a:pt x="1497" y="380"/>
                  </a:lnTo>
                  <a:lnTo>
                    <a:pt x="1485" y="388"/>
                  </a:lnTo>
                  <a:lnTo>
                    <a:pt x="1476" y="396"/>
                  </a:lnTo>
                  <a:lnTo>
                    <a:pt x="1468" y="404"/>
                  </a:lnTo>
                  <a:lnTo>
                    <a:pt x="1461" y="413"/>
                  </a:lnTo>
                  <a:lnTo>
                    <a:pt x="1457" y="423"/>
                  </a:lnTo>
                  <a:lnTo>
                    <a:pt x="1453" y="432"/>
                  </a:lnTo>
                  <a:lnTo>
                    <a:pt x="1449" y="443"/>
                  </a:lnTo>
                  <a:lnTo>
                    <a:pt x="1444" y="463"/>
                  </a:lnTo>
                  <a:lnTo>
                    <a:pt x="1440" y="485"/>
                  </a:lnTo>
                  <a:lnTo>
                    <a:pt x="1437" y="505"/>
                  </a:lnTo>
                  <a:lnTo>
                    <a:pt x="1437" y="525"/>
                  </a:lnTo>
                  <a:lnTo>
                    <a:pt x="1438" y="548"/>
                  </a:lnTo>
                  <a:lnTo>
                    <a:pt x="1441" y="569"/>
                  </a:lnTo>
                  <a:lnTo>
                    <a:pt x="1450" y="615"/>
                  </a:lnTo>
                  <a:lnTo>
                    <a:pt x="1460" y="657"/>
                  </a:lnTo>
                  <a:lnTo>
                    <a:pt x="1464" y="679"/>
                  </a:lnTo>
                  <a:lnTo>
                    <a:pt x="1466" y="699"/>
                  </a:lnTo>
                  <a:lnTo>
                    <a:pt x="1468" y="716"/>
                  </a:lnTo>
                  <a:lnTo>
                    <a:pt x="1468" y="733"/>
                  </a:lnTo>
                  <a:lnTo>
                    <a:pt x="1466" y="741"/>
                  </a:lnTo>
                  <a:lnTo>
                    <a:pt x="1464" y="748"/>
                  </a:lnTo>
                  <a:lnTo>
                    <a:pt x="1461" y="754"/>
                  </a:lnTo>
                  <a:lnTo>
                    <a:pt x="1457" y="761"/>
                  </a:lnTo>
                  <a:lnTo>
                    <a:pt x="1453" y="766"/>
                  </a:lnTo>
                  <a:lnTo>
                    <a:pt x="1448" y="772"/>
                  </a:lnTo>
                  <a:lnTo>
                    <a:pt x="1441" y="777"/>
                  </a:lnTo>
                  <a:lnTo>
                    <a:pt x="1434" y="780"/>
                  </a:lnTo>
                  <a:lnTo>
                    <a:pt x="1422" y="810"/>
                  </a:lnTo>
                  <a:lnTo>
                    <a:pt x="1412" y="840"/>
                  </a:lnTo>
                  <a:lnTo>
                    <a:pt x="1402" y="868"/>
                  </a:lnTo>
                  <a:lnTo>
                    <a:pt x="1393" y="894"/>
                  </a:lnTo>
                  <a:lnTo>
                    <a:pt x="1385" y="920"/>
                  </a:lnTo>
                  <a:lnTo>
                    <a:pt x="1378" y="945"/>
                  </a:lnTo>
                  <a:lnTo>
                    <a:pt x="1376" y="968"/>
                  </a:lnTo>
                  <a:lnTo>
                    <a:pt x="1374" y="990"/>
                  </a:lnTo>
                  <a:lnTo>
                    <a:pt x="1373" y="1029"/>
                  </a:lnTo>
                  <a:lnTo>
                    <a:pt x="1373" y="1060"/>
                  </a:lnTo>
                  <a:lnTo>
                    <a:pt x="1374" y="1073"/>
                  </a:lnTo>
                  <a:lnTo>
                    <a:pt x="1377" y="1085"/>
                  </a:lnTo>
                  <a:lnTo>
                    <a:pt x="1381" y="1096"/>
                  </a:lnTo>
                  <a:lnTo>
                    <a:pt x="1386" y="1104"/>
                  </a:lnTo>
                  <a:lnTo>
                    <a:pt x="1390" y="1106"/>
                  </a:lnTo>
                  <a:lnTo>
                    <a:pt x="1394" y="1109"/>
                  </a:lnTo>
                  <a:lnTo>
                    <a:pt x="1400" y="1112"/>
                  </a:lnTo>
                  <a:lnTo>
                    <a:pt x="1406" y="1113"/>
                  </a:lnTo>
                  <a:lnTo>
                    <a:pt x="1420" y="1116"/>
                  </a:lnTo>
                  <a:lnTo>
                    <a:pt x="1437" y="1116"/>
                  </a:lnTo>
                  <a:lnTo>
                    <a:pt x="1458" y="1113"/>
                  </a:lnTo>
                  <a:lnTo>
                    <a:pt x="1484" y="1109"/>
                  </a:lnTo>
                  <a:lnTo>
                    <a:pt x="1514" y="1102"/>
                  </a:lnTo>
                  <a:lnTo>
                    <a:pt x="1549" y="1093"/>
                  </a:lnTo>
                  <a:lnTo>
                    <a:pt x="1564" y="1097"/>
                  </a:lnTo>
                  <a:lnTo>
                    <a:pt x="1578" y="1104"/>
                  </a:lnTo>
                  <a:lnTo>
                    <a:pt x="1591" y="1110"/>
                  </a:lnTo>
                  <a:lnTo>
                    <a:pt x="1603" y="1118"/>
                  </a:lnTo>
                  <a:lnTo>
                    <a:pt x="1615" y="1128"/>
                  </a:lnTo>
                  <a:lnTo>
                    <a:pt x="1626" y="1140"/>
                  </a:lnTo>
                  <a:lnTo>
                    <a:pt x="1637" y="1152"/>
                  </a:lnTo>
                  <a:lnTo>
                    <a:pt x="1645" y="1164"/>
                  </a:lnTo>
                  <a:lnTo>
                    <a:pt x="1654" y="1178"/>
                  </a:lnTo>
                  <a:lnTo>
                    <a:pt x="1661" y="1193"/>
                  </a:lnTo>
                  <a:lnTo>
                    <a:pt x="1669" y="1209"/>
                  </a:lnTo>
                  <a:lnTo>
                    <a:pt x="1674" y="1225"/>
                  </a:lnTo>
                  <a:lnTo>
                    <a:pt x="1679" y="1242"/>
                  </a:lnTo>
                  <a:lnTo>
                    <a:pt x="1685" y="1261"/>
                  </a:lnTo>
                  <a:lnTo>
                    <a:pt x="1689" y="1280"/>
                  </a:lnTo>
                  <a:lnTo>
                    <a:pt x="1693" y="1298"/>
                  </a:lnTo>
                  <a:lnTo>
                    <a:pt x="1695" y="1315"/>
                  </a:lnTo>
                  <a:lnTo>
                    <a:pt x="1695" y="1330"/>
                  </a:lnTo>
                  <a:lnTo>
                    <a:pt x="1693" y="1343"/>
                  </a:lnTo>
                  <a:lnTo>
                    <a:pt x="1690" y="1354"/>
                  </a:lnTo>
                  <a:lnTo>
                    <a:pt x="1685" y="1362"/>
                  </a:lnTo>
                  <a:lnTo>
                    <a:pt x="1679" y="1369"/>
                  </a:lnTo>
                  <a:lnTo>
                    <a:pt x="1673" y="1375"/>
                  </a:lnTo>
                  <a:lnTo>
                    <a:pt x="1665" y="1381"/>
                  </a:lnTo>
                  <a:lnTo>
                    <a:pt x="1649" y="1390"/>
                  </a:lnTo>
                  <a:lnTo>
                    <a:pt x="1634" y="1401"/>
                  </a:lnTo>
                  <a:lnTo>
                    <a:pt x="1627" y="1407"/>
                  </a:lnTo>
                  <a:lnTo>
                    <a:pt x="1622" y="1415"/>
                  </a:lnTo>
                  <a:lnTo>
                    <a:pt x="1618" y="1425"/>
                  </a:lnTo>
                  <a:lnTo>
                    <a:pt x="1614" y="1437"/>
                  </a:lnTo>
                  <a:lnTo>
                    <a:pt x="1614" y="1443"/>
                  </a:lnTo>
                  <a:lnTo>
                    <a:pt x="1615" y="1450"/>
                  </a:lnTo>
                  <a:lnTo>
                    <a:pt x="1617" y="1458"/>
                  </a:lnTo>
                  <a:lnTo>
                    <a:pt x="1618" y="1465"/>
                  </a:lnTo>
                  <a:lnTo>
                    <a:pt x="1625" y="1477"/>
                  </a:lnTo>
                  <a:lnTo>
                    <a:pt x="1633" y="1489"/>
                  </a:lnTo>
                  <a:lnTo>
                    <a:pt x="1642" y="1499"/>
                  </a:lnTo>
                  <a:lnTo>
                    <a:pt x="1654" y="1510"/>
                  </a:lnTo>
                  <a:lnTo>
                    <a:pt x="1665" y="1519"/>
                  </a:lnTo>
                  <a:lnTo>
                    <a:pt x="1678" y="1529"/>
                  </a:lnTo>
                  <a:lnTo>
                    <a:pt x="1702" y="1543"/>
                  </a:lnTo>
                  <a:lnTo>
                    <a:pt x="1723" y="1557"/>
                  </a:lnTo>
                  <a:lnTo>
                    <a:pt x="1731" y="1562"/>
                  </a:lnTo>
                  <a:lnTo>
                    <a:pt x="1737" y="1567"/>
                  </a:lnTo>
                  <a:lnTo>
                    <a:pt x="1741" y="1571"/>
                  </a:lnTo>
                  <a:lnTo>
                    <a:pt x="1741" y="1575"/>
                  </a:lnTo>
                  <a:lnTo>
                    <a:pt x="1727" y="1575"/>
                  </a:lnTo>
                  <a:lnTo>
                    <a:pt x="1714" y="1575"/>
                  </a:lnTo>
                  <a:lnTo>
                    <a:pt x="1701" y="1573"/>
                  </a:lnTo>
                  <a:lnTo>
                    <a:pt x="1687" y="1570"/>
                  </a:lnTo>
                  <a:lnTo>
                    <a:pt x="1674" y="1566"/>
                  </a:lnTo>
                  <a:lnTo>
                    <a:pt x="1662" y="1562"/>
                  </a:lnTo>
                  <a:lnTo>
                    <a:pt x="1650" y="1555"/>
                  </a:lnTo>
                  <a:lnTo>
                    <a:pt x="1638" y="1549"/>
                  </a:lnTo>
                  <a:lnTo>
                    <a:pt x="1629" y="1542"/>
                  </a:lnTo>
                  <a:lnTo>
                    <a:pt x="1619" y="1534"/>
                  </a:lnTo>
                  <a:lnTo>
                    <a:pt x="1611" y="1526"/>
                  </a:lnTo>
                  <a:lnTo>
                    <a:pt x="1603" y="1517"/>
                  </a:lnTo>
                  <a:lnTo>
                    <a:pt x="1598" y="1509"/>
                  </a:lnTo>
                  <a:lnTo>
                    <a:pt x="1594" y="1498"/>
                  </a:lnTo>
                  <a:lnTo>
                    <a:pt x="1591" y="1489"/>
                  </a:lnTo>
                  <a:lnTo>
                    <a:pt x="1590" y="1478"/>
                  </a:lnTo>
                  <a:lnTo>
                    <a:pt x="1591" y="1459"/>
                  </a:lnTo>
                  <a:lnTo>
                    <a:pt x="1594" y="1439"/>
                  </a:lnTo>
                  <a:lnTo>
                    <a:pt x="1598" y="1419"/>
                  </a:lnTo>
                  <a:lnTo>
                    <a:pt x="1603" y="1399"/>
                  </a:lnTo>
                  <a:lnTo>
                    <a:pt x="1621" y="1354"/>
                  </a:lnTo>
                  <a:lnTo>
                    <a:pt x="1645" y="1298"/>
                  </a:lnTo>
                  <a:lnTo>
                    <a:pt x="1634" y="1289"/>
                  </a:lnTo>
                  <a:lnTo>
                    <a:pt x="1625" y="1277"/>
                  </a:lnTo>
                  <a:lnTo>
                    <a:pt x="1618" y="1265"/>
                  </a:lnTo>
                  <a:lnTo>
                    <a:pt x="1610" y="1253"/>
                  </a:lnTo>
                  <a:lnTo>
                    <a:pt x="1598" y="1226"/>
                  </a:lnTo>
                  <a:lnTo>
                    <a:pt x="1585" y="1201"/>
                  </a:lnTo>
                  <a:lnTo>
                    <a:pt x="1577" y="1189"/>
                  </a:lnTo>
                  <a:lnTo>
                    <a:pt x="1568" y="1178"/>
                  </a:lnTo>
                  <a:lnTo>
                    <a:pt x="1557" y="1169"/>
                  </a:lnTo>
                  <a:lnTo>
                    <a:pt x="1545" y="1162"/>
                  </a:lnTo>
                  <a:lnTo>
                    <a:pt x="1538" y="1158"/>
                  </a:lnTo>
                  <a:lnTo>
                    <a:pt x="1530" y="1156"/>
                  </a:lnTo>
                  <a:lnTo>
                    <a:pt x="1522" y="1154"/>
                  </a:lnTo>
                  <a:lnTo>
                    <a:pt x="1513" y="1153"/>
                  </a:lnTo>
                  <a:lnTo>
                    <a:pt x="1504" y="1152"/>
                  </a:lnTo>
                  <a:lnTo>
                    <a:pt x="1493" y="1152"/>
                  </a:lnTo>
                  <a:lnTo>
                    <a:pt x="1482" y="1152"/>
                  </a:lnTo>
                  <a:lnTo>
                    <a:pt x="1470" y="1153"/>
                  </a:lnTo>
                  <a:lnTo>
                    <a:pt x="1450" y="1157"/>
                  </a:lnTo>
                  <a:lnTo>
                    <a:pt x="1434" y="1161"/>
                  </a:lnTo>
                  <a:lnTo>
                    <a:pt x="1418" y="1166"/>
                  </a:lnTo>
                  <a:lnTo>
                    <a:pt x="1406" y="1174"/>
                  </a:lnTo>
                  <a:lnTo>
                    <a:pt x="1401" y="1178"/>
                  </a:lnTo>
                  <a:lnTo>
                    <a:pt x="1396" y="1184"/>
                  </a:lnTo>
                  <a:lnTo>
                    <a:pt x="1390" y="1189"/>
                  </a:lnTo>
                  <a:lnTo>
                    <a:pt x="1386" y="1196"/>
                  </a:lnTo>
                  <a:lnTo>
                    <a:pt x="1378" y="1209"/>
                  </a:lnTo>
                  <a:lnTo>
                    <a:pt x="1373" y="1225"/>
                  </a:lnTo>
                  <a:lnTo>
                    <a:pt x="1369" y="1244"/>
                  </a:lnTo>
                  <a:lnTo>
                    <a:pt x="1366" y="1265"/>
                  </a:lnTo>
                  <a:lnTo>
                    <a:pt x="1365" y="1289"/>
                  </a:lnTo>
                  <a:lnTo>
                    <a:pt x="1366" y="1315"/>
                  </a:lnTo>
                  <a:lnTo>
                    <a:pt x="1368" y="1345"/>
                  </a:lnTo>
                  <a:lnTo>
                    <a:pt x="1370" y="1378"/>
                  </a:lnTo>
                  <a:lnTo>
                    <a:pt x="1374" y="1414"/>
                  </a:lnTo>
                  <a:lnTo>
                    <a:pt x="1380" y="1454"/>
                  </a:lnTo>
                  <a:lnTo>
                    <a:pt x="1341" y="1474"/>
                  </a:lnTo>
                  <a:lnTo>
                    <a:pt x="1314" y="1490"/>
                  </a:lnTo>
                  <a:lnTo>
                    <a:pt x="1305" y="1497"/>
                  </a:lnTo>
                  <a:lnTo>
                    <a:pt x="1297" y="1503"/>
                  </a:lnTo>
                  <a:lnTo>
                    <a:pt x="1290" y="1509"/>
                  </a:lnTo>
                  <a:lnTo>
                    <a:pt x="1286" y="1515"/>
                  </a:lnTo>
                  <a:lnTo>
                    <a:pt x="1274" y="1539"/>
                  </a:lnTo>
                  <a:lnTo>
                    <a:pt x="1260" y="1575"/>
                  </a:lnTo>
                  <a:lnTo>
                    <a:pt x="1250" y="1589"/>
                  </a:lnTo>
                  <a:lnTo>
                    <a:pt x="1242" y="1601"/>
                  </a:lnTo>
                  <a:lnTo>
                    <a:pt x="1234" y="1613"/>
                  </a:lnTo>
                  <a:lnTo>
                    <a:pt x="1225" y="1622"/>
                  </a:lnTo>
                  <a:lnTo>
                    <a:pt x="1217" y="1630"/>
                  </a:lnTo>
                  <a:lnTo>
                    <a:pt x="1208" y="1638"/>
                  </a:lnTo>
                  <a:lnTo>
                    <a:pt x="1200" y="1643"/>
                  </a:lnTo>
                  <a:lnTo>
                    <a:pt x="1192" y="1649"/>
                  </a:lnTo>
                  <a:lnTo>
                    <a:pt x="1174" y="1657"/>
                  </a:lnTo>
                  <a:lnTo>
                    <a:pt x="1158" y="1662"/>
                  </a:lnTo>
                  <a:lnTo>
                    <a:pt x="1142" y="1666"/>
                  </a:lnTo>
                  <a:lnTo>
                    <a:pt x="1128" y="1669"/>
                  </a:lnTo>
                  <a:lnTo>
                    <a:pt x="1113" y="1671"/>
                  </a:lnTo>
                  <a:lnTo>
                    <a:pt x="1100" y="1675"/>
                  </a:lnTo>
                  <a:lnTo>
                    <a:pt x="1086" y="1679"/>
                  </a:lnTo>
                  <a:lnTo>
                    <a:pt x="1074" y="1686"/>
                  </a:lnTo>
                  <a:lnTo>
                    <a:pt x="1068" y="1690"/>
                  </a:lnTo>
                  <a:lnTo>
                    <a:pt x="1062" y="1695"/>
                  </a:lnTo>
                  <a:lnTo>
                    <a:pt x="1057" y="1702"/>
                  </a:lnTo>
                  <a:lnTo>
                    <a:pt x="1053" y="1709"/>
                  </a:lnTo>
                  <a:lnTo>
                    <a:pt x="1048" y="1717"/>
                  </a:lnTo>
                  <a:lnTo>
                    <a:pt x="1044" y="1726"/>
                  </a:lnTo>
                  <a:lnTo>
                    <a:pt x="1040" y="1738"/>
                  </a:lnTo>
                  <a:lnTo>
                    <a:pt x="1037" y="1750"/>
                  </a:lnTo>
                  <a:lnTo>
                    <a:pt x="1020" y="1733"/>
                  </a:lnTo>
                  <a:lnTo>
                    <a:pt x="1001" y="1719"/>
                  </a:lnTo>
                  <a:lnTo>
                    <a:pt x="982" y="1709"/>
                  </a:lnTo>
                  <a:lnTo>
                    <a:pt x="965" y="1701"/>
                  </a:lnTo>
                  <a:lnTo>
                    <a:pt x="946" y="1693"/>
                  </a:lnTo>
                  <a:lnTo>
                    <a:pt x="928" y="1687"/>
                  </a:lnTo>
                  <a:lnTo>
                    <a:pt x="910" y="1683"/>
                  </a:lnTo>
                  <a:lnTo>
                    <a:pt x="894" y="1679"/>
                  </a:lnTo>
                  <a:lnTo>
                    <a:pt x="878" y="1675"/>
                  </a:lnTo>
                  <a:lnTo>
                    <a:pt x="865" y="1671"/>
                  </a:lnTo>
                  <a:lnTo>
                    <a:pt x="852" y="1666"/>
                  </a:lnTo>
                  <a:lnTo>
                    <a:pt x="841" y="1659"/>
                  </a:lnTo>
                  <a:lnTo>
                    <a:pt x="836" y="1657"/>
                  </a:lnTo>
                  <a:lnTo>
                    <a:pt x="832" y="1653"/>
                  </a:lnTo>
                  <a:lnTo>
                    <a:pt x="828" y="1647"/>
                  </a:lnTo>
                  <a:lnTo>
                    <a:pt x="825" y="1643"/>
                  </a:lnTo>
                  <a:lnTo>
                    <a:pt x="822" y="1638"/>
                  </a:lnTo>
                  <a:lnTo>
                    <a:pt x="821" y="1631"/>
                  </a:lnTo>
                  <a:lnTo>
                    <a:pt x="820" y="1625"/>
                  </a:lnTo>
                  <a:lnTo>
                    <a:pt x="820" y="1617"/>
                  </a:lnTo>
                  <a:lnTo>
                    <a:pt x="818" y="1609"/>
                  </a:lnTo>
                  <a:lnTo>
                    <a:pt x="816" y="1601"/>
                  </a:lnTo>
                  <a:lnTo>
                    <a:pt x="810" y="1593"/>
                  </a:lnTo>
                  <a:lnTo>
                    <a:pt x="805" y="1585"/>
                  </a:lnTo>
                  <a:lnTo>
                    <a:pt x="792" y="1570"/>
                  </a:lnTo>
                  <a:lnTo>
                    <a:pt x="781" y="1557"/>
                  </a:lnTo>
                  <a:lnTo>
                    <a:pt x="779" y="1551"/>
                  </a:lnTo>
                  <a:lnTo>
                    <a:pt x="777" y="1546"/>
                  </a:lnTo>
                  <a:lnTo>
                    <a:pt x="777" y="1543"/>
                  </a:lnTo>
                  <a:lnTo>
                    <a:pt x="777" y="1541"/>
                  </a:lnTo>
                  <a:lnTo>
                    <a:pt x="780" y="1539"/>
                  </a:lnTo>
                  <a:lnTo>
                    <a:pt x="781" y="1538"/>
                  </a:lnTo>
                  <a:lnTo>
                    <a:pt x="789" y="1535"/>
                  </a:lnTo>
                  <a:lnTo>
                    <a:pt x="801" y="1533"/>
                  </a:lnTo>
                  <a:lnTo>
                    <a:pt x="817" y="1533"/>
                  </a:lnTo>
                  <a:lnTo>
                    <a:pt x="837" y="1533"/>
                  </a:lnTo>
                  <a:lnTo>
                    <a:pt x="844" y="1534"/>
                  </a:lnTo>
                  <a:lnTo>
                    <a:pt x="850" y="1535"/>
                  </a:lnTo>
                  <a:lnTo>
                    <a:pt x="856" y="1538"/>
                  </a:lnTo>
                  <a:lnTo>
                    <a:pt x="860" y="1541"/>
                  </a:lnTo>
                  <a:lnTo>
                    <a:pt x="868" y="1547"/>
                  </a:lnTo>
                  <a:lnTo>
                    <a:pt x="874" y="1557"/>
                  </a:lnTo>
                  <a:lnTo>
                    <a:pt x="885" y="1579"/>
                  </a:lnTo>
                  <a:lnTo>
                    <a:pt x="893" y="1605"/>
                  </a:lnTo>
                  <a:lnTo>
                    <a:pt x="898" y="1617"/>
                  </a:lnTo>
                  <a:lnTo>
                    <a:pt x="904" y="1629"/>
                  </a:lnTo>
                  <a:lnTo>
                    <a:pt x="910" y="1641"/>
                  </a:lnTo>
                  <a:lnTo>
                    <a:pt x="918" y="1650"/>
                  </a:lnTo>
                  <a:lnTo>
                    <a:pt x="924" y="1655"/>
                  </a:lnTo>
                  <a:lnTo>
                    <a:pt x="929" y="1659"/>
                  </a:lnTo>
                  <a:lnTo>
                    <a:pt x="936" y="1662"/>
                  </a:lnTo>
                  <a:lnTo>
                    <a:pt x="942" y="1666"/>
                  </a:lnTo>
                  <a:lnTo>
                    <a:pt x="949" y="1669"/>
                  </a:lnTo>
                  <a:lnTo>
                    <a:pt x="957" y="1670"/>
                  </a:lnTo>
                  <a:lnTo>
                    <a:pt x="966" y="1671"/>
                  </a:lnTo>
                  <a:lnTo>
                    <a:pt x="976" y="1671"/>
                  </a:lnTo>
                  <a:lnTo>
                    <a:pt x="984" y="1670"/>
                  </a:lnTo>
                  <a:lnTo>
                    <a:pt x="992" y="1669"/>
                  </a:lnTo>
                  <a:lnTo>
                    <a:pt x="998" y="1665"/>
                  </a:lnTo>
                  <a:lnTo>
                    <a:pt x="1006" y="1661"/>
                  </a:lnTo>
                  <a:lnTo>
                    <a:pt x="1020" y="1650"/>
                  </a:lnTo>
                  <a:lnTo>
                    <a:pt x="1033" y="1637"/>
                  </a:lnTo>
                  <a:lnTo>
                    <a:pt x="1046" y="1619"/>
                  </a:lnTo>
                  <a:lnTo>
                    <a:pt x="1060" y="1601"/>
                  </a:lnTo>
                  <a:lnTo>
                    <a:pt x="1074" y="1581"/>
                  </a:lnTo>
                  <a:lnTo>
                    <a:pt x="1088" y="1558"/>
                  </a:lnTo>
                  <a:lnTo>
                    <a:pt x="1102" y="1535"/>
                  </a:lnTo>
                  <a:lnTo>
                    <a:pt x="1117" y="1511"/>
                  </a:lnTo>
                  <a:lnTo>
                    <a:pt x="1133" y="1489"/>
                  </a:lnTo>
                  <a:lnTo>
                    <a:pt x="1150" y="1465"/>
                  </a:lnTo>
                  <a:lnTo>
                    <a:pt x="1169" y="1442"/>
                  </a:lnTo>
                  <a:lnTo>
                    <a:pt x="1189" y="1421"/>
                  </a:lnTo>
                  <a:lnTo>
                    <a:pt x="1200" y="1410"/>
                  </a:lnTo>
                  <a:lnTo>
                    <a:pt x="1212" y="1401"/>
                  </a:lnTo>
                  <a:lnTo>
                    <a:pt x="1224" y="1391"/>
                  </a:lnTo>
                  <a:lnTo>
                    <a:pt x="1236" y="1382"/>
                  </a:lnTo>
                  <a:lnTo>
                    <a:pt x="1238" y="1366"/>
                  </a:lnTo>
                  <a:lnTo>
                    <a:pt x="1242" y="1351"/>
                  </a:lnTo>
                  <a:lnTo>
                    <a:pt x="1246" y="1339"/>
                  </a:lnTo>
                  <a:lnTo>
                    <a:pt x="1250" y="1329"/>
                  </a:lnTo>
                  <a:lnTo>
                    <a:pt x="1256" y="1319"/>
                  </a:lnTo>
                  <a:lnTo>
                    <a:pt x="1261" y="1311"/>
                  </a:lnTo>
                  <a:lnTo>
                    <a:pt x="1266" y="1305"/>
                  </a:lnTo>
                  <a:lnTo>
                    <a:pt x="1272" y="1301"/>
                  </a:lnTo>
                  <a:lnTo>
                    <a:pt x="1282" y="1293"/>
                  </a:lnTo>
                  <a:lnTo>
                    <a:pt x="1293" y="1288"/>
                  </a:lnTo>
                  <a:lnTo>
                    <a:pt x="1302" y="1285"/>
                  </a:lnTo>
                  <a:lnTo>
                    <a:pt x="1312" y="1281"/>
                  </a:lnTo>
                  <a:lnTo>
                    <a:pt x="1314" y="1280"/>
                  </a:lnTo>
                  <a:lnTo>
                    <a:pt x="1318" y="1277"/>
                  </a:lnTo>
                  <a:lnTo>
                    <a:pt x="1320" y="1274"/>
                  </a:lnTo>
                  <a:lnTo>
                    <a:pt x="1322" y="1272"/>
                  </a:lnTo>
                  <a:lnTo>
                    <a:pt x="1322" y="1266"/>
                  </a:lnTo>
                  <a:lnTo>
                    <a:pt x="1324" y="1261"/>
                  </a:lnTo>
                  <a:lnTo>
                    <a:pt x="1322" y="1254"/>
                  </a:lnTo>
                  <a:lnTo>
                    <a:pt x="1321" y="1246"/>
                  </a:lnTo>
                  <a:lnTo>
                    <a:pt x="1314" y="1226"/>
                  </a:lnTo>
                  <a:lnTo>
                    <a:pt x="1304" y="1198"/>
                  </a:lnTo>
                  <a:lnTo>
                    <a:pt x="1288" y="1164"/>
                  </a:lnTo>
                  <a:lnTo>
                    <a:pt x="1265" y="1117"/>
                  </a:lnTo>
                  <a:lnTo>
                    <a:pt x="1260" y="1106"/>
                  </a:lnTo>
                  <a:lnTo>
                    <a:pt x="1256" y="1094"/>
                  </a:lnTo>
                  <a:lnTo>
                    <a:pt x="1253" y="1082"/>
                  </a:lnTo>
                  <a:lnTo>
                    <a:pt x="1252" y="1069"/>
                  </a:lnTo>
                  <a:lnTo>
                    <a:pt x="1250" y="1056"/>
                  </a:lnTo>
                  <a:lnTo>
                    <a:pt x="1249" y="1041"/>
                  </a:lnTo>
                  <a:lnTo>
                    <a:pt x="1250" y="1026"/>
                  </a:lnTo>
                  <a:lnTo>
                    <a:pt x="1252" y="1012"/>
                  </a:lnTo>
                  <a:lnTo>
                    <a:pt x="1256" y="981"/>
                  </a:lnTo>
                  <a:lnTo>
                    <a:pt x="1262" y="949"/>
                  </a:lnTo>
                  <a:lnTo>
                    <a:pt x="1272" y="916"/>
                  </a:lnTo>
                  <a:lnTo>
                    <a:pt x="1282" y="884"/>
                  </a:lnTo>
                  <a:lnTo>
                    <a:pt x="1294" y="850"/>
                  </a:lnTo>
                  <a:lnTo>
                    <a:pt x="1308" y="818"/>
                  </a:lnTo>
                  <a:lnTo>
                    <a:pt x="1322" y="786"/>
                  </a:lnTo>
                  <a:lnTo>
                    <a:pt x="1336" y="756"/>
                  </a:lnTo>
                  <a:lnTo>
                    <a:pt x="1362" y="700"/>
                  </a:lnTo>
                  <a:lnTo>
                    <a:pt x="1386" y="653"/>
                  </a:lnTo>
                  <a:lnTo>
                    <a:pt x="1394" y="633"/>
                  </a:lnTo>
                  <a:lnTo>
                    <a:pt x="1398" y="617"/>
                  </a:lnTo>
                  <a:lnTo>
                    <a:pt x="1401" y="603"/>
                  </a:lnTo>
                  <a:lnTo>
                    <a:pt x="1400" y="589"/>
                  </a:lnTo>
                  <a:lnTo>
                    <a:pt x="1397" y="577"/>
                  </a:lnTo>
                  <a:lnTo>
                    <a:pt x="1393" y="568"/>
                  </a:lnTo>
                  <a:lnTo>
                    <a:pt x="1386" y="559"/>
                  </a:lnTo>
                  <a:lnTo>
                    <a:pt x="1381" y="548"/>
                  </a:lnTo>
                  <a:lnTo>
                    <a:pt x="1374" y="539"/>
                  </a:lnTo>
                  <a:lnTo>
                    <a:pt x="1368" y="528"/>
                  </a:lnTo>
                  <a:lnTo>
                    <a:pt x="1362" y="516"/>
                  </a:lnTo>
                  <a:lnTo>
                    <a:pt x="1358" y="503"/>
                  </a:lnTo>
                  <a:lnTo>
                    <a:pt x="1356" y="488"/>
                  </a:lnTo>
                  <a:lnTo>
                    <a:pt x="1354" y="469"/>
                  </a:lnTo>
                  <a:lnTo>
                    <a:pt x="1357" y="449"/>
                  </a:lnTo>
                  <a:lnTo>
                    <a:pt x="1362" y="425"/>
                  </a:lnTo>
                  <a:lnTo>
                    <a:pt x="1369" y="405"/>
                  </a:lnTo>
                  <a:lnTo>
                    <a:pt x="1376" y="389"/>
                  </a:lnTo>
                  <a:lnTo>
                    <a:pt x="1384" y="376"/>
                  </a:lnTo>
                  <a:lnTo>
                    <a:pt x="1392" y="367"/>
                  </a:lnTo>
                  <a:lnTo>
                    <a:pt x="1400" y="359"/>
                  </a:lnTo>
                  <a:lnTo>
                    <a:pt x="1409" y="353"/>
                  </a:lnTo>
                  <a:lnTo>
                    <a:pt x="1417" y="348"/>
                  </a:lnTo>
                  <a:lnTo>
                    <a:pt x="1426" y="343"/>
                  </a:lnTo>
                  <a:lnTo>
                    <a:pt x="1434" y="337"/>
                  </a:lnTo>
                  <a:lnTo>
                    <a:pt x="1444" y="329"/>
                  </a:lnTo>
                  <a:lnTo>
                    <a:pt x="1452" y="321"/>
                  </a:lnTo>
                  <a:lnTo>
                    <a:pt x="1461" y="309"/>
                  </a:lnTo>
                  <a:lnTo>
                    <a:pt x="1469" y="293"/>
                  </a:lnTo>
                  <a:lnTo>
                    <a:pt x="1478" y="275"/>
                  </a:lnTo>
                  <a:lnTo>
                    <a:pt x="1486" y="249"/>
                  </a:lnTo>
                  <a:lnTo>
                    <a:pt x="1494" y="220"/>
                  </a:lnTo>
                  <a:lnTo>
                    <a:pt x="1497" y="204"/>
                  </a:lnTo>
                  <a:lnTo>
                    <a:pt x="1498" y="189"/>
                  </a:lnTo>
                  <a:lnTo>
                    <a:pt x="1500" y="176"/>
                  </a:lnTo>
                  <a:lnTo>
                    <a:pt x="1500" y="164"/>
                  </a:lnTo>
                  <a:lnTo>
                    <a:pt x="1497" y="152"/>
                  </a:lnTo>
                  <a:lnTo>
                    <a:pt x="1494" y="143"/>
                  </a:lnTo>
                  <a:lnTo>
                    <a:pt x="1490" y="132"/>
                  </a:lnTo>
                  <a:lnTo>
                    <a:pt x="1485" y="124"/>
                  </a:lnTo>
                  <a:lnTo>
                    <a:pt x="1477" y="116"/>
                  </a:lnTo>
                  <a:lnTo>
                    <a:pt x="1469" y="108"/>
                  </a:lnTo>
                  <a:lnTo>
                    <a:pt x="1458" y="100"/>
                  </a:lnTo>
                  <a:lnTo>
                    <a:pt x="1446" y="94"/>
                  </a:lnTo>
                  <a:lnTo>
                    <a:pt x="1417" y="79"/>
                  </a:lnTo>
                  <a:lnTo>
                    <a:pt x="1380" y="64"/>
                  </a:lnTo>
                  <a:lnTo>
                    <a:pt x="1362" y="55"/>
                  </a:lnTo>
                  <a:lnTo>
                    <a:pt x="1346" y="46"/>
                  </a:lnTo>
                  <a:lnTo>
                    <a:pt x="1332" y="36"/>
                  </a:lnTo>
                  <a:lnTo>
                    <a:pt x="1320" y="27"/>
                  </a:lnTo>
                  <a:lnTo>
                    <a:pt x="1298" y="12"/>
                  </a:lnTo>
                  <a:lnTo>
                    <a:pt x="1282" y="3"/>
                  </a:lnTo>
                  <a:lnTo>
                    <a:pt x="1274" y="0"/>
                  </a:lnTo>
                  <a:lnTo>
                    <a:pt x="1266" y="0"/>
                  </a:lnTo>
                  <a:lnTo>
                    <a:pt x="1258" y="3"/>
                  </a:lnTo>
                  <a:lnTo>
                    <a:pt x="1252" y="8"/>
                  </a:lnTo>
                  <a:lnTo>
                    <a:pt x="1242" y="18"/>
                  </a:lnTo>
                  <a:lnTo>
                    <a:pt x="1233" y="30"/>
                  </a:lnTo>
                  <a:lnTo>
                    <a:pt x="1222" y="44"/>
                  </a:lnTo>
                  <a:lnTo>
                    <a:pt x="1212" y="64"/>
                  </a:lnTo>
                  <a:lnTo>
                    <a:pt x="1201" y="87"/>
                  </a:lnTo>
                  <a:lnTo>
                    <a:pt x="1185" y="126"/>
                  </a:lnTo>
                  <a:lnTo>
                    <a:pt x="1176" y="148"/>
                  </a:lnTo>
                  <a:lnTo>
                    <a:pt x="1165" y="173"/>
                  </a:lnTo>
                  <a:lnTo>
                    <a:pt x="1152" y="199"/>
                  </a:lnTo>
                  <a:lnTo>
                    <a:pt x="1137" y="225"/>
                  </a:lnTo>
                  <a:lnTo>
                    <a:pt x="1121" y="252"/>
                  </a:lnTo>
                  <a:lnTo>
                    <a:pt x="1101" y="276"/>
                  </a:lnTo>
                  <a:lnTo>
                    <a:pt x="1090" y="288"/>
                  </a:lnTo>
                  <a:lnTo>
                    <a:pt x="1080" y="300"/>
                  </a:lnTo>
                  <a:lnTo>
                    <a:pt x="1068" y="311"/>
                  </a:lnTo>
                  <a:lnTo>
                    <a:pt x="1056" y="320"/>
                  </a:lnTo>
                  <a:lnTo>
                    <a:pt x="1042" y="329"/>
                  </a:lnTo>
                  <a:lnTo>
                    <a:pt x="1028" y="337"/>
                  </a:lnTo>
                  <a:lnTo>
                    <a:pt x="1013" y="345"/>
                  </a:lnTo>
                  <a:lnTo>
                    <a:pt x="998" y="352"/>
                  </a:lnTo>
                  <a:lnTo>
                    <a:pt x="982" y="357"/>
                  </a:lnTo>
                  <a:lnTo>
                    <a:pt x="965" y="361"/>
                  </a:lnTo>
                  <a:lnTo>
                    <a:pt x="946" y="364"/>
                  </a:lnTo>
                  <a:lnTo>
                    <a:pt x="928" y="365"/>
                  </a:lnTo>
                  <a:lnTo>
                    <a:pt x="917" y="375"/>
                  </a:lnTo>
                  <a:lnTo>
                    <a:pt x="909" y="385"/>
                  </a:lnTo>
                  <a:lnTo>
                    <a:pt x="902" y="395"/>
                  </a:lnTo>
                  <a:lnTo>
                    <a:pt x="896" y="404"/>
                  </a:lnTo>
                  <a:lnTo>
                    <a:pt x="892" y="412"/>
                  </a:lnTo>
                  <a:lnTo>
                    <a:pt x="889" y="420"/>
                  </a:lnTo>
                  <a:lnTo>
                    <a:pt x="888" y="428"/>
                  </a:lnTo>
                  <a:lnTo>
                    <a:pt x="886" y="436"/>
                  </a:lnTo>
                  <a:lnTo>
                    <a:pt x="888" y="443"/>
                  </a:lnTo>
                  <a:lnTo>
                    <a:pt x="888" y="449"/>
                  </a:lnTo>
                  <a:lnTo>
                    <a:pt x="890" y="456"/>
                  </a:lnTo>
                  <a:lnTo>
                    <a:pt x="892" y="463"/>
                  </a:lnTo>
                  <a:lnTo>
                    <a:pt x="898" y="475"/>
                  </a:lnTo>
                  <a:lnTo>
                    <a:pt x="905" y="485"/>
                  </a:lnTo>
                  <a:lnTo>
                    <a:pt x="913" y="497"/>
                  </a:lnTo>
                  <a:lnTo>
                    <a:pt x="920" y="507"/>
                  </a:lnTo>
                  <a:lnTo>
                    <a:pt x="924" y="517"/>
                  </a:lnTo>
                  <a:lnTo>
                    <a:pt x="926" y="528"/>
                  </a:lnTo>
                  <a:lnTo>
                    <a:pt x="926" y="533"/>
                  </a:lnTo>
                  <a:lnTo>
                    <a:pt x="925" y="539"/>
                  </a:lnTo>
                  <a:lnTo>
                    <a:pt x="922" y="545"/>
                  </a:lnTo>
                  <a:lnTo>
                    <a:pt x="920" y="551"/>
                  </a:lnTo>
                  <a:lnTo>
                    <a:pt x="914" y="556"/>
                  </a:lnTo>
                  <a:lnTo>
                    <a:pt x="909" y="563"/>
                  </a:lnTo>
                  <a:lnTo>
                    <a:pt x="901" y="569"/>
                  </a:lnTo>
                  <a:lnTo>
                    <a:pt x="892" y="576"/>
                  </a:lnTo>
                  <a:lnTo>
                    <a:pt x="890" y="588"/>
                  </a:lnTo>
                  <a:lnTo>
                    <a:pt x="886" y="599"/>
                  </a:lnTo>
                  <a:lnTo>
                    <a:pt x="884" y="611"/>
                  </a:lnTo>
                  <a:lnTo>
                    <a:pt x="878" y="621"/>
                  </a:lnTo>
                  <a:lnTo>
                    <a:pt x="869" y="641"/>
                  </a:lnTo>
                  <a:lnTo>
                    <a:pt x="857" y="659"/>
                  </a:lnTo>
                  <a:lnTo>
                    <a:pt x="832" y="691"/>
                  </a:lnTo>
                  <a:lnTo>
                    <a:pt x="808" y="719"/>
                  </a:lnTo>
                  <a:lnTo>
                    <a:pt x="799" y="730"/>
                  </a:lnTo>
                  <a:lnTo>
                    <a:pt x="791" y="744"/>
                  </a:lnTo>
                  <a:lnTo>
                    <a:pt x="788" y="749"/>
                  </a:lnTo>
                  <a:lnTo>
                    <a:pt x="787" y="754"/>
                  </a:lnTo>
                  <a:lnTo>
                    <a:pt x="785" y="761"/>
                  </a:lnTo>
                  <a:lnTo>
                    <a:pt x="785" y="766"/>
                  </a:lnTo>
                  <a:lnTo>
                    <a:pt x="787" y="773"/>
                  </a:lnTo>
                  <a:lnTo>
                    <a:pt x="789" y="778"/>
                  </a:lnTo>
                  <a:lnTo>
                    <a:pt x="792" y="785"/>
                  </a:lnTo>
                  <a:lnTo>
                    <a:pt x="797" y="790"/>
                  </a:lnTo>
                  <a:lnTo>
                    <a:pt x="804" y="797"/>
                  </a:lnTo>
                  <a:lnTo>
                    <a:pt x="812" y="804"/>
                  </a:lnTo>
                  <a:lnTo>
                    <a:pt x="821" y="809"/>
                  </a:lnTo>
                  <a:lnTo>
                    <a:pt x="832" y="816"/>
                  </a:lnTo>
                  <a:lnTo>
                    <a:pt x="845" y="825"/>
                  </a:lnTo>
                  <a:lnTo>
                    <a:pt x="856" y="833"/>
                  </a:lnTo>
                  <a:lnTo>
                    <a:pt x="864" y="844"/>
                  </a:lnTo>
                  <a:lnTo>
                    <a:pt x="870" y="853"/>
                  </a:lnTo>
                  <a:lnTo>
                    <a:pt x="876" y="864"/>
                  </a:lnTo>
                  <a:lnTo>
                    <a:pt x="880" y="876"/>
                  </a:lnTo>
                  <a:lnTo>
                    <a:pt x="882" y="886"/>
                  </a:lnTo>
                  <a:lnTo>
                    <a:pt x="884" y="898"/>
                  </a:lnTo>
                  <a:lnTo>
                    <a:pt x="888" y="921"/>
                  </a:lnTo>
                  <a:lnTo>
                    <a:pt x="890" y="944"/>
                  </a:lnTo>
                  <a:lnTo>
                    <a:pt x="894" y="956"/>
                  </a:lnTo>
                  <a:lnTo>
                    <a:pt x="898" y="965"/>
                  </a:lnTo>
                  <a:lnTo>
                    <a:pt x="902" y="976"/>
                  </a:lnTo>
                  <a:lnTo>
                    <a:pt x="910" y="985"/>
                  </a:lnTo>
                  <a:lnTo>
                    <a:pt x="910" y="990"/>
                  </a:lnTo>
                  <a:lnTo>
                    <a:pt x="913" y="1004"/>
                  </a:lnTo>
                  <a:lnTo>
                    <a:pt x="914" y="1024"/>
                  </a:lnTo>
                  <a:lnTo>
                    <a:pt x="913" y="1046"/>
                  </a:lnTo>
                  <a:lnTo>
                    <a:pt x="912" y="1057"/>
                  </a:lnTo>
                  <a:lnTo>
                    <a:pt x="909" y="1069"/>
                  </a:lnTo>
                  <a:lnTo>
                    <a:pt x="905" y="1080"/>
                  </a:lnTo>
                  <a:lnTo>
                    <a:pt x="900" y="1089"/>
                  </a:lnTo>
                  <a:lnTo>
                    <a:pt x="893" y="1097"/>
                  </a:lnTo>
                  <a:lnTo>
                    <a:pt x="885" y="1104"/>
                  </a:lnTo>
                  <a:lnTo>
                    <a:pt x="880" y="1106"/>
                  </a:lnTo>
                  <a:lnTo>
                    <a:pt x="874" y="1109"/>
                  </a:lnTo>
                  <a:lnTo>
                    <a:pt x="868" y="1110"/>
                  </a:lnTo>
                  <a:lnTo>
                    <a:pt x="862" y="1112"/>
                  </a:lnTo>
                  <a:lnTo>
                    <a:pt x="854" y="1112"/>
                  </a:lnTo>
                  <a:lnTo>
                    <a:pt x="846" y="1112"/>
                  </a:lnTo>
                  <a:lnTo>
                    <a:pt x="838" y="1109"/>
                  </a:lnTo>
                  <a:lnTo>
                    <a:pt x="832" y="1106"/>
                  </a:lnTo>
                  <a:lnTo>
                    <a:pt x="824" y="1102"/>
                  </a:lnTo>
                  <a:lnTo>
                    <a:pt x="817" y="1097"/>
                  </a:lnTo>
                  <a:lnTo>
                    <a:pt x="809" y="1090"/>
                  </a:lnTo>
                  <a:lnTo>
                    <a:pt x="803" y="1084"/>
                  </a:lnTo>
                  <a:lnTo>
                    <a:pt x="788" y="1066"/>
                  </a:lnTo>
                  <a:lnTo>
                    <a:pt x="775" y="1046"/>
                  </a:lnTo>
                  <a:lnTo>
                    <a:pt x="761" y="1024"/>
                  </a:lnTo>
                  <a:lnTo>
                    <a:pt x="748" y="1000"/>
                  </a:lnTo>
                  <a:lnTo>
                    <a:pt x="720" y="945"/>
                  </a:lnTo>
                  <a:lnTo>
                    <a:pt x="692" y="886"/>
                  </a:lnTo>
                  <a:lnTo>
                    <a:pt x="679" y="858"/>
                  </a:lnTo>
                  <a:lnTo>
                    <a:pt x="664" y="829"/>
                  </a:lnTo>
                  <a:lnTo>
                    <a:pt x="649" y="801"/>
                  </a:lnTo>
                  <a:lnTo>
                    <a:pt x="633" y="774"/>
                  </a:lnTo>
                  <a:lnTo>
                    <a:pt x="625" y="786"/>
                  </a:lnTo>
                  <a:lnTo>
                    <a:pt x="615" y="798"/>
                  </a:lnTo>
                  <a:lnTo>
                    <a:pt x="604" y="809"/>
                  </a:lnTo>
                  <a:lnTo>
                    <a:pt x="593" y="820"/>
                  </a:lnTo>
                  <a:lnTo>
                    <a:pt x="583" y="830"/>
                  </a:lnTo>
                  <a:lnTo>
                    <a:pt x="575" y="842"/>
                  </a:lnTo>
                  <a:lnTo>
                    <a:pt x="572" y="849"/>
                  </a:lnTo>
                  <a:lnTo>
                    <a:pt x="569" y="856"/>
                  </a:lnTo>
                  <a:lnTo>
                    <a:pt x="568" y="862"/>
                  </a:lnTo>
                  <a:lnTo>
                    <a:pt x="567" y="870"/>
                  </a:lnTo>
                  <a:lnTo>
                    <a:pt x="568" y="878"/>
                  </a:lnTo>
                  <a:lnTo>
                    <a:pt x="569" y="885"/>
                  </a:lnTo>
                  <a:lnTo>
                    <a:pt x="572" y="893"/>
                  </a:lnTo>
                  <a:lnTo>
                    <a:pt x="575" y="900"/>
                  </a:lnTo>
                  <a:lnTo>
                    <a:pt x="583" y="913"/>
                  </a:lnTo>
                  <a:lnTo>
                    <a:pt x="591" y="926"/>
                  </a:lnTo>
                  <a:lnTo>
                    <a:pt x="600" y="940"/>
                  </a:lnTo>
                  <a:lnTo>
                    <a:pt x="608" y="956"/>
                  </a:lnTo>
                  <a:lnTo>
                    <a:pt x="611" y="964"/>
                  </a:lnTo>
                  <a:lnTo>
                    <a:pt x="613" y="972"/>
                  </a:lnTo>
                  <a:lnTo>
                    <a:pt x="615" y="981"/>
                  </a:lnTo>
                  <a:lnTo>
                    <a:pt x="615" y="990"/>
                  </a:lnTo>
                  <a:lnTo>
                    <a:pt x="615" y="1004"/>
                  </a:lnTo>
                  <a:lnTo>
                    <a:pt x="612" y="1014"/>
                  </a:lnTo>
                  <a:lnTo>
                    <a:pt x="609" y="1025"/>
                  </a:lnTo>
                  <a:lnTo>
                    <a:pt x="605" y="1033"/>
                  </a:lnTo>
                  <a:lnTo>
                    <a:pt x="595" y="1049"/>
                  </a:lnTo>
                  <a:lnTo>
                    <a:pt x="581" y="1062"/>
                  </a:lnTo>
                  <a:lnTo>
                    <a:pt x="569" y="1074"/>
                  </a:lnTo>
                  <a:lnTo>
                    <a:pt x="559" y="1088"/>
                  </a:lnTo>
                  <a:lnTo>
                    <a:pt x="555" y="1096"/>
                  </a:lnTo>
                  <a:lnTo>
                    <a:pt x="552" y="1104"/>
                  </a:lnTo>
                  <a:lnTo>
                    <a:pt x="549" y="1113"/>
                  </a:lnTo>
                  <a:lnTo>
                    <a:pt x="549" y="1124"/>
                  </a:lnTo>
                  <a:lnTo>
                    <a:pt x="549" y="1128"/>
                  </a:lnTo>
                  <a:lnTo>
                    <a:pt x="551" y="1132"/>
                  </a:lnTo>
                  <a:lnTo>
                    <a:pt x="553" y="1137"/>
                  </a:lnTo>
                  <a:lnTo>
                    <a:pt x="556" y="1141"/>
                  </a:lnTo>
                  <a:lnTo>
                    <a:pt x="563" y="1149"/>
                  </a:lnTo>
                  <a:lnTo>
                    <a:pt x="569" y="1158"/>
                  </a:lnTo>
                  <a:lnTo>
                    <a:pt x="577" y="1168"/>
                  </a:lnTo>
                  <a:lnTo>
                    <a:pt x="584" y="1177"/>
                  </a:lnTo>
                  <a:lnTo>
                    <a:pt x="587" y="1184"/>
                  </a:lnTo>
                  <a:lnTo>
                    <a:pt x="589" y="1189"/>
                  </a:lnTo>
                  <a:lnTo>
                    <a:pt x="591" y="1196"/>
                  </a:lnTo>
                  <a:lnTo>
                    <a:pt x="591" y="1202"/>
                  </a:lnTo>
                  <a:lnTo>
                    <a:pt x="591" y="1212"/>
                  </a:lnTo>
                  <a:lnTo>
                    <a:pt x="589" y="1221"/>
                  </a:lnTo>
                  <a:lnTo>
                    <a:pt x="587" y="1232"/>
                  </a:lnTo>
                  <a:lnTo>
                    <a:pt x="584" y="1240"/>
                  </a:lnTo>
                  <a:lnTo>
                    <a:pt x="579" y="1249"/>
                  </a:lnTo>
                  <a:lnTo>
                    <a:pt x="575" y="1258"/>
                  </a:lnTo>
                  <a:lnTo>
                    <a:pt x="569" y="1266"/>
                  </a:lnTo>
                  <a:lnTo>
                    <a:pt x="563" y="1274"/>
                  </a:lnTo>
                  <a:lnTo>
                    <a:pt x="548" y="1290"/>
                  </a:lnTo>
                  <a:lnTo>
                    <a:pt x="532" y="1304"/>
                  </a:lnTo>
                  <a:lnTo>
                    <a:pt x="513" y="1317"/>
                  </a:lnTo>
                  <a:lnTo>
                    <a:pt x="495" y="1330"/>
                  </a:lnTo>
                  <a:lnTo>
                    <a:pt x="475" y="1341"/>
                  </a:lnTo>
                  <a:lnTo>
                    <a:pt x="453" y="1351"/>
                  </a:lnTo>
                  <a:lnTo>
                    <a:pt x="433" y="1361"/>
                  </a:lnTo>
                  <a:lnTo>
                    <a:pt x="413" y="1369"/>
                  </a:lnTo>
                  <a:lnTo>
                    <a:pt x="376" y="1383"/>
                  </a:lnTo>
                  <a:lnTo>
                    <a:pt x="344" y="1394"/>
                  </a:lnTo>
                  <a:lnTo>
                    <a:pt x="321" y="1402"/>
                  </a:lnTo>
                  <a:lnTo>
                    <a:pt x="300" y="1411"/>
                  </a:lnTo>
                  <a:lnTo>
                    <a:pt x="279" y="1421"/>
                  </a:lnTo>
                  <a:lnTo>
                    <a:pt x="260" y="1430"/>
                  </a:lnTo>
                  <a:lnTo>
                    <a:pt x="224" y="1449"/>
                  </a:lnTo>
                  <a:lnTo>
                    <a:pt x="189" y="1470"/>
                  </a:lnTo>
                  <a:lnTo>
                    <a:pt x="156" y="1490"/>
                  </a:lnTo>
                  <a:lnTo>
                    <a:pt x="123" y="1510"/>
                  </a:lnTo>
                  <a:lnTo>
                    <a:pt x="105" y="1519"/>
                  </a:lnTo>
                  <a:lnTo>
                    <a:pt x="88" y="1527"/>
                  </a:lnTo>
                  <a:lnTo>
                    <a:pt x="68" y="1537"/>
                  </a:lnTo>
                  <a:lnTo>
                    <a:pt x="49" y="1545"/>
                  </a:lnTo>
                  <a:lnTo>
                    <a:pt x="53" y="1555"/>
                  </a:lnTo>
                  <a:lnTo>
                    <a:pt x="57" y="1563"/>
                  </a:lnTo>
                  <a:lnTo>
                    <a:pt x="60" y="1570"/>
                  </a:lnTo>
                  <a:lnTo>
                    <a:pt x="61" y="1581"/>
                  </a:lnTo>
                  <a:lnTo>
                    <a:pt x="61" y="1613"/>
                  </a:lnTo>
                  <a:lnTo>
                    <a:pt x="61" y="1630"/>
                  </a:lnTo>
                  <a:lnTo>
                    <a:pt x="61" y="1647"/>
                  </a:lnTo>
                  <a:lnTo>
                    <a:pt x="61" y="1671"/>
                  </a:lnTo>
                  <a:lnTo>
                    <a:pt x="60" y="1683"/>
                  </a:lnTo>
                  <a:lnTo>
                    <a:pt x="59" y="1694"/>
                  </a:lnTo>
                  <a:lnTo>
                    <a:pt x="55" y="1705"/>
                  </a:lnTo>
                  <a:lnTo>
                    <a:pt x="52" y="1714"/>
                  </a:lnTo>
                  <a:lnTo>
                    <a:pt x="42" y="1733"/>
                  </a:lnTo>
                  <a:lnTo>
                    <a:pt x="31" y="1749"/>
                  </a:lnTo>
                  <a:lnTo>
                    <a:pt x="20" y="1765"/>
                  </a:lnTo>
                  <a:lnTo>
                    <a:pt x="11" y="1782"/>
                  </a:lnTo>
                  <a:lnTo>
                    <a:pt x="7" y="1791"/>
                  </a:lnTo>
                  <a:lnTo>
                    <a:pt x="3" y="1801"/>
                  </a:lnTo>
                  <a:lnTo>
                    <a:pt x="2" y="1811"/>
                  </a:lnTo>
                  <a:lnTo>
                    <a:pt x="0" y="1822"/>
                  </a:lnTo>
                  <a:lnTo>
                    <a:pt x="2" y="1830"/>
                  </a:lnTo>
                  <a:lnTo>
                    <a:pt x="2" y="1837"/>
                  </a:lnTo>
                  <a:lnTo>
                    <a:pt x="4" y="1843"/>
                  </a:lnTo>
                  <a:lnTo>
                    <a:pt x="6" y="1849"/>
                  </a:lnTo>
                  <a:lnTo>
                    <a:pt x="12" y="1859"/>
                  </a:lnTo>
                  <a:lnTo>
                    <a:pt x="20" y="1869"/>
                  </a:lnTo>
                  <a:lnTo>
                    <a:pt x="28" y="1875"/>
                  </a:lnTo>
                  <a:lnTo>
                    <a:pt x="39" y="1881"/>
                  </a:lnTo>
                  <a:lnTo>
                    <a:pt x="49" y="1886"/>
                  </a:lnTo>
                  <a:lnTo>
                    <a:pt x="61" y="1889"/>
                  </a:lnTo>
                  <a:lnTo>
                    <a:pt x="61" y="1899"/>
                  </a:lnTo>
                  <a:lnTo>
                    <a:pt x="63" y="1908"/>
                  </a:lnTo>
                  <a:lnTo>
                    <a:pt x="65" y="1916"/>
                  </a:lnTo>
                  <a:lnTo>
                    <a:pt x="69" y="1923"/>
                  </a:lnTo>
                  <a:lnTo>
                    <a:pt x="73" y="1930"/>
                  </a:lnTo>
                  <a:lnTo>
                    <a:pt x="79" y="1935"/>
                  </a:lnTo>
                  <a:lnTo>
                    <a:pt x="85" y="1940"/>
                  </a:lnTo>
                  <a:lnTo>
                    <a:pt x="92" y="1943"/>
                  </a:lnTo>
                  <a:lnTo>
                    <a:pt x="99" y="1947"/>
                  </a:lnTo>
                  <a:lnTo>
                    <a:pt x="107" y="1950"/>
                  </a:lnTo>
                  <a:lnTo>
                    <a:pt x="116" y="1951"/>
                  </a:lnTo>
                  <a:lnTo>
                    <a:pt x="124" y="1952"/>
                  </a:lnTo>
                  <a:lnTo>
                    <a:pt x="143" y="1954"/>
                  </a:lnTo>
                  <a:lnTo>
                    <a:pt x="163" y="1954"/>
                  </a:lnTo>
                  <a:lnTo>
                    <a:pt x="207" y="1954"/>
                  </a:lnTo>
                  <a:lnTo>
                    <a:pt x="248" y="1954"/>
                  </a:lnTo>
                  <a:lnTo>
                    <a:pt x="284" y="1954"/>
                  </a:lnTo>
                  <a:lnTo>
                    <a:pt x="313" y="1954"/>
                  </a:lnTo>
                  <a:lnTo>
                    <a:pt x="321" y="1955"/>
                  </a:lnTo>
                  <a:lnTo>
                    <a:pt x="329" y="1956"/>
                  </a:lnTo>
                  <a:lnTo>
                    <a:pt x="336" y="1959"/>
                  </a:lnTo>
                  <a:lnTo>
                    <a:pt x="341" y="1963"/>
                  </a:lnTo>
                  <a:lnTo>
                    <a:pt x="347" y="1967"/>
                  </a:lnTo>
                  <a:lnTo>
                    <a:pt x="352" y="1974"/>
                  </a:lnTo>
                  <a:lnTo>
                    <a:pt x="356" y="1979"/>
                  </a:lnTo>
                  <a:lnTo>
                    <a:pt x="359" y="1986"/>
                  </a:lnTo>
                  <a:lnTo>
                    <a:pt x="365" y="2002"/>
                  </a:lnTo>
                  <a:lnTo>
                    <a:pt x="371" y="2019"/>
                  </a:lnTo>
                  <a:lnTo>
                    <a:pt x="375" y="2038"/>
                  </a:lnTo>
                  <a:lnTo>
                    <a:pt x="379" y="2056"/>
                  </a:lnTo>
                  <a:lnTo>
                    <a:pt x="383" y="2075"/>
                  </a:lnTo>
                  <a:lnTo>
                    <a:pt x="388" y="2094"/>
                  </a:lnTo>
                  <a:lnTo>
                    <a:pt x="393" y="2111"/>
                  </a:lnTo>
                  <a:lnTo>
                    <a:pt x="400" y="2127"/>
                  </a:lnTo>
                  <a:lnTo>
                    <a:pt x="404" y="2134"/>
                  </a:lnTo>
                  <a:lnTo>
                    <a:pt x="409" y="2140"/>
                  </a:lnTo>
                  <a:lnTo>
                    <a:pt x="415" y="2146"/>
                  </a:lnTo>
                  <a:lnTo>
                    <a:pt x="421" y="2150"/>
                  </a:lnTo>
                  <a:lnTo>
                    <a:pt x="428" y="2154"/>
                  </a:lnTo>
                  <a:lnTo>
                    <a:pt x="435" y="2156"/>
                  </a:lnTo>
                  <a:lnTo>
                    <a:pt x="443" y="2159"/>
                  </a:lnTo>
                  <a:lnTo>
                    <a:pt x="452" y="2159"/>
                  </a:lnTo>
                  <a:lnTo>
                    <a:pt x="464" y="2158"/>
                  </a:lnTo>
                  <a:lnTo>
                    <a:pt x="475" y="2155"/>
                  </a:lnTo>
                  <a:lnTo>
                    <a:pt x="484" y="2151"/>
                  </a:lnTo>
                  <a:lnTo>
                    <a:pt x="495" y="2146"/>
                  </a:lnTo>
                  <a:lnTo>
                    <a:pt x="505" y="2142"/>
                  </a:lnTo>
                  <a:lnTo>
                    <a:pt x="515" y="2136"/>
                  </a:lnTo>
                  <a:lnTo>
                    <a:pt x="525" y="2132"/>
                  </a:lnTo>
                  <a:lnTo>
                    <a:pt x="537" y="2128"/>
                  </a:lnTo>
                  <a:lnTo>
                    <a:pt x="541" y="2136"/>
                  </a:lnTo>
                  <a:lnTo>
                    <a:pt x="547" y="2143"/>
                  </a:lnTo>
                  <a:lnTo>
                    <a:pt x="551" y="2144"/>
                  </a:lnTo>
                  <a:lnTo>
                    <a:pt x="556" y="2146"/>
                  </a:lnTo>
                  <a:lnTo>
                    <a:pt x="560" y="2147"/>
                  </a:lnTo>
                  <a:lnTo>
                    <a:pt x="567" y="2147"/>
                  </a:lnTo>
                  <a:lnTo>
                    <a:pt x="576" y="2146"/>
                  </a:lnTo>
                  <a:lnTo>
                    <a:pt x="583" y="2142"/>
                  </a:lnTo>
                  <a:lnTo>
                    <a:pt x="589" y="2138"/>
                  </a:lnTo>
                  <a:lnTo>
                    <a:pt x="596" y="2132"/>
                  </a:lnTo>
                  <a:lnTo>
                    <a:pt x="603" y="2126"/>
                  </a:lnTo>
                  <a:lnTo>
                    <a:pt x="608" y="2122"/>
                  </a:lnTo>
                  <a:lnTo>
                    <a:pt x="615" y="2118"/>
                  </a:lnTo>
                  <a:lnTo>
                    <a:pt x="621" y="2116"/>
                  </a:lnTo>
                  <a:lnTo>
                    <a:pt x="627" y="2118"/>
                  </a:lnTo>
                  <a:lnTo>
                    <a:pt x="633" y="2120"/>
                  </a:lnTo>
                  <a:lnTo>
                    <a:pt x="643" y="2123"/>
                  </a:lnTo>
                  <a:lnTo>
                    <a:pt x="653" y="2128"/>
                  </a:lnTo>
                  <a:lnTo>
                    <a:pt x="676" y="2140"/>
                  </a:lnTo>
                  <a:lnTo>
                    <a:pt x="700" y="2156"/>
                  </a:lnTo>
                  <a:lnTo>
                    <a:pt x="723" y="2172"/>
                  </a:lnTo>
                  <a:lnTo>
                    <a:pt x="741" y="2188"/>
                  </a:lnTo>
                  <a:lnTo>
                    <a:pt x="749" y="2195"/>
                  </a:lnTo>
                  <a:lnTo>
                    <a:pt x="755" y="2202"/>
                  </a:lnTo>
                  <a:lnTo>
                    <a:pt x="759" y="2208"/>
                  </a:lnTo>
                  <a:lnTo>
                    <a:pt x="760" y="2214"/>
                  </a:lnTo>
                  <a:lnTo>
                    <a:pt x="760" y="2230"/>
                  </a:lnTo>
                  <a:lnTo>
                    <a:pt x="760" y="2242"/>
                  </a:lnTo>
                  <a:lnTo>
                    <a:pt x="760" y="2252"/>
                  </a:lnTo>
                  <a:lnTo>
                    <a:pt x="760" y="2262"/>
                  </a:lnTo>
                  <a:lnTo>
                    <a:pt x="761" y="2278"/>
                  </a:lnTo>
                  <a:lnTo>
                    <a:pt x="767" y="2298"/>
                  </a:lnTo>
                  <a:lnTo>
                    <a:pt x="775" y="2320"/>
                  </a:lnTo>
                  <a:lnTo>
                    <a:pt x="784" y="2339"/>
                  </a:lnTo>
                  <a:lnTo>
                    <a:pt x="789" y="2348"/>
                  </a:lnTo>
                  <a:lnTo>
                    <a:pt x="795" y="2358"/>
                  </a:lnTo>
                  <a:lnTo>
                    <a:pt x="799" y="2367"/>
                  </a:lnTo>
                  <a:lnTo>
                    <a:pt x="801" y="2376"/>
                  </a:lnTo>
                  <a:lnTo>
                    <a:pt x="805" y="2395"/>
                  </a:lnTo>
                  <a:lnTo>
                    <a:pt x="808" y="2414"/>
                  </a:lnTo>
                  <a:lnTo>
                    <a:pt x="812" y="2431"/>
                  </a:lnTo>
                  <a:lnTo>
                    <a:pt x="817" y="2448"/>
                  </a:lnTo>
                  <a:lnTo>
                    <a:pt x="820" y="2456"/>
                  </a:lnTo>
                  <a:lnTo>
                    <a:pt x="825" y="2464"/>
                  </a:lnTo>
                  <a:lnTo>
                    <a:pt x="830" y="2471"/>
                  </a:lnTo>
                  <a:lnTo>
                    <a:pt x="837" y="2478"/>
                  </a:lnTo>
                  <a:lnTo>
                    <a:pt x="952" y="2478"/>
                  </a:lnTo>
                  <a:lnTo>
                    <a:pt x="977" y="2508"/>
                  </a:lnTo>
                  <a:lnTo>
                    <a:pt x="1001" y="2533"/>
                  </a:lnTo>
                  <a:lnTo>
                    <a:pt x="1013" y="2544"/>
                  </a:lnTo>
                  <a:lnTo>
                    <a:pt x="1026" y="2555"/>
                  </a:lnTo>
                  <a:lnTo>
                    <a:pt x="1040" y="2565"/>
                  </a:lnTo>
                  <a:lnTo>
                    <a:pt x="1054" y="2575"/>
                  </a:lnTo>
                  <a:lnTo>
                    <a:pt x="1068" y="2580"/>
                  </a:lnTo>
                  <a:lnTo>
                    <a:pt x="1081" y="2587"/>
                  </a:lnTo>
                  <a:lnTo>
                    <a:pt x="1097" y="2591"/>
                  </a:lnTo>
                  <a:lnTo>
                    <a:pt x="1113" y="2596"/>
                  </a:lnTo>
                  <a:lnTo>
                    <a:pt x="1145" y="2603"/>
                  </a:lnTo>
                  <a:lnTo>
                    <a:pt x="1180" y="2609"/>
                  </a:lnTo>
                  <a:lnTo>
                    <a:pt x="1213" y="2615"/>
                  </a:lnTo>
                  <a:lnTo>
                    <a:pt x="1244" y="2620"/>
                  </a:lnTo>
                  <a:lnTo>
                    <a:pt x="1258" y="2623"/>
                  </a:lnTo>
                  <a:lnTo>
                    <a:pt x="1272" y="2627"/>
                  </a:lnTo>
                  <a:lnTo>
                    <a:pt x="1285" y="2631"/>
                  </a:lnTo>
                  <a:lnTo>
                    <a:pt x="1296" y="2635"/>
                  </a:lnTo>
                  <a:lnTo>
                    <a:pt x="1313" y="2645"/>
                  </a:lnTo>
                  <a:lnTo>
                    <a:pt x="1329" y="2657"/>
                  </a:lnTo>
                  <a:lnTo>
                    <a:pt x="1342" y="2671"/>
                  </a:lnTo>
                  <a:lnTo>
                    <a:pt x="1354" y="2685"/>
                  </a:lnTo>
                  <a:lnTo>
                    <a:pt x="1377" y="2713"/>
                  </a:lnTo>
                  <a:lnTo>
                    <a:pt x="1397" y="2743"/>
                  </a:lnTo>
                  <a:lnTo>
                    <a:pt x="1406" y="2756"/>
                  </a:lnTo>
                  <a:lnTo>
                    <a:pt x="1418" y="2768"/>
                  </a:lnTo>
                  <a:lnTo>
                    <a:pt x="1430" y="2780"/>
                  </a:lnTo>
                  <a:lnTo>
                    <a:pt x="1445" y="2789"/>
                  </a:lnTo>
                  <a:lnTo>
                    <a:pt x="1452" y="2793"/>
                  </a:lnTo>
                  <a:lnTo>
                    <a:pt x="1461" y="2797"/>
                  </a:lnTo>
                  <a:lnTo>
                    <a:pt x="1469" y="2801"/>
                  </a:lnTo>
                  <a:lnTo>
                    <a:pt x="1478" y="2804"/>
                  </a:lnTo>
                  <a:lnTo>
                    <a:pt x="1489" y="2807"/>
                  </a:lnTo>
                  <a:lnTo>
                    <a:pt x="1500" y="2808"/>
                  </a:lnTo>
                  <a:lnTo>
                    <a:pt x="1512" y="2809"/>
                  </a:lnTo>
                  <a:lnTo>
                    <a:pt x="1525" y="2809"/>
                  </a:lnTo>
                  <a:lnTo>
                    <a:pt x="1556" y="2811"/>
                  </a:lnTo>
                  <a:lnTo>
                    <a:pt x="1585" y="2815"/>
                  </a:lnTo>
                  <a:lnTo>
                    <a:pt x="1614" y="2820"/>
                  </a:lnTo>
                  <a:lnTo>
                    <a:pt x="1645" y="2821"/>
                  </a:lnTo>
                  <a:lnTo>
                    <a:pt x="1658" y="2820"/>
                  </a:lnTo>
                  <a:lnTo>
                    <a:pt x="1669" y="2817"/>
                  </a:lnTo>
                  <a:lnTo>
                    <a:pt x="1679" y="2812"/>
                  </a:lnTo>
                  <a:lnTo>
                    <a:pt x="1689" y="2805"/>
                  </a:lnTo>
                  <a:lnTo>
                    <a:pt x="1697" y="2797"/>
                  </a:lnTo>
                  <a:lnTo>
                    <a:pt x="1705" y="2789"/>
                  </a:lnTo>
                  <a:lnTo>
                    <a:pt x="1711" y="2780"/>
                  </a:lnTo>
                  <a:lnTo>
                    <a:pt x="1719" y="2771"/>
                  </a:lnTo>
                  <a:lnTo>
                    <a:pt x="1733" y="2751"/>
                  </a:lnTo>
                  <a:lnTo>
                    <a:pt x="1749" y="2735"/>
                  </a:lnTo>
                  <a:lnTo>
                    <a:pt x="1758" y="2728"/>
                  </a:lnTo>
                  <a:lnTo>
                    <a:pt x="1767" y="2723"/>
                  </a:lnTo>
                  <a:lnTo>
                    <a:pt x="1778" y="2720"/>
                  </a:lnTo>
                  <a:lnTo>
                    <a:pt x="1789" y="2719"/>
                  </a:lnTo>
                  <a:lnTo>
                    <a:pt x="1797" y="2720"/>
                  </a:lnTo>
                  <a:lnTo>
                    <a:pt x="1803" y="2721"/>
                  </a:lnTo>
                  <a:lnTo>
                    <a:pt x="1810" y="2725"/>
                  </a:lnTo>
                  <a:lnTo>
                    <a:pt x="1817" y="2731"/>
                  </a:lnTo>
                  <a:lnTo>
                    <a:pt x="1827" y="2743"/>
                  </a:lnTo>
                  <a:lnTo>
                    <a:pt x="1838" y="2757"/>
                  </a:lnTo>
                  <a:lnTo>
                    <a:pt x="1847" y="2773"/>
                  </a:lnTo>
                  <a:lnTo>
                    <a:pt x="1857" y="2788"/>
                  </a:lnTo>
                  <a:lnTo>
                    <a:pt x="1865" y="2800"/>
                  </a:lnTo>
                  <a:lnTo>
                    <a:pt x="1874" y="2809"/>
                  </a:lnTo>
                  <a:lnTo>
                    <a:pt x="1879" y="2816"/>
                  </a:lnTo>
                  <a:lnTo>
                    <a:pt x="1885" y="2821"/>
                  </a:lnTo>
                  <a:lnTo>
                    <a:pt x="1890" y="2824"/>
                  </a:lnTo>
                  <a:lnTo>
                    <a:pt x="1897" y="2827"/>
                  </a:lnTo>
                  <a:lnTo>
                    <a:pt x="1902" y="2827"/>
                  </a:lnTo>
                  <a:lnTo>
                    <a:pt x="1907" y="2827"/>
                  </a:lnTo>
                  <a:lnTo>
                    <a:pt x="1914" y="2825"/>
                  </a:lnTo>
                  <a:lnTo>
                    <a:pt x="1919" y="2824"/>
                  </a:lnTo>
                  <a:lnTo>
                    <a:pt x="1931" y="2819"/>
                  </a:lnTo>
                  <a:lnTo>
                    <a:pt x="1943" y="2815"/>
                  </a:lnTo>
                  <a:lnTo>
                    <a:pt x="1950" y="2813"/>
                  </a:lnTo>
                  <a:lnTo>
                    <a:pt x="1957" y="2813"/>
                  </a:lnTo>
                  <a:lnTo>
                    <a:pt x="1963" y="2813"/>
                  </a:lnTo>
                  <a:lnTo>
                    <a:pt x="1970" y="2815"/>
                  </a:lnTo>
                  <a:lnTo>
                    <a:pt x="1977" y="2819"/>
                  </a:lnTo>
                  <a:lnTo>
                    <a:pt x="1982" y="2823"/>
                  </a:lnTo>
                  <a:lnTo>
                    <a:pt x="1986" y="2827"/>
                  </a:lnTo>
                  <a:lnTo>
                    <a:pt x="1990" y="2832"/>
                  </a:lnTo>
                  <a:lnTo>
                    <a:pt x="1997" y="2841"/>
                  </a:lnTo>
                  <a:lnTo>
                    <a:pt x="2002" y="2852"/>
                  </a:lnTo>
                  <a:lnTo>
                    <a:pt x="2006" y="2861"/>
                  </a:lnTo>
                  <a:lnTo>
                    <a:pt x="2010" y="2871"/>
                  </a:lnTo>
                  <a:lnTo>
                    <a:pt x="2017" y="2880"/>
                  </a:lnTo>
                  <a:lnTo>
                    <a:pt x="2025" y="2888"/>
                  </a:lnTo>
                  <a:lnTo>
                    <a:pt x="2035" y="2895"/>
                  </a:lnTo>
                  <a:lnTo>
                    <a:pt x="2046" y="2899"/>
                  </a:lnTo>
                  <a:lnTo>
                    <a:pt x="2057" y="2900"/>
                  </a:lnTo>
                  <a:lnTo>
                    <a:pt x="2066" y="2901"/>
                  </a:lnTo>
                  <a:lnTo>
                    <a:pt x="2077" y="2901"/>
                  </a:lnTo>
                  <a:lnTo>
                    <a:pt x="2087" y="2901"/>
                  </a:lnTo>
                  <a:lnTo>
                    <a:pt x="2098" y="2903"/>
                  </a:lnTo>
                  <a:lnTo>
                    <a:pt x="2109" y="2905"/>
                  </a:lnTo>
                  <a:lnTo>
                    <a:pt x="2119" y="2911"/>
                  </a:lnTo>
                  <a:lnTo>
                    <a:pt x="2129" y="2917"/>
                  </a:lnTo>
                  <a:lnTo>
                    <a:pt x="2137" y="2925"/>
                  </a:lnTo>
                  <a:lnTo>
                    <a:pt x="2145" y="2933"/>
                  </a:lnTo>
                  <a:lnTo>
                    <a:pt x="2153" y="2940"/>
                  </a:lnTo>
                  <a:lnTo>
                    <a:pt x="2161" y="2948"/>
                  </a:lnTo>
                  <a:lnTo>
                    <a:pt x="2170" y="2955"/>
                  </a:lnTo>
                  <a:lnTo>
                    <a:pt x="2181" y="296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0" name="Freeform 126"/>
            <p:cNvSpPr>
              <a:spLocks/>
            </p:cNvSpPr>
            <p:nvPr/>
          </p:nvSpPr>
          <p:spPr bwMode="auto">
            <a:xfrm>
              <a:off x="2395859" y="3113088"/>
              <a:ext cx="996950" cy="619125"/>
            </a:xfrm>
            <a:custGeom>
              <a:avLst/>
              <a:gdLst/>
              <a:ahLst/>
              <a:cxnLst>
                <a:cxn ang="0">
                  <a:pos x="1928" y="1084"/>
                </a:cxn>
                <a:cxn ang="0">
                  <a:pos x="1764" y="1198"/>
                </a:cxn>
                <a:cxn ang="0">
                  <a:pos x="1624" y="1272"/>
                </a:cxn>
                <a:cxn ang="0">
                  <a:pos x="1381" y="1195"/>
                </a:cxn>
                <a:cxn ang="0">
                  <a:pos x="907" y="946"/>
                </a:cxn>
                <a:cxn ang="0">
                  <a:pos x="799" y="832"/>
                </a:cxn>
                <a:cxn ang="0">
                  <a:pos x="744" y="818"/>
                </a:cxn>
                <a:cxn ang="0">
                  <a:pos x="627" y="850"/>
                </a:cxn>
                <a:cxn ang="0">
                  <a:pos x="392" y="856"/>
                </a:cxn>
                <a:cxn ang="0">
                  <a:pos x="323" y="827"/>
                </a:cxn>
                <a:cxn ang="0">
                  <a:pos x="256" y="819"/>
                </a:cxn>
                <a:cxn ang="0">
                  <a:pos x="186" y="828"/>
                </a:cxn>
                <a:cxn ang="0">
                  <a:pos x="139" y="738"/>
                </a:cxn>
                <a:cxn ang="0">
                  <a:pos x="48" y="614"/>
                </a:cxn>
                <a:cxn ang="0">
                  <a:pos x="0" y="485"/>
                </a:cxn>
                <a:cxn ang="0">
                  <a:pos x="74" y="451"/>
                </a:cxn>
                <a:cxn ang="0">
                  <a:pos x="112" y="397"/>
                </a:cxn>
                <a:cxn ang="0">
                  <a:pos x="83" y="337"/>
                </a:cxn>
                <a:cxn ang="0">
                  <a:pos x="80" y="285"/>
                </a:cxn>
                <a:cxn ang="0">
                  <a:pos x="171" y="213"/>
                </a:cxn>
                <a:cxn ang="0">
                  <a:pos x="271" y="118"/>
                </a:cxn>
                <a:cxn ang="0">
                  <a:pos x="272" y="2"/>
                </a:cxn>
                <a:cxn ang="0">
                  <a:pos x="360" y="94"/>
                </a:cxn>
                <a:cxn ang="0">
                  <a:pos x="430" y="186"/>
                </a:cxn>
                <a:cxn ang="0">
                  <a:pos x="434" y="311"/>
                </a:cxn>
                <a:cxn ang="0">
                  <a:pos x="408" y="347"/>
                </a:cxn>
                <a:cxn ang="0">
                  <a:pos x="322" y="327"/>
                </a:cxn>
                <a:cxn ang="0">
                  <a:pos x="224" y="331"/>
                </a:cxn>
                <a:cxn ang="0">
                  <a:pos x="206" y="417"/>
                </a:cxn>
                <a:cxn ang="0">
                  <a:pos x="243" y="562"/>
                </a:cxn>
                <a:cxn ang="0">
                  <a:pos x="314" y="610"/>
                </a:cxn>
                <a:cxn ang="0">
                  <a:pos x="432" y="494"/>
                </a:cxn>
                <a:cxn ang="0">
                  <a:pos x="500" y="470"/>
                </a:cxn>
                <a:cxn ang="0">
                  <a:pos x="662" y="485"/>
                </a:cxn>
                <a:cxn ang="0">
                  <a:pos x="893" y="510"/>
                </a:cxn>
                <a:cxn ang="0">
                  <a:pos x="943" y="537"/>
                </a:cxn>
                <a:cxn ang="0">
                  <a:pos x="1028" y="473"/>
                </a:cxn>
                <a:cxn ang="0">
                  <a:pos x="1149" y="486"/>
                </a:cxn>
                <a:cxn ang="0">
                  <a:pos x="1125" y="506"/>
                </a:cxn>
                <a:cxn ang="0">
                  <a:pos x="1036" y="570"/>
                </a:cxn>
                <a:cxn ang="0">
                  <a:pos x="971" y="601"/>
                </a:cxn>
                <a:cxn ang="0">
                  <a:pos x="1033" y="642"/>
                </a:cxn>
                <a:cxn ang="0">
                  <a:pos x="1091" y="681"/>
                </a:cxn>
                <a:cxn ang="0">
                  <a:pos x="1147" y="677"/>
                </a:cxn>
                <a:cxn ang="0">
                  <a:pos x="1279" y="689"/>
                </a:cxn>
                <a:cxn ang="0">
                  <a:pos x="1397" y="713"/>
                </a:cxn>
                <a:cxn ang="0">
                  <a:pos x="1544" y="713"/>
                </a:cxn>
                <a:cxn ang="0">
                  <a:pos x="1508" y="775"/>
                </a:cxn>
                <a:cxn ang="0">
                  <a:pos x="1476" y="843"/>
                </a:cxn>
                <a:cxn ang="0">
                  <a:pos x="1490" y="886"/>
                </a:cxn>
                <a:cxn ang="0">
                  <a:pos x="1537" y="872"/>
                </a:cxn>
                <a:cxn ang="0">
                  <a:pos x="1556" y="800"/>
                </a:cxn>
                <a:cxn ang="0">
                  <a:pos x="1590" y="783"/>
                </a:cxn>
                <a:cxn ang="0">
                  <a:pos x="1672" y="790"/>
                </a:cxn>
                <a:cxn ang="0">
                  <a:pos x="1674" y="695"/>
                </a:cxn>
                <a:cxn ang="0">
                  <a:pos x="1668" y="617"/>
                </a:cxn>
                <a:cxn ang="0">
                  <a:pos x="1716" y="569"/>
                </a:cxn>
                <a:cxn ang="0">
                  <a:pos x="1804" y="609"/>
                </a:cxn>
                <a:cxn ang="0">
                  <a:pos x="2005" y="739"/>
                </a:cxn>
                <a:cxn ang="0">
                  <a:pos x="2046" y="828"/>
                </a:cxn>
                <a:cxn ang="0">
                  <a:pos x="1990" y="898"/>
                </a:cxn>
                <a:cxn ang="0">
                  <a:pos x="2004" y="955"/>
                </a:cxn>
                <a:cxn ang="0">
                  <a:pos x="2036" y="1032"/>
                </a:cxn>
              </a:cxnLst>
              <a:rect l="0" t="0" r="r" b="b"/>
              <a:pathLst>
                <a:path w="2054" h="1275">
                  <a:moveTo>
                    <a:pt x="2030" y="1063"/>
                  </a:moveTo>
                  <a:lnTo>
                    <a:pt x="2012" y="1064"/>
                  </a:lnTo>
                  <a:lnTo>
                    <a:pt x="1993" y="1066"/>
                  </a:lnTo>
                  <a:lnTo>
                    <a:pt x="1976" y="1068"/>
                  </a:lnTo>
                  <a:lnTo>
                    <a:pt x="1958" y="1074"/>
                  </a:lnTo>
                  <a:lnTo>
                    <a:pt x="1942" y="1079"/>
                  </a:lnTo>
                  <a:lnTo>
                    <a:pt x="1928" y="1084"/>
                  </a:lnTo>
                  <a:lnTo>
                    <a:pt x="1912" y="1091"/>
                  </a:lnTo>
                  <a:lnTo>
                    <a:pt x="1897" y="1099"/>
                  </a:lnTo>
                  <a:lnTo>
                    <a:pt x="1869" y="1116"/>
                  </a:lnTo>
                  <a:lnTo>
                    <a:pt x="1842" y="1136"/>
                  </a:lnTo>
                  <a:lnTo>
                    <a:pt x="1816" y="1156"/>
                  </a:lnTo>
                  <a:lnTo>
                    <a:pt x="1790" y="1178"/>
                  </a:lnTo>
                  <a:lnTo>
                    <a:pt x="1764" y="1198"/>
                  </a:lnTo>
                  <a:lnTo>
                    <a:pt x="1738" y="1218"/>
                  </a:lnTo>
                  <a:lnTo>
                    <a:pt x="1712" y="1235"/>
                  </a:lnTo>
                  <a:lnTo>
                    <a:pt x="1684" y="1251"/>
                  </a:lnTo>
                  <a:lnTo>
                    <a:pt x="1669" y="1258"/>
                  </a:lnTo>
                  <a:lnTo>
                    <a:pt x="1654" y="1263"/>
                  </a:lnTo>
                  <a:lnTo>
                    <a:pt x="1640" y="1268"/>
                  </a:lnTo>
                  <a:lnTo>
                    <a:pt x="1624" y="1272"/>
                  </a:lnTo>
                  <a:lnTo>
                    <a:pt x="1606" y="1274"/>
                  </a:lnTo>
                  <a:lnTo>
                    <a:pt x="1590" y="1275"/>
                  </a:lnTo>
                  <a:lnTo>
                    <a:pt x="1573" y="1275"/>
                  </a:lnTo>
                  <a:lnTo>
                    <a:pt x="1554" y="1274"/>
                  </a:lnTo>
                  <a:lnTo>
                    <a:pt x="1524" y="1260"/>
                  </a:lnTo>
                  <a:lnTo>
                    <a:pt x="1464" y="1234"/>
                  </a:lnTo>
                  <a:lnTo>
                    <a:pt x="1381" y="1195"/>
                  </a:lnTo>
                  <a:lnTo>
                    <a:pt x="1287" y="1150"/>
                  </a:lnTo>
                  <a:lnTo>
                    <a:pt x="1187" y="1100"/>
                  </a:lnTo>
                  <a:lnTo>
                    <a:pt x="1089" y="1051"/>
                  </a:lnTo>
                  <a:lnTo>
                    <a:pt x="1003" y="1006"/>
                  </a:lnTo>
                  <a:lnTo>
                    <a:pt x="935" y="967"/>
                  </a:lnTo>
                  <a:lnTo>
                    <a:pt x="920" y="956"/>
                  </a:lnTo>
                  <a:lnTo>
                    <a:pt x="907" y="946"/>
                  </a:lnTo>
                  <a:lnTo>
                    <a:pt x="893" y="932"/>
                  </a:lnTo>
                  <a:lnTo>
                    <a:pt x="881" y="919"/>
                  </a:lnTo>
                  <a:lnTo>
                    <a:pt x="857" y="892"/>
                  </a:lnTo>
                  <a:lnTo>
                    <a:pt x="833" y="864"/>
                  </a:lnTo>
                  <a:lnTo>
                    <a:pt x="823" y="852"/>
                  </a:lnTo>
                  <a:lnTo>
                    <a:pt x="811" y="842"/>
                  </a:lnTo>
                  <a:lnTo>
                    <a:pt x="799" y="832"/>
                  </a:lnTo>
                  <a:lnTo>
                    <a:pt x="785" y="826"/>
                  </a:lnTo>
                  <a:lnTo>
                    <a:pt x="779" y="823"/>
                  </a:lnTo>
                  <a:lnTo>
                    <a:pt x="773" y="820"/>
                  </a:lnTo>
                  <a:lnTo>
                    <a:pt x="765" y="819"/>
                  </a:lnTo>
                  <a:lnTo>
                    <a:pt x="759" y="818"/>
                  </a:lnTo>
                  <a:lnTo>
                    <a:pt x="752" y="818"/>
                  </a:lnTo>
                  <a:lnTo>
                    <a:pt x="744" y="818"/>
                  </a:lnTo>
                  <a:lnTo>
                    <a:pt x="737" y="820"/>
                  </a:lnTo>
                  <a:lnTo>
                    <a:pt x="729" y="822"/>
                  </a:lnTo>
                  <a:lnTo>
                    <a:pt x="712" y="828"/>
                  </a:lnTo>
                  <a:lnTo>
                    <a:pt x="695" y="834"/>
                  </a:lnTo>
                  <a:lnTo>
                    <a:pt x="679" y="839"/>
                  </a:lnTo>
                  <a:lnTo>
                    <a:pt x="662" y="843"/>
                  </a:lnTo>
                  <a:lnTo>
                    <a:pt x="627" y="850"/>
                  </a:lnTo>
                  <a:lnTo>
                    <a:pt x="591" y="854"/>
                  </a:lnTo>
                  <a:lnTo>
                    <a:pt x="554" y="856"/>
                  </a:lnTo>
                  <a:lnTo>
                    <a:pt x="516" y="858"/>
                  </a:lnTo>
                  <a:lnTo>
                    <a:pt x="476" y="858"/>
                  </a:lnTo>
                  <a:lnTo>
                    <a:pt x="435" y="858"/>
                  </a:lnTo>
                  <a:lnTo>
                    <a:pt x="412" y="858"/>
                  </a:lnTo>
                  <a:lnTo>
                    <a:pt x="392" y="856"/>
                  </a:lnTo>
                  <a:lnTo>
                    <a:pt x="374" y="854"/>
                  </a:lnTo>
                  <a:lnTo>
                    <a:pt x="358" y="850"/>
                  </a:lnTo>
                  <a:lnTo>
                    <a:pt x="350" y="846"/>
                  </a:lnTo>
                  <a:lnTo>
                    <a:pt x="343" y="843"/>
                  </a:lnTo>
                  <a:lnTo>
                    <a:pt x="336" y="838"/>
                  </a:lnTo>
                  <a:lnTo>
                    <a:pt x="330" y="832"/>
                  </a:lnTo>
                  <a:lnTo>
                    <a:pt x="323" y="827"/>
                  </a:lnTo>
                  <a:lnTo>
                    <a:pt x="318" y="820"/>
                  </a:lnTo>
                  <a:lnTo>
                    <a:pt x="312" y="812"/>
                  </a:lnTo>
                  <a:lnTo>
                    <a:pt x="308" y="804"/>
                  </a:lnTo>
                  <a:lnTo>
                    <a:pt x="295" y="806"/>
                  </a:lnTo>
                  <a:lnTo>
                    <a:pt x="282" y="808"/>
                  </a:lnTo>
                  <a:lnTo>
                    <a:pt x="270" y="814"/>
                  </a:lnTo>
                  <a:lnTo>
                    <a:pt x="256" y="819"/>
                  </a:lnTo>
                  <a:lnTo>
                    <a:pt x="244" y="824"/>
                  </a:lnTo>
                  <a:lnTo>
                    <a:pt x="231" y="830"/>
                  </a:lnTo>
                  <a:lnTo>
                    <a:pt x="219" y="832"/>
                  </a:lnTo>
                  <a:lnTo>
                    <a:pt x="206" y="834"/>
                  </a:lnTo>
                  <a:lnTo>
                    <a:pt x="198" y="834"/>
                  </a:lnTo>
                  <a:lnTo>
                    <a:pt x="191" y="831"/>
                  </a:lnTo>
                  <a:lnTo>
                    <a:pt x="186" y="828"/>
                  </a:lnTo>
                  <a:lnTo>
                    <a:pt x="180" y="824"/>
                  </a:lnTo>
                  <a:lnTo>
                    <a:pt x="175" y="819"/>
                  </a:lnTo>
                  <a:lnTo>
                    <a:pt x="171" y="814"/>
                  </a:lnTo>
                  <a:lnTo>
                    <a:pt x="167" y="807"/>
                  </a:lnTo>
                  <a:lnTo>
                    <a:pt x="163" y="799"/>
                  </a:lnTo>
                  <a:lnTo>
                    <a:pt x="151" y="769"/>
                  </a:lnTo>
                  <a:lnTo>
                    <a:pt x="139" y="738"/>
                  </a:lnTo>
                  <a:lnTo>
                    <a:pt x="132" y="722"/>
                  </a:lnTo>
                  <a:lnTo>
                    <a:pt x="123" y="707"/>
                  </a:lnTo>
                  <a:lnTo>
                    <a:pt x="114" y="693"/>
                  </a:lnTo>
                  <a:lnTo>
                    <a:pt x="103" y="679"/>
                  </a:lnTo>
                  <a:lnTo>
                    <a:pt x="82" y="653"/>
                  </a:lnTo>
                  <a:lnTo>
                    <a:pt x="59" y="627"/>
                  </a:lnTo>
                  <a:lnTo>
                    <a:pt x="48" y="614"/>
                  </a:lnTo>
                  <a:lnTo>
                    <a:pt x="38" y="599"/>
                  </a:lnTo>
                  <a:lnTo>
                    <a:pt x="28" y="585"/>
                  </a:lnTo>
                  <a:lnTo>
                    <a:pt x="20" y="567"/>
                  </a:lnTo>
                  <a:lnTo>
                    <a:pt x="12" y="550"/>
                  </a:lnTo>
                  <a:lnTo>
                    <a:pt x="7" y="530"/>
                  </a:lnTo>
                  <a:lnTo>
                    <a:pt x="3" y="509"/>
                  </a:lnTo>
                  <a:lnTo>
                    <a:pt x="0" y="485"/>
                  </a:lnTo>
                  <a:lnTo>
                    <a:pt x="15" y="474"/>
                  </a:lnTo>
                  <a:lnTo>
                    <a:pt x="28" y="467"/>
                  </a:lnTo>
                  <a:lnTo>
                    <a:pt x="38" y="463"/>
                  </a:lnTo>
                  <a:lnTo>
                    <a:pt x="47" y="462"/>
                  </a:lnTo>
                  <a:lnTo>
                    <a:pt x="58" y="462"/>
                  </a:lnTo>
                  <a:lnTo>
                    <a:pt x="60" y="461"/>
                  </a:lnTo>
                  <a:lnTo>
                    <a:pt x="74" y="451"/>
                  </a:lnTo>
                  <a:lnTo>
                    <a:pt x="84" y="443"/>
                  </a:lnTo>
                  <a:lnTo>
                    <a:pt x="94" y="434"/>
                  </a:lnTo>
                  <a:lnTo>
                    <a:pt x="100" y="426"/>
                  </a:lnTo>
                  <a:lnTo>
                    <a:pt x="106" y="418"/>
                  </a:lnTo>
                  <a:lnTo>
                    <a:pt x="110" y="411"/>
                  </a:lnTo>
                  <a:lnTo>
                    <a:pt x="111" y="405"/>
                  </a:lnTo>
                  <a:lnTo>
                    <a:pt x="112" y="397"/>
                  </a:lnTo>
                  <a:lnTo>
                    <a:pt x="112" y="391"/>
                  </a:lnTo>
                  <a:lnTo>
                    <a:pt x="111" y="385"/>
                  </a:lnTo>
                  <a:lnTo>
                    <a:pt x="108" y="378"/>
                  </a:lnTo>
                  <a:lnTo>
                    <a:pt x="106" y="373"/>
                  </a:lnTo>
                  <a:lnTo>
                    <a:pt x="99" y="361"/>
                  </a:lnTo>
                  <a:lnTo>
                    <a:pt x="91" y="349"/>
                  </a:lnTo>
                  <a:lnTo>
                    <a:pt x="83" y="337"/>
                  </a:lnTo>
                  <a:lnTo>
                    <a:pt x="78" y="325"/>
                  </a:lnTo>
                  <a:lnTo>
                    <a:pt x="75" y="319"/>
                  </a:lnTo>
                  <a:lnTo>
                    <a:pt x="74" y="313"/>
                  </a:lnTo>
                  <a:lnTo>
                    <a:pt x="74" y="306"/>
                  </a:lnTo>
                  <a:lnTo>
                    <a:pt x="75" y="299"/>
                  </a:lnTo>
                  <a:lnTo>
                    <a:pt x="76" y="293"/>
                  </a:lnTo>
                  <a:lnTo>
                    <a:pt x="80" y="285"/>
                  </a:lnTo>
                  <a:lnTo>
                    <a:pt x="86" y="277"/>
                  </a:lnTo>
                  <a:lnTo>
                    <a:pt x="92" y="269"/>
                  </a:lnTo>
                  <a:lnTo>
                    <a:pt x="100" y="261"/>
                  </a:lnTo>
                  <a:lnTo>
                    <a:pt x="111" y="251"/>
                  </a:lnTo>
                  <a:lnTo>
                    <a:pt x="124" y="242"/>
                  </a:lnTo>
                  <a:lnTo>
                    <a:pt x="139" y="233"/>
                  </a:lnTo>
                  <a:lnTo>
                    <a:pt x="171" y="213"/>
                  </a:lnTo>
                  <a:lnTo>
                    <a:pt x="196" y="195"/>
                  </a:lnTo>
                  <a:lnTo>
                    <a:pt x="218" y="180"/>
                  </a:lnTo>
                  <a:lnTo>
                    <a:pt x="235" y="166"/>
                  </a:lnTo>
                  <a:lnTo>
                    <a:pt x="248" y="153"/>
                  </a:lnTo>
                  <a:lnTo>
                    <a:pt x="259" y="141"/>
                  </a:lnTo>
                  <a:lnTo>
                    <a:pt x="266" y="130"/>
                  </a:lnTo>
                  <a:lnTo>
                    <a:pt x="271" y="118"/>
                  </a:lnTo>
                  <a:lnTo>
                    <a:pt x="274" y="108"/>
                  </a:lnTo>
                  <a:lnTo>
                    <a:pt x="275" y="97"/>
                  </a:lnTo>
                  <a:lnTo>
                    <a:pt x="275" y="85"/>
                  </a:lnTo>
                  <a:lnTo>
                    <a:pt x="274" y="72"/>
                  </a:lnTo>
                  <a:lnTo>
                    <a:pt x="272" y="44"/>
                  </a:lnTo>
                  <a:lnTo>
                    <a:pt x="272" y="9"/>
                  </a:lnTo>
                  <a:lnTo>
                    <a:pt x="272" y="2"/>
                  </a:lnTo>
                  <a:lnTo>
                    <a:pt x="275" y="0"/>
                  </a:lnTo>
                  <a:lnTo>
                    <a:pt x="278" y="0"/>
                  </a:lnTo>
                  <a:lnTo>
                    <a:pt x="283" y="4"/>
                  </a:lnTo>
                  <a:lnTo>
                    <a:pt x="296" y="17"/>
                  </a:lnTo>
                  <a:lnTo>
                    <a:pt x="315" y="40"/>
                  </a:lnTo>
                  <a:lnTo>
                    <a:pt x="336" y="66"/>
                  </a:lnTo>
                  <a:lnTo>
                    <a:pt x="360" y="94"/>
                  </a:lnTo>
                  <a:lnTo>
                    <a:pt x="374" y="108"/>
                  </a:lnTo>
                  <a:lnTo>
                    <a:pt x="387" y="121"/>
                  </a:lnTo>
                  <a:lnTo>
                    <a:pt x="402" y="132"/>
                  </a:lnTo>
                  <a:lnTo>
                    <a:pt x="416" y="142"/>
                  </a:lnTo>
                  <a:lnTo>
                    <a:pt x="420" y="154"/>
                  </a:lnTo>
                  <a:lnTo>
                    <a:pt x="426" y="169"/>
                  </a:lnTo>
                  <a:lnTo>
                    <a:pt x="430" y="186"/>
                  </a:lnTo>
                  <a:lnTo>
                    <a:pt x="432" y="203"/>
                  </a:lnTo>
                  <a:lnTo>
                    <a:pt x="435" y="222"/>
                  </a:lnTo>
                  <a:lnTo>
                    <a:pt x="438" y="241"/>
                  </a:lnTo>
                  <a:lnTo>
                    <a:pt x="438" y="259"/>
                  </a:lnTo>
                  <a:lnTo>
                    <a:pt x="438" y="278"/>
                  </a:lnTo>
                  <a:lnTo>
                    <a:pt x="436" y="295"/>
                  </a:lnTo>
                  <a:lnTo>
                    <a:pt x="434" y="311"/>
                  </a:lnTo>
                  <a:lnTo>
                    <a:pt x="431" y="318"/>
                  </a:lnTo>
                  <a:lnTo>
                    <a:pt x="428" y="325"/>
                  </a:lnTo>
                  <a:lnTo>
                    <a:pt x="426" y="330"/>
                  </a:lnTo>
                  <a:lnTo>
                    <a:pt x="422" y="335"/>
                  </a:lnTo>
                  <a:lnTo>
                    <a:pt x="418" y="341"/>
                  </a:lnTo>
                  <a:lnTo>
                    <a:pt x="414" y="343"/>
                  </a:lnTo>
                  <a:lnTo>
                    <a:pt x="408" y="347"/>
                  </a:lnTo>
                  <a:lnTo>
                    <a:pt x="403" y="349"/>
                  </a:lnTo>
                  <a:lnTo>
                    <a:pt x="396" y="350"/>
                  </a:lnTo>
                  <a:lnTo>
                    <a:pt x="390" y="350"/>
                  </a:lnTo>
                  <a:lnTo>
                    <a:pt x="382" y="349"/>
                  </a:lnTo>
                  <a:lnTo>
                    <a:pt x="374" y="346"/>
                  </a:lnTo>
                  <a:lnTo>
                    <a:pt x="346" y="335"/>
                  </a:lnTo>
                  <a:lnTo>
                    <a:pt x="322" y="327"/>
                  </a:lnTo>
                  <a:lnTo>
                    <a:pt x="300" y="322"/>
                  </a:lnTo>
                  <a:lnTo>
                    <a:pt x="283" y="319"/>
                  </a:lnTo>
                  <a:lnTo>
                    <a:pt x="268" y="318"/>
                  </a:lnTo>
                  <a:lnTo>
                    <a:pt x="256" y="318"/>
                  </a:lnTo>
                  <a:lnTo>
                    <a:pt x="246" y="319"/>
                  </a:lnTo>
                  <a:lnTo>
                    <a:pt x="238" y="323"/>
                  </a:lnTo>
                  <a:lnTo>
                    <a:pt x="224" y="331"/>
                  </a:lnTo>
                  <a:lnTo>
                    <a:pt x="214" y="342"/>
                  </a:lnTo>
                  <a:lnTo>
                    <a:pt x="208" y="347"/>
                  </a:lnTo>
                  <a:lnTo>
                    <a:pt x="203" y="351"/>
                  </a:lnTo>
                  <a:lnTo>
                    <a:pt x="195" y="355"/>
                  </a:lnTo>
                  <a:lnTo>
                    <a:pt x="187" y="358"/>
                  </a:lnTo>
                  <a:lnTo>
                    <a:pt x="194" y="375"/>
                  </a:lnTo>
                  <a:lnTo>
                    <a:pt x="206" y="417"/>
                  </a:lnTo>
                  <a:lnTo>
                    <a:pt x="212" y="443"/>
                  </a:lnTo>
                  <a:lnTo>
                    <a:pt x="215" y="473"/>
                  </a:lnTo>
                  <a:lnTo>
                    <a:pt x="216" y="489"/>
                  </a:lnTo>
                  <a:lnTo>
                    <a:pt x="215" y="503"/>
                  </a:lnTo>
                  <a:lnTo>
                    <a:pt x="214" y="518"/>
                  </a:lnTo>
                  <a:lnTo>
                    <a:pt x="211" y="533"/>
                  </a:lnTo>
                  <a:lnTo>
                    <a:pt x="243" y="562"/>
                  </a:lnTo>
                  <a:lnTo>
                    <a:pt x="274" y="594"/>
                  </a:lnTo>
                  <a:lnTo>
                    <a:pt x="280" y="599"/>
                  </a:lnTo>
                  <a:lnTo>
                    <a:pt x="287" y="605"/>
                  </a:lnTo>
                  <a:lnTo>
                    <a:pt x="295" y="609"/>
                  </a:lnTo>
                  <a:lnTo>
                    <a:pt x="302" y="611"/>
                  </a:lnTo>
                  <a:lnTo>
                    <a:pt x="308" y="611"/>
                  </a:lnTo>
                  <a:lnTo>
                    <a:pt x="314" y="610"/>
                  </a:lnTo>
                  <a:lnTo>
                    <a:pt x="320" y="606"/>
                  </a:lnTo>
                  <a:lnTo>
                    <a:pt x="326" y="599"/>
                  </a:lnTo>
                  <a:lnTo>
                    <a:pt x="352" y="566"/>
                  </a:lnTo>
                  <a:lnTo>
                    <a:pt x="378" y="539"/>
                  </a:lnTo>
                  <a:lnTo>
                    <a:pt x="400" y="518"/>
                  </a:lnTo>
                  <a:lnTo>
                    <a:pt x="422" y="501"/>
                  </a:lnTo>
                  <a:lnTo>
                    <a:pt x="432" y="494"/>
                  </a:lnTo>
                  <a:lnTo>
                    <a:pt x="443" y="487"/>
                  </a:lnTo>
                  <a:lnTo>
                    <a:pt x="452" y="482"/>
                  </a:lnTo>
                  <a:lnTo>
                    <a:pt x="462" y="478"/>
                  </a:lnTo>
                  <a:lnTo>
                    <a:pt x="472" y="475"/>
                  </a:lnTo>
                  <a:lnTo>
                    <a:pt x="482" y="473"/>
                  </a:lnTo>
                  <a:lnTo>
                    <a:pt x="491" y="471"/>
                  </a:lnTo>
                  <a:lnTo>
                    <a:pt x="500" y="470"/>
                  </a:lnTo>
                  <a:lnTo>
                    <a:pt x="520" y="470"/>
                  </a:lnTo>
                  <a:lnTo>
                    <a:pt x="540" y="470"/>
                  </a:lnTo>
                  <a:lnTo>
                    <a:pt x="562" y="473"/>
                  </a:lnTo>
                  <a:lnTo>
                    <a:pt x="583" y="475"/>
                  </a:lnTo>
                  <a:lnTo>
                    <a:pt x="607" y="479"/>
                  </a:lnTo>
                  <a:lnTo>
                    <a:pt x="634" y="482"/>
                  </a:lnTo>
                  <a:lnTo>
                    <a:pt x="662" y="485"/>
                  </a:lnTo>
                  <a:lnTo>
                    <a:pt x="694" y="485"/>
                  </a:lnTo>
                  <a:lnTo>
                    <a:pt x="737" y="485"/>
                  </a:lnTo>
                  <a:lnTo>
                    <a:pt x="791" y="481"/>
                  </a:lnTo>
                  <a:lnTo>
                    <a:pt x="843" y="478"/>
                  </a:lnTo>
                  <a:lnTo>
                    <a:pt x="880" y="473"/>
                  </a:lnTo>
                  <a:lnTo>
                    <a:pt x="887" y="494"/>
                  </a:lnTo>
                  <a:lnTo>
                    <a:pt x="893" y="510"/>
                  </a:lnTo>
                  <a:lnTo>
                    <a:pt x="900" y="523"/>
                  </a:lnTo>
                  <a:lnTo>
                    <a:pt x="908" y="533"/>
                  </a:lnTo>
                  <a:lnTo>
                    <a:pt x="915" y="538"/>
                  </a:lnTo>
                  <a:lnTo>
                    <a:pt x="921" y="542"/>
                  </a:lnTo>
                  <a:lnTo>
                    <a:pt x="929" y="542"/>
                  </a:lnTo>
                  <a:lnTo>
                    <a:pt x="936" y="541"/>
                  </a:lnTo>
                  <a:lnTo>
                    <a:pt x="943" y="537"/>
                  </a:lnTo>
                  <a:lnTo>
                    <a:pt x="949" y="531"/>
                  </a:lnTo>
                  <a:lnTo>
                    <a:pt x="955" y="523"/>
                  </a:lnTo>
                  <a:lnTo>
                    <a:pt x="961" y="515"/>
                  </a:lnTo>
                  <a:lnTo>
                    <a:pt x="972" y="495"/>
                  </a:lnTo>
                  <a:lnTo>
                    <a:pt x="983" y="473"/>
                  </a:lnTo>
                  <a:lnTo>
                    <a:pt x="1005" y="473"/>
                  </a:lnTo>
                  <a:lnTo>
                    <a:pt x="1028" y="473"/>
                  </a:lnTo>
                  <a:lnTo>
                    <a:pt x="1052" y="473"/>
                  </a:lnTo>
                  <a:lnTo>
                    <a:pt x="1079" y="473"/>
                  </a:lnTo>
                  <a:lnTo>
                    <a:pt x="1109" y="477"/>
                  </a:lnTo>
                  <a:lnTo>
                    <a:pt x="1132" y="479"/>
                  </a:lnTo>
                  <a:lnTo>
                    <a:pt x="1140" y="482"/>
                  </a:lnTo>
                  <a:lnTo>
                    <a:pt x="1145" y="483"/>
                  </a:lnTo>
                  <a:lnTo>
                    <a:pt x="1149" y="486"/>
                  </a:lnTo>
                  <a:lnTo>
                    <a:pt x="1152" y="487"/>
                  </a:lnTo>
                  <a:lnTo>
                    <a:pt x="1152" y="489"/>
                  </a:lnTo>
                  <a:lnTo>
                    <a:pt x="1152" y="491"/>
                  </a:lnTo>
                  <a:lnTo>
                    <a:pt x="1149" y="494"/>
                  </a:lnTo>
                  <a:lnTo>
                    <a:pt x="1147" y="495"/>
                  </a:lnTo>
                  <a:lnTo>
                    <a:pt x="1137" y="501"/>
                  </a:lnTo>
                  <a:lnTo>
                    <a:pt x="1125" y="506"/>
                  </a:lnTo>
                  <a:lnTo>
                    <a:pt x="1095" y="518"/>
                  </a:lnTo>
                  <a:lnTo>
                    <a:pt x="1065" y="534"/>
                  </a:lnTo>
                  <a:lnTo>
                    <a:pt x="1052" y="543"/>
                  </a:lnTo>
                  <a:lnTo>
                    <a:pt x="1043" y="553"/>
                  </a:lnTo>
                  <a:lnTo>
                    <a:pt x="1039" y="558"/>
                  </a:lnTo>
                  <a:lnTo>
                    <a:pt x="1037" y="563"/>
                  </a:lnTo>
                  <a:lnTo>
                    <a:pt x="1036" y="570"/>
                  </a:lnTo>
                  <a:lnTo>
                    <a:pt x="1036" y="575"/>
                  </a:lnTo>
                  <a:lnTo>
                    <a:pt x="1017" y="579"/>
                  </a:lnTo>
                  <a:lnTo>
                    <a:pt x="1001" y="583"/>
                  </a:lnTo>
                  <a:lnTo>
                    <a:pt x="988" y="587"/>
                  </a:lnTo>
                  <a:lnTo>
                    <a:pt x="979" y="591"/>
                  </a:lnTo>
                  <a:lnTo>
                    <a:pt x="973" y="595"/>
                  </a:lnTo>
                  <a:lnTo>
                    <a:pt x="971" y="601"/>
                  </a:lnTo>
                  <a:lnTo>
                    <a:pt x="971" y="605"/>
                  </a:lnTo>
                  <a:lnTo>
                    <a:pt x="972" y="610"/>
                  </a:lnTo>
                  <a:lnTo>
                    <a:pt x="977" y="615"/>
                  </a:lnTo>
                  <a:lnTo>
                    <a:pt x="984" y="621"/>
                  </a:lnTo>
                  <a:lnTo>
                    <a:pt x="993" y="626"/>
                  </a:lnTo>
                  <a:lnTo>
                    <a:pt x="1005" y="631"/>
                  </a:lnTo>
                  <a:lnTo>
                    <a:pt x="1033" y="642"/>
                  </a:lnTo>
                  <a:lnTo>
                    <a:pt x="1067" y="654"/>
                  </a:lnTo>
                  <a:lnTo>
                    <a:pt x="1072" y="657"/>
                  </a:lnTo>
                  <a:lnTo>
                    <a:pt x="1077" y="661"/>
                  </a:lnTo>
                  <a:lnTo>
                    <a:pt x="1081" y="665"/>
                  </a:lnTo>
                  <a:lnTo>
                    <a:pt x="1085" y="670"/>
                  </a:lnTo>
                  <a:lnTo>
                    <a:pt x="1088" y="675"/>
                  </a:lnTo>
                  <a:lnTo>
                    <a:pt x="1091" y="681"/>
                  </a:lnTo>
                  <a:lnTo>
                    <a:pt x="1095" y="685"/>
                  </a:lnTo>
                  <a:lnTo>
                    <a:pt x="1100" y="687"/>
                  </a:lnTo>
                  <a:lnTo>
                    <a:pt x="1105" y="690"/>
                  </a:lnTo>
                  <a:lnTo>
                    <a:pt x="1112" y="690"/>
                  </a:lnTo>
                  <a:lnTo>
                    <a:pt x="1121" y="687"/>
                  </a:lnTo>
                  <a:lnTo>
                    <a:pt x="1132" y="683"/>
                  </a:lnTo>
                  <a:lnTo>
                    <a:pt x="1147" y="677"/>
                  </a:lnTo>
                  <a:lnTo>
                    <a:pt x="1163" y="666"/>
                  </a:lnTo>
                  <a:lnTo>
                    <a:pt x="1183" y="653"/>
                  </a:lnTo>
                  <a:lnTo>
                    <a:pt x="1205" y="635"/>
                  </a:lnTo>
                  <a:lnTo>
                    <a:pt x="1225" y="651"/>
                  </a:lnTo>
                  <a:lnTo>
                    <a:pt x="1244" y="666"/>
                  </a:lnTo>
                  <a:lnTo>
                    <a:pt x="1263" y="678"/>
                  </a:lnTo>
                  <a:lnTo>
                    <a:pt x="1279" y="689"/>
                  </a:lnTo>
                  <a:lnTo>
                    <a:pt x="1295" y="697"/>
                  </a:lnTo>
                  <a:lnTo>
                    <a:pt x="1311" y="703"/>
                  </a:lnTo>
                  <a:lnTo>
                    <a:pt x="1327" y="709"/>
                  </a:lnTo>
                  <a:lnTo>
                    <a:pt x="1343" y="711"/>
                  </a:lnTo>
                  <a:lnTo>
                    <a:pt x="1360" y="714"/>
                  </a:lnTo>
                  <a:lnTo>
                    <a:pt x="1379" y="714"/>
                  </a:lnTo>
                  <a:lnTo>
                    <a:pt x="1397" y="713"/>
                  </a:lnTo>
                  <a:lnTo>
                    <a:pt x="1420" y="710"/>
                  </a:lnTo>
                  <a:lnTo>
                    <a:pt x="1443" y="705"/>
                  </a:lnTo>
                  <a:lnTo>
                    <a:pt x="1469" y="699"/>
                  </a:lnTo>
                  <a:lnTo>
                    <a:pt x="1498" y="693"/>
                  </a:lnTo>
                  <a:lnTo>
                    <a:pt x="1530" y="683"/>
                  </a:lnTo>
                  <a:lnTo>
                    <a:pt x="1538" y="699"/>
                  </a:lnTo>
                  <a:lnTo>
                    <a:pt x="1544" y="713"/>
                  </a:lnTo>
                  <a:lnTo>
                    <a:pt x="1545" y="725"/>
                  </a:lnTo>
                  <a:lnTo>
                    <a:pt x="1545" y="735"/>
                  </a:lnTo>
                  <a:lnTo>
                    <a:pt x="1541" y="743"/>
                  </a:lnTo>
                  <a:lnTo>
                    <a:pt x="1537" y="751"/>
                  </a:lnTo>
                  <a:lnTo>
                    <a:pt x="1530" y="758"/>
                  </a:lnTo>
                  <a:lnTo>
                    <a:pt x="1524" y="765"/>
                  </a:lnTo>
                  <a:lnTo>
                    <a:pt x="1508" y="775"/>
                  </a:lnTo>
                  <a:lnTo>
                    <a:pt x="1492" y="788"/>
                  </a:lnTo>
                  <a:lnTo>
                    <a:pt x="1485" y="795"/>
                  </a:lnTo>
                  <a:lnTo>
                    <a:pt x="1481" y="803"/>
                  </a:lnTo>
                  <a:lnTo>
                    <a:pt x="1477" y="811"/>
                  </a:lnTo>
                  <a:lnTo>
                    <a:pt x="1476" y="822"/>
                  </a:lnTo>
                  <a:lnTo>
                    <a:pt x="1476" y="834"/>
                  </a:lnTo>
                  <a:lnTo>
                    <a:pt x="1476" y="843"/>
                  </a:lnTo>
                  <a:lnTo>
                    <a:pt x="1476" y="852"/>
                  </a:lnTo>
                  <a:lnTo>
                    <a:pt x="1477" y="860"/>
                  </a:lnTo>
                  <a:lnTo>
                    <a:pt x="1478" y="867"/>
                  </a:lnTo>
                  <a:lnTo>
                    <a:pt x="1481" y="874"/>
                  </a:lnTo>
                  <a:lnTo>
                    <a:pt x="1484" y="879"/>
                  </a:lnTo>
                  <a:lnTo>
                    <a:pt x="1486" y="883"/>
                  </a:lnTo>
                  <a:lnTo>
                    <a:pt x="1490" y="886"/>
                  </a:lnTo>
                  <a:lnTo>
                    <a:pt x="1493" y="888"/>
                  </a:lnTo>
                  <a:lnTo>
                    <a:pt x="1497" y="890"/>
                  </a:lnTo>
                  <a:lnTo>
                    <a:pt x="1502" y="891"/>
                  </a:lnTo>
                  <a:lnTo>
                    <a:pt x="1510" y="890"/>
                  </a:lnTo>
                  <a:lnTo>
                    <a:pt x="1520" y="886"/>
                  </a:lnTo>
                  <a:lnTo>
                    <a:pt x="1529" y="880"/>
                  </a:lnTo>
                  <a:lnTo>
                    <a:pt x="1537" y="872"/>
                  </a:lnTo>
                  <a:lnTo>
                    <a:pt x="1544" y="862"/>
                  </a:lnTo>
                  <a:lnTo>
                    <a:pt x="1550" y="850"/>
                  </a:lnTo>
                  <a:lnTo>
                    <a:pt x="1554" y="836"/>
                  </a:lnTo>
                  <a:lnTo>
                    <a:pt x="1557" y="823"/>
                  </a:lnTo>
                  <a:lnTo>
                    <a:pt x="1557" y="815"/>
                  </a:lnTo>
                  <a:lnTo>
                    <a:pt x="1557" y="807"/>
                  </a:lnTo>
                  <a:lnTo>
                    <a:pt x="1556" y="800"/>
                  </a:lnTo>
                  <a:lnTo>
                    <a:pt x="1554" y="792"/>
                  </a:lnTo>
                  <a:lnTo>
                    <a:pt x="1557" y="788"/>
                  </a:lnTo>
                  <a:lnTo>
                    <a:pt x="1561" y="786"/>
                  </a:lnTo>
                  <a:lnTo>
                    <a:pt x="1565" y="783"/>
                  </a:lnTo>
                  <a:lnTo>
                    <a:pt x="1569" y="782"/>
                  </a:lnTo>
                  <a:lnTo>
                    <a:pt x="1580" y="782"/>
                  </a:lnTo>
                  <a:lnTo>
                    <a:pt x="1590" y="783"/>
                  </a:lnTo>
                  <a:lnTo>
                    <a:pt x="1616" y="791"/>
                  </a:lnTo>
                  <a:lnTo>
                    <a:pt x="1640" y="798"/>
                  </a:lnTo>
                  <a:lnTo>
                    <a:pt x="1650" y="799"/>
                  </a:lnTo>
                  <a:lnTo>
                    <a:pt x="1661" y="798"/>
                  </a:lnTo>
                  <a:lnTo>
                    <a:pt x="1665" y="796"/>
                  </a:lnTo>
                  <a:lnTo>
                    <a:pt x="1669" y="794"/>
                  </a:lnTo>
                  <a:lnTo>
                    <a:pt x="1672" y="790"/>
                  </a:lnTo>
                  <a:lnTo>
                    <a:pt x="1676" y="786"/>
                  </a:lnTo>
                  <a:lnTo>
                    <a:pt x="1678" y="779"/>
                  </a:lnTo>
                  <a:lnTo>
                    <a:pt x="1680" y="772"/>
                  </a:lnTo>
                  <a:lnTo>
                    <a:pt x="1681" y="763"/>
                  </a:lnTo>
                  <a:lnTo>
                    <a:pt x="1681" y="754"/>
                  </a:lnTo>
                  <a:lnTo>
                    <a:pt x="1680" y="729"/>
                  </a:lnTo>
                  <a:lnTo>
                    <a:pt x="1674" y="695"/>
                  </a:lnTo>
                  <a:lnTo>
                    <a:pt x="1677" y="689"/>
                  </a:lnTo>
                  <a:lnTo>
                    <a:pt x="1678" y="682"/>
                  </a:lnTo>
                  <a:lnTo>
                    <a:pt x="1678" y="674"/>
                  </a:lnTo>
                  <a:lnTo>
                    <a:pt x="1678" y="665"/>
                  </a:lnTo>
                  <a:lnTo>
                    <a:pt x="1674" y="649"/>
                  </a:lnTo>
                  <a:lnTo>
                    <a:pt x="1670" y="631"/>
                  </a:lnTo>
                  <a:lnTo>
                    <a:pt x="1668" y="617"/>
                  </a:lnTo>
                  <a:lnTo>
                    <a:pt x="1668" y="602"/>
                  </a:lnTo>
                  <a:lnTo>
                    <a:pt x="1668" y="595"/>
                  </a:lnTo>
                  <a:lnTo>
                    <a:pt x="1670" y="590"/>
                  </a:lnTo>
                  <a:lnTo>
                    <a:pt x="1674" y="585"/>
                  </a:lnTo>
                  <a:lnTo>
                    <a:pt x="1681" y="582"/>
                  </a:lnTo>
                  <a:lnTo>
                    <a:pt x="1700" y="574"/>
                  </a:lnTo>
                  <a:lnTo>
                    <a:pt x="1716" y="569"/>
                  </a:lnTo>
                  <a:lnTo>
                    <a:pt x="1729" y="565"/>
                  </a:lnTo>
                  <a:lnTo>
                    <a:pt x="1740" y="563"/>
                  </a:lnTo>
                  <a:lnTo>
                    <a:pt x="1754" y="563"/>
                  </a:lnTo>
                  <a:lnTo>
                    <a:pt x="1758" y="563"/>
                  </a:lnTo>
                  <a:lnTo>
                    <a:pt x="1773" y="579"/>
                  </a:lnTo>
                  <a:lnTo>
                    <a:pt x="1788" y="594"/>
                  </a:lnTo>
                  <a:lnTo>
                    <a:pt x="1804" y="609"/>
                  </a:lnTo>
                  <a:lnTo>
                    <a:pt x="1822" y="622"/>
                  </a:lnTo>
                  <a:lnTo>
                    <a:pt x="1860" y="646"/>
                  </a:lnTo>
                  <a:lnTo>
                    <a:pt x="1900" y="669"/>
                  </a:lnTo>
                  <a:lnTo>
                    <a:pt x="1938" y="690"/>
                  </a:lnTo>
                  <a:lnTo>
                    <a:pt x="1974" y="713"/>
                  </a:lnTo>
                  <a:lnTo>
                    <a:pt x="1990" y="726"/>
                  </a:lnTo>
                  <a:lnTo>
                    <a:pt x="2005" y="739"/>
                  </a:lnTo>
                  <a:lnTo>
                    <a:pt x="2018" y="753"/>
                  </a:lnTo>
                  <a:lnTo>
                    <a:pt x="2030" y="769"/>
                  </a:lnTo>
                  <a:lnTo>
                    <a:pt x="2036" y="779"/>
                  </a:lnTo>
                  <a:lnTo>
                    <a:pt x="2042" y="792"/>
                  </a:lnTo>
                  <a:lnTo>
                    <a:pt x="2049" y="806"/>
                  </a:lnTo>
                  <a:lnTo>
                    <a:pt x="2054" y="816"/>
                  </a:lnTo>
                  <a:lnTo>
                    <a:pt x="2046" y="828"/>
                  </a:lnTo>
                  <a:lnTo>
                    <a:pt x="2036" y="840"/>
                  </a:lnTo>
                  <a:lnTo>
                    <a:pt x="2025" y="851"/>
                  </a:lnTo>
                  <a:lnTo>
                    <a:pt x="2014" y="862"/>
                  </a:lnTo>
                  <a:lnTo>
                    <a:pt x="2004" y="872"/>
                  </a:lnTo>
                  <a:lnTo>
                    <a:pt x="1996" y="884"/>
                  </a:lnTo>
                  <a:lnTo>
                    <a:pt x="1993" y="891"/>
                  </a:lnTo>
                  <a:lnTo>
                    <a:pt x="1990" y="898"/>
                  </a:lnTo>
                  <a:lnTo>
                    <a:pt x="1989" y="904"/>
                  </a:lnTo>
                  <a:lnTo>
                    <a:pt x="1988" y="912"/>
                  </a:lnTo>
                  <a:lnTo>
                    <a:pt x="1989" y="920"/>
                  </a:lnTo>
                  <a:lnTo>
                    <a:pt x="1990" y="927"/>
                  </a:lnTo>
                  <a:lnTo>
                    <a:pt x="1993" y="935"/>
                  </a:lnTo>
                  <a:lnTo>
                    <a:pt x="1996" y="942"/>
                  </a:lnTo>
                  <a:lnTo>
                    <a:pt x="2004" y="955"/>
                  </a:lnTo>
                  <a:lnTo>
                    <a:pt x="2012" y="968"/>
                  </a:lnTo>
                  <a:lnTo>
                    <a:pt x="2021" y="982"/>
                  </a:lnTo>
                  <a:lnTo>
                    <a:pt x="2029" y="998"/>
                  </a:lnTo>
                  <a:lnTo>
                    <a:pt x="2032" y="1006"/>
                  </a:lnTo>
                  <a:lnTo>
                    <a:pt x="2034" y="1014"/>
                  </a:lnTo>
                  <a:lnTo>
                    <a:pt x="2036" y="1023"/>
                  </a:lnTo>
                  <a:lnTo>
                    <a:pt x="2036" y="1032"/>
                  </a:lnTo>
                  <a:lnTo>
                    <a:pt x="2036" y="1046"/>
                  </a:lnTo>
                  <a:lnTo>
                    <a:pt x="2032" y="1056"/>
                  </a:lnTo>
                  <a:lnTo>
                    <a:pt x="2029" y="1066"/>
                  </a:lnTo>
                  <a:lnTo>
                    <a:pt x="2024" y="1075"/>
                  </a:lnTo>
                  <a:lnTo>
                    <a:pt x="2030" y="1063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1" name="Freeform 127"/>
            <p:cNvSpPr>
              <a:spLocks/>
            </p:cNvSpPr>
            <p:nvPr/>
          </p:nvSpPr>
          <p:spPr bwMode="auto">
            <a:xfrm>
              <a:off x="6988497" y="1112838"/>
              <a:ext cx="1120775" cy="1465262"/>
            </a:xfrm>
            <a:custGeom>
              <a:avLst/>
              <a:gdLst/>
              <a:ahLst/>
              <a:cxnLst>
                <a:cxn ang="0">
                  <a:pos x="1105" y="2677"/>
                </a:cxn>
                <a:cxn ang="0">
                  <a:pos x="1170" y="2613"/>
                </a:cxn>
                <a:cxn ang="0">
                  <a:pos x="1342" y="2422"/>
                </a:cxn>
                <a:cxn ang="0">
                  <a:pos x="1545" y="2317"/>
                </a:cxn>
                <a:cxn ang="0">
                  <a:pos x="1633" y="2277"/>
                </a:cxn>
                <a:cxn ang="0">
                  <a:pos x="1702" y="2441"/>
                </a:cxn>
                <a:cxn ang="0">
                  <a:pos x="1841" y="2380"/>
                </a:cxn>
                <a:cxn ang="0">
                  <a:pos x="2019" y="2314"/>
                </a:cxn>
                <a:cxn ang="0">
                  <a:pos x="2071" y="2065"/>
                </a:cxn>
                <a:cxn ang="0">
                  <a:pos x="2142" y="1963"/>
                </a:cxn>
                <a:cxn ang="0">
                  <a:pos x="2207" y="1777"/>
                </a:cxn>
                <a:cxn ang="0">
                  <a:pos x="2250" y="1507"/>
                </a:cxn>
                <a:cxn ang="0">
                  <a:pos x="2303" y="1360"/>
                </a:cxn>
                <a:cxn ang="0">
                  <a:pos x="2109" y="1300"/>
                </a:cxn>
                <a:cxn ang="0">
                  <a:pos x="1826" y="1326"/>
                </a:cxn>
                <a:cxn ang="0">
                  <a:pos x="1708" y="1471"/>
                </a:cxn>
                <a:cxn ang="0">
                  <a:pos x="1600" y="1443"/>
                </a:cxn>
                <a:cxn ang="0">
                  <a:pos x="1748" y="1299"/>
                </a:cxn>
                <a:cxn ang="0">
                  <a:pos x="1702" y="1052"/>
                </a:cxn>
                <a:cxn ang="0">
                  <a:pos x="1478" y="978"/>
                </a:cxn>
                <a:cxn ang="0">
                  <a:pos x="1478" y="882"/>
                </a:cxn>
                <a:cxn ang="0">
                  <a:pos x="1668" y="836"/>
                </a:cxn>
                <a:cxn ang="0">
                  <a:pos x="1685" y="655"/>
                </a:cxn>
                <a:cxn ang="0">
                  <a:pos x="1844" y="654"/>
                </a:cxn>
                <a:cxn ang="0">
                  <a:pos x="1926" y="534"/>
                </a:cxn>
                <a:cxn ang="0">
                  <a:pos x="2051" y="449"/>
                </a:cxn>
                <a:cxn ang="0">
                  <a:pos x="2029" y="339"/>
                </a:cxn>
                <a:cxn ang="0">
                  <a:pos x="1893" y="295"/>
                </a:cxn>
                <a:cxn ang="0">
                  <a:pos x="1758" y="289"/>
                </a:cxn>
                <a:cxn ang="0">
                  <a:pos x="1782" y="173"/>
                </a:cxn>
                <a:cxn ang="0">
                  <a:pos x="1674" y="0"/>
                </a:cxn>
                <a:cxn ang="0">
                  <a:pos x="1408" y="200"/>
                </a:cxn>
                <a:cxn ang="0">
                  <a:pos x="1433" y="346"/>
                </a:cxn>
                <a:cxn ang="0">
                  <a:pos x="1538" y="450"/>
                </a:cxn>
                <a:cxn ang="0">
                  <a:pos x="1416" y="463"/>
                </a:cxn>
                <a:cxn ang="0">
                  <a:pos x="1127" y="511"/>
                </a:cxn>
                <a:cxn ang="0">
                  <a:pos x="589" y="914"/>
                </a:cxn>
                <a:cxn ang="0">
                  <a:pos x="343" y="1324"/>
                </a:cxn>
                <a:cxn ang="0">
                  <a:pos x="242" y="1523"/>
                </a:cxn>
                <a:cxn ang="0">
                  <a:pos x="435" y="1568"/>
                </a:cxn>
                <a:cxn ang="0">
                  <a:pos x="515" y="1641"/>
                </a:cxn>
                <a:cxn ang="0">
                  <a:pos x="455" y="1732"/>
                </a:cxn>
                <a:cxn ang="0">
                  <a:pos x="291" y="1768"/>
                </a:cxn>
                <a:cxn ang="0">
                  <a:pos x="195" y="1769"/>
                </a:cxn>
                <a:cxn ang="0">
                  <a:pos x="151" y="1992"/>
                </a:cxn>
                <a:cxn ang="0">
                  <a:pos x="0" y="2185"/>
                </a:cxn>
                <a:cxn ang="0">
                  <a:pos x="83" y="2237"/>
                </a:cxn>
                <a:cxn ang="0">
                  <a:pos x="262" y="2364"/>
                </a:cxn>
                <a:cxn ang="0">
                  <a:pos x="223" y="2474"/>
                </a:cxn>
                <a:cxn ang="0">
                  <a:pos x="182" y="2611"/>
                </a:cxn>
                <a:cxn ang="0">
                  <a:pos x="131" y="2762"/>
                </a:cxn>
                <a:cxn ang="0">
                  <a:pos x="200" y="2829"/>
                </a:cxn>
                <a:cxn ang="0">
                  <a:pos x="311" y="2887"/>
                </a:cxn>
                <a:cxn ang="0">
                  <a:pos x="441" y="2914"/>
                </a:cxn>
                <a:cxn ang="0">
                  <a:pos x="548" y="2950"/>
                </a:cxn>
                <a:cxn ang="0">
                  <a:pos x="705" y="3010"/>
                </a:cxn>
                <a:cxn ang="0">
                  <a:pos x="837" y="2969"/>
                </a:cxn>
                <a:cxn ang="0">
                  <a:pos x="977" y="2890"/>
                </a:cxn>
                <a:cxn ang="0">
                  <a:pos x="1084" y="2799"/>
                </a:cxn>
              </a:cxnLst>
              <a:rect l="0" t="0" r="r" b="b"/>
              <a:pathLst>
                <a:path w="2313" h="3022">
                  <a:moveTo>
                    <a:pt x="1091" y="2799"/>
                  </a:moveTo>
                  <a:lnTo>
                    <a:pt x="1087" y="2786"/>
                  </a:lnTo>
                  <a:lnTo>
                    <a:pt x="1085" y="2773"/>
                  </a:lnTo>
                  <a:lnTo>
                    <a:pt x="1084" y="2759"/>
                  </a:lnTo>
                  <a:lnTo>
                    <a:pt x="1084" y="2746"/>
                  </a:lnTo>
                  <a:lnTo>
                    <a:pt x="1085" y="2730"/>
                  </a:lnTo>
                  <a:lnTo>
                    <a:pt x="1085" y="2717"/>
                  </a:lnTo>
                  <a:lnTo>
                    <a:pt x="1088" y="2706"/>
                  </a:lnTo>
                  <a:lnTo>
                    <a:pt x="1089" y="2698"/>
                  </a:lnTo>
                  <a:lnTo>
                    <a:pt x="1093" y="2690"/>
                  </a:lnTo>
                  <a:lnTo>
                    <a:pt x="1096" y="2685"/>
                  </a:lnTo>
                  <a:lnTo>
                    <a:pt x="1101" y="2681"/>
                  </a:lnTo>
                  <a:lnTo>
                    <a:pt x="1105" y="2677"/>
                  </a:lnTo>
                  <a:lnTo>
                    <a:pt x="1117" y="2671"/>
                  </a:lnTo>
                  <a:lnTo>
                    <a:pt x="1131" y="2667"/>
                  </a:lnTo>
                  <a:lnTo>
                    <a:pt x="1137" y="2663"/>
                  </a:lnTo>
                  <a:lnTo>
                    <a:pt x="1145" y="2659"/>
                  </a:lnTo>
                  <a:lnTo>
                    <a:pt x="1153" y="2655"/>
                  </a:lnTo>
                  <a:lnTo>
                    <a:pt x="1162" y="2649"/>
                  </a:lnTo>
                  <a:lnTo>
                    <a:pt x="1165" y="2647"/>
                  </a:lnTo>
                  <a:lnTo>
                    <a:pt x="1168" y="2643"/>
                  </a:lnTo>
                  <a:lnTo>
                    <a:pt x="1169" y="2641"/>
                  </a:lnTo>
                  <a:lnTo>
                    <a:pt x="1170" y="2637"/>
                  </a:lnTo>
                  <a:lnTo>
                    <a:pt x="1172" y="2630"/>
                  </a:lnTo>
                  <a:lnTo>
                    <a:pt x="1170" y="2621"/>
                  </a:lnTo>
                  <a:lnTo>
                    <a:pt x="1170" y="2613"/>
                  </a:lnTo>
                  <a:lnTo>
                    <a:pt x="1170" y="2605"/>
                  </a:lnTo>
                  <a:lnTo>
                    <a:pt x="1172" y="2597"/>
                  </a:lnTo>
                  <a:lnTo>
                    <a:pt x="1174" y="2589"/>
                  </a:lnTo>
                  <a:lnTo>
                    <a:pt x="1209" y="2561"/>
                  </a:lnTo>
                  <a:lnTo>
                    <a:pt x="1241" y="2537"/>
                  </a:lnTo>
                  <a:lnTo>
                    <a:pt x="1256" y="2525"/>
                  </a:lnTo>
                  <a:lnTo>
                    <a:pt x="1270" y="2512"/>
                  </a:lnTo>
                  <a:lnTo>
                    <a:pt x="1284" y="2497"/>
                  </a:lnTo>
                  <a:lnTo>
                    <a:pt x="1294" y="2481"/>
                  </a:lnTo>
                  <a:lnTo>
                    <a:pt x="1306" y="2465"/>
                  </a:lnTo>
                  <a:lnTo>
                    <a:pt x="1318" y="2449"/>
                  </a:lnTo>
                  <a:lnTo>
                    <a:pt x="1330" y="2436"/>
                  </a:lnTo>
                  <a:lnTo>
                    <a:pt x="1342" y="2422"/>
                  </a:lnTo>
                  <a:lnTo>
                    <a:pt x="1354" y="2410"/>
                  </a:lnTo>
                  <a:lnTo>
                    <a:pt x="1368" y="2400"/>
                  </a:lnTo>
                  <a:lnTo>
                    <a:pt x="1381" y="2389"/>
                  </a:lnTo>
                  <a:lnTo>
                    <a:pt x="1394" y="2380"/>
                  </a:lnTo>
                  <a:lnTo>
                    <a:pt x="1409" y="2372"/>
                  </a:lnTo>
                  <a:lnTo>
                    <a:pt x="1424" y="2364"/>
                  </a:lnTo>
                  <a:lnTo>
                    <a:pt x="1440" y="2356"/>
                  </a:lnTo>
                  <a:lnTo>
                    <a:pt x="1456" y="2349"/>
                  </a:lnTo>
                  <a:lnTo>
                    <a:pt x="1492" y="2336"/>
                  </a:lnTo>
                  <a:lnTo>
                    <a:pt x="1530" y="2324"/>
                  </a:lnTo>
                  <a:lnTo>
                    <a:pt x="1536" y="2322"/>
                  </a:lnTo>
                  <a:lnTo>
                    <a:pt x="1541" y="2320"/>
                  </a:lnTo>
                  <a:lnTo>
                    <a:pt x="1545" y="2317"/>
                  </a:lnTo>
                  <a:lnTo>
                    <a:pt x="1550" y="2313"/>
                  </a:lnTo>
                  <a:lnTo>
                    <a:pt x="1558" y="2305"/>
                  </a:lnTo>
                  <a:lnTo>
                    <a:pt x="1568" y="2294"/>
                  </a:lnTo>
                  <a:lnTo>
                    <a:pt x="1577" y="2285"/>
                  </a:lnTo>
                  <a:lnTo>
                    <a:pt x="1588" y="2277"/>
                  </a:lnTo>
                  <a:lnTo>
                    <a:pt x="1593" y="2274"/>
                  </a:lnTo>
                  <a:lnTo>
                    <a:pt x="1600" y="2272"/>
                  </a:lnTo>
                  <a:lnTo>
                    <a:pt x="1606" y="2270"/>
                  </a:lnTo>
                  <a:lnTo>
                    <a:pt x="1614" y="2270"/>
                  </a:lnTo>
                  <a:lnTo>
                    <a:pt x="1620" y="2270"/>
                  </a:lnTo>
                  <a:lnTo>
                    <a:pt x="1625" y="2272"/>
                  </a:lnTo>
                  <a:lnTo>
                    <a:pt x="1629" y="2274"/>
                  </a:lnTo>
                  <a:lnTo>
                    <a:pt x="1633" y="2277"/>
                  </a:lnTo>
                  <a:lnTo>
                    <a:pt x="1640" y="2286"/>
                  </a:lnTo>
                  <a:lnTo>
                    <a:pt x="1645" y="2297"/>
                  </a:lnTo>
                  <a:lnTo>
                    <a:pt x="1653" y="2325"/>
                  </a:lnTo>
                  <a:lnTo>
                    <a:pt x="1660" y="2357"/>
                  </a:lnTo>
                  <a:lnTo>
                    <a:pt x="1664" y="2373"/>
                  </a:lnTo>
                  <a:lnTo>
                    <a:pt x="1668" y="2389"/>
                  </a:lnTo>
                  <a:lnTo>
                    <a:pt x="1672" y="2404"/>
                  </a:lnTo>
                  <a:lnTo>
                    <a:pt x="1678" y="2417"/>
                  </a:lnTo>
                  <a:lnTo>
                    <a:pt x="1682" y="2424"/>
                  </a:lnTo>
                  <a:lnTo>
                    <a:pt x="1686" y="2429"/>
                  </a:lnTo>
                  <a:lnTo>
                    <a:pt x="1692" y="2433"/>
                  </a:lnTo>
                  <a:lnTo>
                    <a:pt x="1696" y="2437"/>
                  </a:lnTo>
                  <a:lnTo>
                    <a:pt x="1702" y="2441"/>
                  </a:lnTo>
                  <a:lnTo>
                    <a:pt x="1708" y="2442"/>
                  </a:lnTo>
                  <a:lnTo>
                    <a:pt x="1716" y="2444"/>
                  </a:lnTo>
                  <a:lnTo>
                    <a:pt x="1722" y="2445"/>
                  </a:lnTo>
                  <a:lnTo>
                    <a:pt x="1729" y="2444"/>
                  </a:lnTo>
                  <a:lnTo>
                    <a:pt x="1734" y="2442"/>
                  </a:lnTo>
                  <a:lnTo>
                    <a:pt x="1741" y="2441"/>
                  </a:lnTo>
                  <a:lnTo>
                    <a:pt x="1746" y="2438"/>
                  </a:lnTo>
                  <a:lnTo>
                    <a:pt x="1760" y="2430"/>
                  </a:lnTo>
                  <a:lnTo>
                    <a:pt x="1773" y="2422"/>
                  </a:lnTo>
                  <a:lnTo>
                    <a:pt x="1796" y="2404"/>
                  </a:lnTo>
                  <a:lnTo>
                    <a:pt x="1813" y="2390"/>
                  </a:lnTo>
                  <a:lnTo>
                    <a:pt x="1826" y="2385"/>
                  </a:lnTo>
                  <a:lnTo>
                    <a:pt x="1841" y="2380"/>
                  </a:lnTo>
                  <a:lnTo>
                    <a:pt x="1857" y="2377"/>
                  </a:lnTo>
                  <a:lnTo>
                    <a:pt x="1874" y="2374"/>
                  </a:lnTo>
                  <a:lnTo>
                    <a:pt x="1909" y="2370"/>
                  </a:lnTo>
                  <a:lnTo>
                    <a:pt x="1943" y="2366"/>
                  </a:lnTo>
                  <a:lnTo>
                    <a:pt x="1959" y="2364"/>
                  </a:lnTo>
                  <a:lnTo>
                    <a:pt x="1974" y="2358"/>
                  </a:lnTo>
                  <a:lnTo>
                    <a:pt x="1987" y="2353"/>
                  </a:lnTo>
                  <a:lnTo>
                    <a:pt x="1999" y="2345"/>
                  </a:lnTo>
                  <a:lnTo>
                    <a:pt x="2005" y="2340"/>
                  </a:lnTo>
                  <a:lnTo>
                    <a:pt x="2010" y="2334"/>
                  </a:lnTo>
                  <a:lnTo>
                    <a:pt x="2014" y="2329"/>
                  </a:lnTo>
                  <a:lnTo>
                    <a:pt x="2017" y="2322"/>
                  </a:lnTo>
                  <a:lnTo>
                    <a:pt x="2019" y="2314"/>
                  </a:lnTo>
                  <a:lnTo>
                    <a:pt x="2022" y="2306"/>
                  </a:lnTo>
                  <a:lnTo>
                    <a:pt x="2023" y="2298"/>
                  </a:lnTo>
                  <a:lnTo>
                    <a:pt x="2023" y="2288"/>
                  </a:lnTo>
                  <a:lnTo>
                    <a:pt x="2023" y="2269"/>
                  </a:lnTo>
                  <a:lnTo>
                    <a:pt x="2023" y="2253"/>
                  </a:lnTo>
                  <a:lnTo>
                    <a:pt x="2023" y="2241"/>
                  </a:lnTo>
                  <a:lnTo>
                    <a:pt x="2023" y="2228"/>
                  </a:lnTo>
                  <a:lnTo>
                    <a:pt x="2025" y="2204"/>
                  </a:lnTo>
                  <a:lnTo>
                    <a:pt x="2029" y="2182"/>
                  </a:lnTo>
                  <a:lnTo>
                    <a:pt x="2034" y="2161"/>
                  </a:lnTo>
                  <a:lnTo>
                    <a:pt x="2041" y="2142"/>
                  </a:lnTo>
                  <a:lnTo>
                    <a:pt x="2057" y="2104"/>
                  </a:lnTo>
                  <a:lnTo>
                    <a:pt x="2071" y="2065"/>
                  </a:lnTo>
                  <a:lnTo>
                    <a:pt x="2077" y="2030"/>
                  </a:lnTo>
                  <a:lnTo>
                    <a:pt x="2081" y="1997"/>
                  </a:lnTo>
                  <a:lnTo>
                    <a:pt x="2082" y="1982"/>
                  </a:lnTo>
                  <a:lnTo>
                    <a:pt x="2086" y="1967"/>
                  </a:lnTo>
                  <a:lnTo>
                    <a:pt x="2089" y="1960"/>
                  </a:lnTo>
                  <a:lnTo>
                    <a:pt x="2093" y="1953"/>
                  </a:lnTo>
                  <a:lnTo>
                    <a:pt x="2097" y="1945"/>
                  </a:lnTo>
                  <a:lnTo>
                    <a:pt x="2102" y="1939"/>
                  </a:lnTo>
                  <a:lnTo>
                    <a:pt x="2114" y="1948"/>
                  </a:lnTo>
                  <a:lnTo>
                    <a:pt x="2123" y="1956"/>
                  </a:lnTo>
                  <a:lnTo>
                    <a:pt x="2129" y="1959"/>
                  </a:lnTo>
                  <a:lnTo>
                    <a:pt x="2135" y="1961"/>
                  </a:lnTo>
                  <a:lnTo>
                    <a:pt x="2142" y="1963"/>
                  </a:lnTo>
                  <a:lnTo>
                    <a:pt x="2150" y="1963"/>
                  </a:lnTo>
                  <a:lnTo>
                    <a:pt x="2162" y="1961"/>
                  </a:lnTo>
                  <a:lnTo>
                    <a:pt x="2174" y="1959"/>
                  </a:lnTo>
                  <a:lnTo>
                    <a:pt x="2183" y="1953"/>
                  </a:lnTo>
                  <a:lnTo>
                    <a:pt x="2193" y="1948"/>
                  </a:lnTo>
                  <a:lnTo>
                    <a:pt x="2203" y="1943"/>
                  </a:lnTo>
                  <a:lnTo>
                    <a:pt x="2214" y="1937"/>
                  </a:lnTo>
                  <a:lnTo>
                    <a:pt x="2226" y="1935"/>
                  </a:lnTo>
                  <a:lnTo>
                    <a:pt x="2241" y="1933"/>
                  </a:lnTo>
                  <a:lnTo>
                    <a:pt x="2231" y="1896"/>
                  </a:lnTo>
                  <a:lnTo>
                    <a:pt x="2223" y="1857"/>
                  </a:lnTo>
                  <a:lnTo>
                    <a:pt x="2215" y="1817"/>
                  </a:lnTo>
                  <a:lnTo>
                    <a:pt x="2207" y="1777"/>
                  </a:lnTo>
                  <a:lnTo>
                    <a:pt x="2199" y="1736"/>
                  </a:lnTo>
                  <a:lnTo>
                    <a:pt x="2191" y="1693"/>
                  </a:lnTo>
                  <a:lnTo>
                    <a:pt x="2183" y="1651"/>
                  </a:lnTo>
                  <a:lnTo>
                    <a:pt x="2174" y="1608"/>
                  </a:lnTo>
                  <a:lnTo>
                    <a:pt x="2173" y="1603"/>
                  </a:lnTo>
                  <a:lnTo>
                    <a:pt x="2173" y="1597"/>
                  </a:lnTo>
                  <a:lnTo>
                    <a:pt x="2174" y="1592"/>
                  </a:lnTo>
                  <a:lnTo>
                    <a:pt x="2175" y="1587"/>
                  </a:lnTo>
                  <a:lnTo>
                    <a:pt x="2181" y="1576"/>
                  </a:lnTo>
                  <a:lnTo>
                    <a:pt x="2189" y="1565"/>
                  </a:lnTo>
                  <a:lnTo>
                    <a:pt x="2210" y="1543"/>
                  </a:lnTo>
                  <a:lnTo>
                    <a:pt x="2237" y="1519"/>
                  </a:lnTo>
                  <a:lnTo>
                    <a:pt x="2250" y="1507"/>
                  </a:lnTo>
                  <a:lnTo>
                    <a:pt x="2265" y="1493"/>
                  </a:lnTo>
                  <a:lnTo>
                    <a:pt x="2277" y="1480"/>
                  </a:lnTo>
                  <a:lnTo>
                    <a:pt x="2289" y="1465"/>
                  </a:lnTo>
                  <a:lnTo>
                    <a:pt x="2298" y="1451"/>
                  </a:lnTo>
                  <a:lnTo>
                    <a:pt x="2306" y="1436"/>
                  </a:lnTo>
                  <a:lnTo>
                    <a:pt x="2309" y="1428"/>
                  </a:lnTo>
                  <a:lnTo>
                    <a:pt x="2311" y="1420"/>
                  </a:lnTo>
                  <a:lnTo>
                    <a:pt x="2313" y="1411"/>
                  </a:lnTo>
                  <a:lnTo>
                    <a:pt x="2313" y="1403"/>
                  </a:lnTo>
                  <a:lnTo>
                    <a:pt x="2313" y="1392"/>
                  </a:lnTo>
                  <a:lnTo>
                    <a:pt x="2310" y="1382"/>
                  </a:lnTo>
                  <a:lnTo>
                    <a:pt x="2307" y="1371"/>
                  </a:lnTo>
                  <a:lnTo>
                    <a:pt x="2303" y="1360"/>
                  </a:lnTo>
                  <a:lnTo>
                    <a:pt x="2298" y="1351"/>
                  </a:lnTo>
                  <a:lnTo>
                    <a:pt x="2291" y="1340"/>
                  </a:lnTo>
                  <a:lnTo>
                    <a:pt x="2283" y="1331"/>
                  </a:lnTo>
                  <a:lnTo>
                    <a:pt x="2274" y="1322"/>
                  </a:lnTo>
                  <a:lnTo>
                    <a:pt x="2263" y="1314"/>
                  </a:lnTo>
                  <a:lnTo>
                    <a:pt x="2250" y="1307"/>
                  </a:lnTo>
                  <a:lnTo>
                    <a:pt x="2237" y="1300"/>
                  </a:lnTo>
                  <a:lnTo>
                    <a:pt x="2221" y="1296"/>
                  </a:lnTo>
                  <a:lnTo>
                    <a:pt x="2205" y="1294"/>
                  </a:lnTo>
                  <a:lnTo>
                    <a:pt x="2186" y="1292"/>
                  </a:lnTo>
                  <a:lnTo>
                    <a:pt x="2166" y="1292"/>
                  </a:lnTo>
                  <a:lnTo>
                    <a:pt x="2145" y="1295"/>
                  </a:lnTo>
                  <a:lnTo>
                    <a:pt x="2109" y="1300"/>
                  </a:lnTo>
                  <a:lnTo>
                    <a:pt x="2074" y="1303"/>
                  </a:lnTo>
                  <a:lnTo>
                    <a:pt x="2042" y="1304"/>
                  </a:lnTo>
                  <a:lnTo>
                    <a:pt x="2010" y="1304"/>
                  </a:lnTo>
                  <a:lnTo>
                    <a:pt x="1981" y="1303"/>
                  </a:lnTo>
                  <a:lnTo>
                    <a:pt x="1951" y="1303"/>
                  </a:lnTo>
                  <a:lnTo>
                    <a:pt x="1925" y="1303"/>
                  </a:lnTo>
                  <a:lnTo>
                    <a:pt x="1898" y="1306"/>
                  </a:lnTo>
                  <a:lnTo>
                    <a:pt x="1885" y="1307"/>
                  </a:lnTo>
                  <a:lnTo>
                    <a:pt x="1873" y="1310"/>
                  </a:lnTo>
                  <a:lnTo>
                    <a:pt x="1861" y="1312"/>
                  </a:lnTo>
                  <a:lnTo>
                    <a:pt x="1849" y="1316"/>
                  </a:lnTo>
                  <a:lnTo>
                    <a:pt x="1837" y="1320"/>
                  </a:lnTo>
                  <a:lnTo>
                    <a:pt x="1826" y="1326"/>
                  </a:lnTo>
                  <a:lnTo>
                    <a:pt x="1816" y="1332"/>
                  </a:lnTo>
                  <a:lnTo>
                    <a:pt x="1805" y="1340"/>
                  </a:lnTo>
                  <a:lnTo>
                    <a:pt x="1794" y="1350"/>
                  </a:lnTo>
                  <a:lnTo>
                    <a:pt x="1784" y="1359"/>
                  </a:lnTo>
                  <a:lnTo>
                    <a:pt x="1774" y="1371"/>
                  </a:lnTo>
                  <a:lnTo>
                    <a:pt x="1765" y="1384"/>
                  </a:lnTo>
                  <a:lnTo>
                    <a:pt x="1756" y="1397"/>
                  </a:lnTo>
                  <a:lnTo>
                    <a:pt x="1746" y="1413"/>
                  </a:lnTo>
                  <a:lnTo>
                    <a:pt x="1737" y="1432"/>
                  </a:lnTo>
                  <a:lnTo>
                    <a:pt x="1729" y="1451"/>
                  </a:lnTo>
                  <a:lnTo>
                    <a:pt x="1722" y="1459"/>
                  </a:lnTo>
                  <a:lnTo>
                    <a:pt x="1714" y="1465"/>
                  </a:lnTo>
                  <a:lnTo>
                    <a:pt x="1708" y="1471"/>
                  </a:lnTo>
                  <a:lnTo>
                    <a:pt x="1701" y="1475"/>
                  </a:lnTo>
                  <a:lnTo>
                    <a:pt x="1693" y="1479"/>
                  </a:lnTo>
                  <a:lnTo>
                    <a:pt x="1686" y="1483"/>
                  </a:lnTo>
                  <a:lnTo>
                    <a:pt x="1680" y="1484"/>
                  </a:lnTo>
                  <a:lnTo>
                    <a:pt x="1672" y="1485"/>
                  </a:lnTo>
                  <a:lnTo>
                    <a:pt x="1658" y="1487"/>
                  </a:lnTo>
                  <a:lnTo>
                    <a:pt x="1645" y="1485"/>
                  </a:lnTo>
                  <a:lnTo>
                    <a:pt x="1633" y="1483"/>
                  </a:lnTo>
                  <a:lnTo>
                    <a:pt x="1622" y="1476"/>
                  </a:lnTo>
                  <a:lnTo>
                    <a:pt x="1613" y="1469"/>
                  </a:lnTo>
                  <a:lnTo>
                    <a:pt x="1606" y="1461"/>
                  </a:lnTo>
                  <a:lnTo>
                    <a:pt x="1601" y="1452"/>
                  </a:lnTo>
                  <a:lnTo>
                    <a:pt x="1600" y="1443"/>
                  </a:lnTo>
                  <a:lnTo>
                    <a:pt x="1598" y="1437"/>
                  </a:lnTo>
                  <a:lnTo>
                    <a:pt x="1600" y="1432"/>
                  </a:lnTo>
                  <a:lnTo>
                    <a:pt x="1601" y="1427"/>
                  </a:lnTo>
                  <a:lnTo>
                    <a:pt x="1602" y="1423"/>
                  </a:lnTo>
                  <a:lnTo>
                    <a:pt x="1606" y="1417"/>
                  </a:lnTo>
                  <a:lnTo>
                    <a:pt x="1610" y="1412"/>
                  </a:lnTo>
                  <a:lnTo>
                    <a:pt x="1614" y="1408"/>
                  </a:lnTo>
                  <a:lnTo>
                    <a:pt x="1620" y="1403"/>
                  </a:lnTo>
                  <a:lnTo>
                    <a:pt x="1673" y="1366"/>
                  </a:lnTo>
                  <a:lnTo>
                    <a:pt x="1721" y="1331"/>
                  </a:lnTo>
                  <a:lnTo>
                    <a:pt x="1732" y="1322"/>
                  </a:lnTo>
                  <a:lnTo>
                    <a:pt x="1741" y="1311"/>
                  </a:lnTo>
                  <a:lnTo>
                    <a:pt x="1748" y="1299"/>
                  </a:lnTo>
                  <a:lnTo>
                    <a:pt x="1754" y="1286"/>
                  </a:lnTo>
                  <a:lnTo>
                    <a:pt x="1758" y="1270"/>
                  </a:lnTo>
                  <a:lnTo>
                    <a:pt x="1761" y="1252"/>
                  </a:lnTo>
                  <a:lnTo>
                    <a:pt x="1761" y="1232"/>
                  </a:lnTo>
                  <a:lnTo>
                    <a:pt x="1758" y="1211"/>
                  </a:lnTo>
                  <a:lnTo>
                    <a:pt x="1754" y="1183"/>
                  </a:lnTo>
                  <a:lnTo>
                    <a:pt x="1750" y="1158"/>
                  </a:lnTo>
                  <a:lnTo>
                    <a:pt x="1744" y="1134"/>
                  </a:lnTo>
                  <a:lnTo>
                    <a:pt x="1737" y="1114"/>
                  </a:lnTo>
                  <a:lnTo>
                    <a:pt x="1729" y="1095"/>
                  </a:lnTo>
                  <a:lnTo>
                    <a:pt x="1721" y="1079"/>
                  </a:lnTo>
                  <a:lnTo>
                    <a:pt x="1712" y="1066"/>
                  </a:lnTo>
                  <a:lnTo>
                    <a:pt x="1702" y="1052"/>
                  </a:lnTo>
                  <a:lnTo>
                    <a:pt x="1692" y="1042"/>
                  </a:lnTo>
                  <a:lnTo>
                    <a:pt x="1681" y="1032"/>
                  </a:lnTo>
                  <a:lnTo>
                    <a:pt x="1669" y="1026"/>
                  </a:lnTo>
                  <a:lnTo>
                    <a:pt x="1658" y="1019"/>
                  </a:lnTo>
                  <a:lnTo>
                    <a:pt x="1646" y="1014"/>
                  </a:lnTo>
                  <a:lnTo>
                    <a:pt x="1633" y="1008"/>
                  </a:lnTo>
                  <a:lnTo>
                    <a:pt x="1621" y="1006"/>
                  </a:lnTo>
                  <a:lnTo>
                    <a:pt x="1608" y="1003"/>
                  </a:lnTo>
                  <a:lnTo>
                    <a:pt x="1557" y="995"/>
                  </a:lnTo>
                  <a:lnTo>
                    <a:pt x="1510" y="988"/>
                  </a:lnTo>
                  <a:lnTo>
                    <a:pt x="1498" y="986"/>
                  </a:lnTo>
                  <a:lnTo>
                    <a:pt x="1488" y="982"/>
                  </a:lnTo>
                  <a:lnTo>
                    <a:pt x="1478" y="978"/>
                  </a:lnTo>
                  <a:lnTo>
                    <a:pt x="1469" y="972"/>
                  </a:lnTo>
                  <a:lnTo>
                    <a:pt x="1461" y="967"/>
                  </a:lnTo>
                  <a:lnTo>
                    <a:pt x="1453" y="959"/>
                  </a:lnTo>
                  <a:lnTo>
                    <a:pt x="1446" y="950"/>
                  </a:lnTo>
                  <a:lnTo>
                    <a:pt x="1440" y="939"/>
                  </a:lnTo>
                  <a:lnTo>
                    <a:pt x="1440" y="927"/>
                  </a:lnTo>
                  <a:lnTo>
                    <a:pt x="1441" y="916"/>
                  </a:lnTo>
                  <a:lnTo>
                    <a:pt x="1444" y="907"/>
                  </a:lnTo>
                  <a:lnTo>
                    <a:pt x="1448" y="899"/>
                  </a:lnTo>
                  <a:lnTo>
                    <a:pt x="1454" y="892"/>
                  </a:lnTo>
                  <a:lnTo>
                    <a:pt x="1461" y="888"/>
                  </a:lnTo>
                  <a:lnTo>
                    <a:pt x="1469" y="884"/>
                  </a:lnTo>
                  <a:lnTo>
                    <a:pt x="1478" y="882"/>
                  </a:lnTo>
                  <a:lnTo>
                    <a:pt x="1498" y="878"/>
                  </a:lnTo>
                  <a:lnTo>
                    <a:pt x="1521" y="878"/>
                  </a:lnTo>
                  <a:lnTo>
                    <a:pt x="1545" y="878"/>
                  </a:lnTo>
                  <a:lnTo>
                    <a:pt x="1569" y="878"/>
                  </a:lnTo>
                  <a:lnTo>
                    <a:pt x="1593" y="878"/>
                  </a:lnTo>
                  <a:lnTo>
                    <a:pt x="1616" y="875"/>
                  </a:lnTo>
                  <a:lnTo>
                    <a:pt x="1625" y="874"/>
                  </a:lnTo>
                  <a:lnTo>
                    <a:pt x="1636" y="870"/>
                  </a:lnTo>
                  <a:lnTo>
                    <a:pt x="1644" y="866"/>
                  </a:lnTo>
                  <a:lnTo>
                    <a:pt x="1652" y="860"/>
                  </a:lnTo>
                  <a:lnTo>
                    <a:pt x="1658" y="854"/>
                  </a:lnTo>
                  <a:lnTo>
                    <a:pt x="1664" y="846"/>
                  </a:lnTo>
                  <a:lnTo>
                    <a:pt x="1668" y="836"/>
                  </a:lnTo>
                  <a:lnTo>
                    <a:pt x="1670" y="824"/>
                  </a:lnTo>
                  <a:lnTo>
                    <a:pt x="1670" y="811"/>
                  </a:lnTo>
                  <a:lnTo>
                    <a:pt x="1670" y="797"/>
                  </a:lnTo>
                  <a:lnTo>
                    <a:pt x="1668" y="778"/>
                  </a:lnTo>
                  <a:lnTo>
                    <a:pt x="1662" y="759"/>
                  </a:lnTo>
                  <a:lnTo>
                    <a:pt x="1660" y="735"/>
                  </a:lnTo>
                  <a:lnTo>
                    <a:pt x="1660" y="717"/>
                  </a:lnTo>
                  <a:lnTo>
                    <a:pt x="1661" y="699"/>
                  </a:lnTo>
                  <a:lnTo>
                    <a:pt x="1664" y="686"/>
                  </a:lnTo>
                  <a:lnTo>
                    <a:pt x="1666" y="675"/>
                  </a:lnTo>
                  <a:lnTo>
                    <a:pt x="1672" y="667"/>
                  </a:lnTo>
                  <a:lnTo>
                    <a:pt x="1678" y="661"/>
                  </a:lnTo>
                  <a:lnTo>
                    <a:pt x="1685" y="655"/>
                  </a:lnTo>
                  <a:lnTo>
                    <a:pt x="1693" y="653"/>
                  </a:lnTo>
                  <a:lnTo>
                    <a:pt x="1701" y="651"/>
                  </a:lnTo>
                  <a:lnTo>
                    <a:pt x="1709" y="651"/>
                  </a:lnTo>
                  <a:lnTo>
                    <a:pt x="1718" y="651"/>
                  </a:lnTo>
                  <a:lnTo>
                    <a:pt x="1736" y="654"/>
                  </a:lnTo>
                  <a:lnTo>
                    <a:pt x="1753" y="657"/>
                  </a:lnTo>
                  <a:lnTo>
                    <a:pt x="1770" y="659"/>
                  </a:lnTo>
                  <a:lnTo>
                    <a:pt x="1786" y="661"/>
                  </a:lnTo>
                  <a:lnTo>
                    <a:pt x="1800" y="661"/>
                  </a:lnTo>
                  <a:lnTo>
                    <a:pt x="1813" y="661"/>
                  </a:lnTo>
                  <a:lnTo>
                    <a:pt x="1825" y="659"/>
                  </a:lnTo>
                  <a:lnTo>
                    <a:pt x="1834" y="657"/>
                  </a:lnTo>
                  <a:lnTo>
                    <a:pt x="1844" y="654"/>
                  </a:lnTo>
                  <a:lnTo>
                    <a:pt x="1852" y="651"/>
                  </a:lnTo>
                  <a:lnTo>
                    <a:pt x="1860" y="647"/>
                  </a:lnTo>
                  <a:lnTo>
                    <a:pt x="1866" y="643"/>
                  </a:lnTo>
                  <a:lnTo>
                    <a:pt x="1872" y="638"/>
                  </a:lnTo>
                  <a:lnTo>
                    <a:pt x="1876" y="633"/>
                  </a:lnTo>
                  <a:lnTo>
                    <a:pt x="1884" y="622"/>
                  </a:lnTo>
                  <a:lnTo>
                    <a:pt x="1889" y="609"/>
                  </a:lnTo>
                  <a:lnTo>
                    <a:pt x="1897" y="583"/>
                  </a:lnTo>
                  <a:lnTo>
                    <a:pt x="1905" y="559"/>
                  </a:lnTo>
                  <a:lnTo>
                    <a:pt x="1910" y="549"/>
                  </a:lnTo>
                  <a:lnTo>
                    <a:pt x="1917" y="541"/>
                  </a:lnTo>
                  <a:lnTo>
                    <a:pt x="1921" y="537"/>
                  </a:lnTo>
                  <a:lnTo>
                    <a:pt x="1926" y="534"/>
                  </a:lnTo>
                  <a:lnTo>
                    <a:pt x="1933" y="531"/>
                  </a:lnTo>
                  <a:lnTo>
                    <a:pt x="1939" y="530"/>
                  </a:lnTo>
                  <a:lnTo>
                    <a:pt x="1950" y="527"/>
                  </a:lnTo>
                  <a:lnTo>
                    <a:pt x="1961" y="525"/>
                  </a:lnTo>
                  <a:lnTo>
                    <a:pt x="1971" y="522"/>
                  </a:lnTo>
                  <a:lnTo>
                    <a:pt x="1981" y="517"/>
                  </a:lnTo>
                  <a:lnTo>
                    <a:pt x="1990" y="513"/>
                  </a:lnTo>
                  <a:lnTo>
                    <a:pt x="1999" y="507"/>
                  </a:lnTo>
                  <a:lnTo>
                    <a:pt x="2007" y="501"/>
                  </a:lnTo>
                  <a:lnTo>
                    <a:pt x="2015" y="494"/>
                  </a:lnTo>
                  <a:lnTo>
                    <a:pt x="2029" y="481"/>
                  </a:lnTo>
                  <a:lnTo>
                    <a:pt x="2042" y="465"/>
                  </a:lnTo>
                  <a:lnTo>
                    <a:pt x="2051" y="449"/>
                  </a:lnTo>
                  <a:lnTo>
                    <a:pt x="2061" y="433"/>
                  </a:lnTo>
                  <a:lnTo>
                    <a:pt x="2067" y="415"/>
                  </a:lnTo>
                  <a:lnTo>
                    <a:pt x="2071" y="398"/>
                  </a:lnTo>
                  <a:lnTo>
                    <a:pt x="2075" y="382"/>
                  </a:lnTo>
                  <a:lnTo>
                    <a:pt x="2075" y="367"/>
                  </a:lnTo>
                  <a:lnTo>
                    <a:pt x="2074" y="354"/>
                  </a:lnTo>
                  <a:lnTo>
                    <a:pt x="2071" y="342"/>
                  </a:lnTo>
                  <a:lnTo>
                    <a:pt x="2070" y="337"/>
                  </a:lnTo>
                  <a:lnTo>
                    <a:pt x="2066" y="333"/>
                  </a:lnTo>
                  <a:lnTo>
                    <a:pt x="2063" y="329"/>
                  </a:lnTo>
                  <a:lnTo>
                    <a:pt x="2059" y="325"/>
                  </a:lnTo>
                  <a:lnTo>
                    <a:pt x="2043" y="333"/>
                  </a:lnTo>
                  <a:lnTo>
                    <a:pt x="2029" y="339"/>
                  </a:lnTo>
                  <a:lnTo>
                    <a:pt x="2014" y="345"/>
                  </a:lnTo>
                  <a:lnTo>
                    <a:pt x="2002" y="347"/>
                  </a:lnTo>
                  <a:lnTo>
                    <a:pt x="1990" y="349"/>
                  </a:lnTo>
                  <a:lnTo>
                    <a:pt x="1979" y="350"/>
                  </a:lnTo>
                  <a:lnTo>
                    <a:pt x="1969" y="349"/>
                  </a:lnTo>
                  <a:lnTo>
                    <a:pt x="1961" y="346"/>
                  </a:lnTo>
                  <a:lnTo>
                    <a:pt x="1951" y="343"/>
                  </a:lnTo>
                  <a:lnTo>
                    <a:pt x="1943" y="341"/>
                  </a:lnTo>
                  <a:lnTo>
                    <a:pt x="1937" y="335"/>
                  </a:lnTo>
                  <a:lnTo>
                    <a:pt x="1930" y="331"/>
                  </a:lnTo>
                  <a:lnTo>
                    <a:pt x="1917" y="319"/>
                  </a:lnTo>
                  <a:lnTo>
                    <a:pt x="1905" y="307"/>
                  </a:lnTo>
                  <a:lnTo>
                    <a:pt x="1893" y="295"/>
                  </a:lnTo>
                  <a:lnTo>
                    <a:pt x="1881" y="283"/>
                  </a:lnTo>
                  <a:lnTo>
                    <a:pt x="1874" y="278"/>
                  </a:lnTo>
                  <a:lnTo>
                    <a:pt x="1868" y="274"/>
                  </a:lnTo>
                  <a:lnTo>
                    <a:pt x="1860" y="270"/>
                  </a:lnTo>
                  <a:lnTo>
                    <a:pt x="1852" y="267"/>
                  </a:lnTo>
                  <a:lnTo>
                    <a:pt x="1844" y="266"/>
                  </a:lnTo>
                  <a:lnTo>
                    <a:pt x="1834" y="265"/>
                  </a:lnTo>
                  <a:lnTo>
                    <a:pt x="1824" y="265"/>
                  </a:lnTo>
                  <a:lnTo>
                    <a:pt x="1813" y="267"/>
                  </a:lnTo>
                  <a:lnTo>
                    <a:pt x="1801" y="270"/>
                  </a:lnTo>
                  <a:lnTo>
                    <a:pt x="1788" y="274"/>
                  </a:lnTo>
                  <a:lnTo>
                    <a:pt x="1774" y="281"/>
                  </a:lnTo>
                  <a:lnTo>
                    <a:pt x="1758" y="289"/>
                  </a:lnTo>
                  <a:lnTo>
                    <a:pt x="1752" y="293"/>
                  </a:lnTo>
                  <a:lnTo>
                    <a:pt x="1745" y="295"/>
                  </a:lnTo>
                  <a:lnTo>
                    <a:pt x="1741" y="297"/>
                  </a:lnTo>
                  <a:lnTo>
                    <a:pt x="1740" y="295"/>
                  </a:lnTo>
                  <a:lnTo>
                    <a:pt x="1738" y="294"/>
                  </a:lnTo>
                  <a:lnTo>
                    <a:pt x="1738" y="291"/>
                  </a:lnTo>
                  <a:lnTo>
                    <a:pt x="1740" y="287"/>
                  </a:lnTo>
                  <a:lnTo>
                    <a:pt x="1741" y="282"/>
                  </a:lnTo>
                  <a:lnTo>
                    <a:pt x="1756" y="253"/>
                  </a:lnTo>
                  <a:lnTo>
                    <a:pt x="1773" y="210"/>
                  </a:lnTo>
                  <a:lnTo>
                    <a:pt x="1777" y="198"/>
                  </a:lnTo>
                  <a:lnTo>
                    <a:pt x="1780" y="186"/>
                  </a:lnTo>
                  <a:lnTo>
                    <a:pt x="1782" y="173"/>
                  </a:lnTo>
                  <a:lnTo>
                    <a:pt x="1784" y="160"/>
                  </a:lnTo>
                  <a:lnTo>
                    <a:pt x="1784" y="146"/>
                  </a:lnTo>
                  <a:lnTo>
                    <a:pt x="1782" y="133"/>
                  </a:lnTo>
                  <a:lnTo>
                    <a:pt x="1781" y="120"/>
                  </a:lnTo>
                  <a:lnTo>
                    <a:pt x="1777" y="105"/>
                  </a:lnTo>
                  <a:lnTo>
                    <a:pt x="1772" y="92"/>
                  </a:lnTo>
                  <a:lnTo>
                    <a:pt x="1764" y="78"/>
                  </a:lnTo>
                  <a:lnTo>
                    <a:pt x="1754" y="65"/>
                  </a:lnTo>
                  <a:lnTo>
                    <a:pt x="1744" y="50"/>
                  </a:lnTo>
                  <a:lnTo>
                    <a:pt x="1730" y="38"/>
                  </a:lnTo>
                  <a:lnTo>
                    <a:pt x="1714" y="25"/>
                  </a:lnTo>
                  <a:lnTo>
                    <a:pt x="1696" y="12"/>
                  </a:lnTo>
                  <a:lnTo>
                    <a:pt x="1674" y="0"/>
                  </a:lnTo>
                  <a:lnTo>
                    <a:pt x="1618" y="32"/>
                  </a:lnTo>
                  <a:lnTo>
                    <a:pt x="1565" y="61"/>
                  </a:lnTo>
                  <a:lnTo>
                    <a:pt x="1540" y="76"/>
                  </a:lnTo>
                  <a:lnTo>
                    <a:pt x="1514" y="90"/>
                  </a:lnTo>
                  <a:lnTo>
                    <a:pt x="1492" y="106"/>
                  </a:lnTo>
                  <a:lnTo>
                    <a:pt x="1470" y="124"/>
                  </a:lnTo>
                  <a:lnTo>
                    <a:pt x="1460" y="133"/>
                  </a:lnTo>
                  <a:lnTo>
                    <a:pt x="1449" y="142"/>
                  </a:lnTo>
                  <a:lnTo>
                    <a:pt x="1441" y="153"/>
                  </a:lnTo>
                  <a:lnTo>
                    <a:pt x="1432" y="164"/>
                  </a:lnTo>
                  <a:lnTo>
                    <a:pt x="1424" y="176"/>
                  </a:lnTo>
                  <a:lnTo>
                    <a:pt x="1416" y="188"/>
                  </a:lnTo>
                  <a:lnTo>
                    <a:pt x="1408" y="200"/>
                  </a:lnTo>
                  <a:lnTo>
                    <a:pt x="1402" y="214"/>
                  </a:lnTo>
                  <a:lnTo>
                    <a:pt x="1396" y="227"/>
                  </a:lnTo>
                  <a:lnTo>
                    <a:pt x="1390" y="243"/>
                  </a:lnTo>
                  <a:lnTo>
                    <a:pt x="1386" y="259"/>
                  </a:lnTo>
                  <a:lnTo>
                    <a:pt x="1382" y="277"/>
                  </a:lnTo>
                  <a:lnTo>
                    <a:pt x="1378" y="294"/>
                  </a:lnTo>
                  <a:lnTo>
                    <a:pt x="1376" y="314"/>
                  </a:lnTo>
                  <a:lnTo>
                    <a:pt x="1374" y="334"/>
                  </a:lnTo>
                  <a:lnTo>
                    <a:pt x="1373" y="355"/>
                  </a:lnTo>
                  <a:lnTo>
                    <a:pt x="1378" y="354"/>
                  </a:lnTo>
                  <a:lnTo>
                    <a:pt x="1390" y="351"/>
                  </a:lnTo>
                  <a:lnTo>
                    <a:pt x="1409" y="349"/>
                  </a:lnTo>
                  <a:lnTo>
                    <a:pt x="1433" y="346"/>
                  </a:lnTo>
                  <a:lnTo>
                    <a:pt x="1446" y="346"/>
                  </a:lnTo>
                  <a:lnTo>
                    <a:pt x="1461" y="346"/>
                  </a:lnTo>
                  <a:lnTo>
                    <a:pt x="1476" y="347"/>
                  </a:lnTo>
                  <a:lnTo>
                    <a:pt x="1490" y="350"/>
                  </a:lnTo>
                  <a:lnTo>
                    <a:pt x="1505" y="354"/>
                  </a:lnTo>
                  <a:lnTo>
                    <a:pt x="1520" y="359"/>
                  </a:lnTo>
                  <a:lnTo>
                    <a:pt x="1534" y="365"/>
                  </a:lnTo>
                  <a:lnTo>
                    <a:pt x="1548" y="374"/>
                  </a:lnTo>
                  <a:lnTo>
                    <a:pt x="1546" y="402"/>
                  </a:lnTo>
                  <a:lnTo>
                    <a:pt x="1544" y="425"/>
                  </a:lnTo>
                  <a:lnTo>
                    <a:pt x="1542" y="434"/>
                  </a:lnTo>
                  <a:lnTo>
                    <a:pt x="1541" y="443"/>
                  </a:lnTo>
                  <a:lnTo>
                    <a:pt x="1538" y="450"/>
                  </a:lnTo>
                  <a:lnTo>
                    <a:pt x="1534" y="457"/>
                  </a:lnTo>
                  <a:lnTo>
                    <a:pt x="1530" y="462"/>
                  </a:lnTo>
                  <a:lnTo>
                    <a:pt x="1525" y="466"/>
                  </a:lnTo>
                  <a:lnTo>
                    <a:pt x="1517" y="469"/>
                  </a:lnTo>
                  <a:lnTo>
                    <a:pt x="1509" y="471"/>
                  </a:lnTo>
                  <a:lnTo>
                    <a:pt x="1498" y="474"/>
                  </a:lnTo>
                  <a:lnTo>
                    <a:pt x="1488" y="475"/>
                  </a:lnTo>
                  <a:lnTo>
                    <a:pt x="1473" y="475"/>
                  </a:lnTo>
                  <a:lnTo>
                    <a:pt x="1457" y="475"/>
                  </a:lnTo>
                  <a:lnTo>
                    <a:pt x="1448" y="475"/>
                  </a:lnTo>
                  <a:lnTo>
                    <a:pt x="1437" y="473"/>
                  </a:lnTo>
                  <a:lnTo>
                    <a:pt x="1426" y="467"/>
                  </a:lnTo>
                  <a:lnTo>
                    <a:pt x="1416" y="463"/>
                  </a:lnTo>
                  <a:lnTo>
                    <a:pt x="1390" y="451"/>
                  </a:lnTo>
                  <a:lnTo>
                    <a:pt x="1362" y="439"/>
                  </a:lnTo>
                  <a:lnTo>
                    <a:pt x="1346" y="434"/>
                  </a:lnTo>
                  <a:lnTo>
                    <a:pt x="1329" y="430"/>
                  </a:lnTo>
                  <a:lnTo>
                    <a:pt x="1310" y="427"/>
                  </a:lnTo>
                  <a:lnTo>
                    <a:pt x="1290" y="427"/>
                  </a:lnTo>
                  <a:lnTo>
                    <a:pt x="1268" y="429"/>
                  </a:lnTo>
                  <a:lnTo>
                    <a:pt x="1242" y="434"/>
                  </a:lnTo>
                  <a:lnTo>
                    <a:pt x="1216" y="441"/>
                  </a:lnTo>
                  <a:lnTo>
                    <a:pt x="1186" y="451"/>
                  </a:lnTo>
                  <a:lnTo>
                    <a:pt x="1168" y="473"/>
                  </a:lnTo>
                  <a:lnTo>
                    <a:pt x="1148" y="491"/>
                  </a:lnTo>
                  <a:lnTo>
                    <a:pt x="1127" y="511"/>
                  </a:lnTo>
                  <a:lnTo>
                    <a:pt x="1107" y="529"/>
                  </a:lnTo>
                  <a:lnTo>
                    <a:pt x="1064" y="563"/>
                  </a:lnTo>
                  <a:lnTo>
                    <a:pt x="1020" y="597"/>
                  </a:lnTo>
                  <a:lnTo>
                    <a:pt x="932" y="658"/>
                  </a:lnTo>
                  <a:lnTo>
                    <a:pt x="841" y="717"/>
                  </a:lnTo>
                  <a:lnTo>
                    <a:pt x="796" y="746"/>
                  </a:lnTo>
                  <a:lnTo>
                    <a:pt x="752" y="777"/>
                  </a:lnTo>
                  <a:lnTo>
                    <a:pt x="709" y="809"/>
                  </a:lnTo>
                  <a:lnTo>
                    <a:pt x="668" y="842"/>
                  </a:lnTo>
                  <a:lnTo>
                    <a:pt x="647" y="859"/>
                  </a:lnTo>
                  <a:lnTo>
                    <a:pt x="627" y="876"/>
                  </a:lnTo>
                  <a:lnTo>
                    <a:pt x="608" y="895"/>
                  </a:lnTo>
                  <a:lnTo>
                    <a:pt x="589" y="914"/>
                  </a:lnTo>
                  <a:lnTo>
                    <a:pt x="571" y="934"/>
                  </a:lnTo>
                  <a:lnTo>
                    <a:pt x="552" y="955"/>
                  </a:lnTo>
                  <a:lnTo>
                    <a:pt x="535" y="976"/>
                  </a:lnTo>
                  <a:lnTo>
                    <a:pt x="519" y="999"/>
                  </a:lnTo>
                  <a:lnTo>
                    <a:pt x="500" y="1028"/>
                  </a:lnTo>
                  <a:lnTo>
                    <a:pt x="483" y="1062"/>
                  </a:lnTo>
                  <a:lnTo>
                    <a:pt x="465" y="1096"/>
                  </a:lnTo>
                  <a:lnTo>
                    <a:pt x="448" y="1134"/>
                  </a:lnTo>
                  <a:lnTo>
                    <a:pt x="431" y="1171"/>
                  </a:lnTo>
                  <a:lnTo>
                    <a:pt x="412" y="1208"/>
                  </a:lnTo>
                  <a:lnTo>
                    <a:pt x="393" y="1243"/>
                  </a:lnTo>
                  <a:lnTo>
                    <a:pt x="373" y="1276"/>
                  </a:lnTo>
                  <a:lnTo>
                    <a:pt x="343" y="1324"/>
                  </a:lnTo>
                  <a:lnTo>
                    <a:pt x="314" y="1368"/>
                  </a:lnTo>
                  <a:lnTo>
                    <a:pt x="287" y="1407"/>
                  </a:lnTo>
                  <a:lnTo>
                    <a:pt x="264" y="1440"/>
                  </a:lnTo>
                  <a:lnTo>
                    <a:pt x="255" y="1456"/>
                  </a:lnTo>
                  <a:lnTo>
                    <a:pt x="248" y="1469"/>
                  </a:lnTo>
                  <a:lnTo>
                    <a:pt x="242" y="1483"/>
                  </a:lnTo>
                  <a:lnTo>
                    <a:pt x="238" y="1493"/>
                  </a:lnTo>
                  <a:lnTo>
                    <a:pt x="235" y="1503"/>
                  </a:lnTo>
                  <a:lnTo>
                    <a:pt x="235" y="1511"/>
                  </a:lnTo>
                  <a:lnTo>
                    <a:pt x="236" y="1515"/>
                  </a:lnTo>
                  <a:lnTo>
                    <a:pt x="238" y="1519"/>
                  </a:lnTo>
                  <a:lnTo>
                    <a:pt x="239" y="1521"/>
                  </a:lnTo>
                  <a:lnTo>
                    <a:pt x="242" y="1523"/>
                  </a:lnTo>
                  <a:lnTo>
                    <a:pt x="259" y="1536"/>
                  </a:lnTo>
                  <a:lnTo>
                    <a:pt x="274" y="1545"/>
                  </a:lnTo>
                  <a:lnTo>
                    <a:pt x="287" y="1553"/>
                  </a:lnTo>
                  <a:lnTo>
                    <a:pt x="299" y="1560"/>
                  </a:lnTo>
                  <a:lnTo>
                    <a:pt x="310" y="1564"/>
                  </a:lnTo>
                  <a:lnTo>
                    <a:pt x="319" y="1567"/>
                  </a:lnTo>
                  <a:lnTo>
                    <a:pt x="328" y="1569"/>
                  </a:lnTo>
                  <a:lnTo>
                    <a:pt x="338" y="1569"/>
                  </a:lnTo>
                  <a:lnTo>
                    <a:pt x="355" y="1571"/>
                  </a:lnTo>
                  <a:lnTo>
                    <a:pt x="375" y="1569"/>
                  </a:lnTo>
                  <a:lnTo>
                    <a:pt x="397" y="1569"/>
                  </a:lnTo>
                  <a:lnTo>
                    <a:pt x="428" y="1572"/>
                  </a:lnTo>
                  <a:lnTo>
                    <a:pt x="435" y="1568"/>
                  </a:lnTo>
                  <a:lnTo>
                    <a:pt x="441" y="1565"/>
                  </a:lnTo>
                  <a:lnTo>
                    <a:pt x="448" y="1564"/>
                  </a:lnTo>
                  <a:lnTo>
                    <a:pt x="455" y="1563"/>
                  </a:lnTo>
                  <a:lnTo>
                    <a:pt x="460" y="1564"/>
                  </a:lnTo>
                  <a:lnTo>
                    <a:pt x="465" y="1564"/>
                  </a:lnTo>
                  <a:lnTo>
                    <a:pt x="471" y="1565"/>
                  </a:lnTo>
                  <a:lnTo>
                    <a:pt x="475" y="1568"/>
                  </a:lnTo>
                  <a:lnTo>
                    <a:pt x="484" y="1573"/>
                  </a:lnTo>
                  <a:lnTo>
                    <a:pt x="491" y="1581"/>
                  </a:lnTo>
                  <a:lnTo>
                    <a:pt x="497" y="1591"/>
                  </a:lnTo>
                  <a:lnTo>
                    <a:pt x="503" y="1601"/>
                  </a:lnTo>
                  <a:lnTo>
                    <a:pt x="511" y="1623"/>
                  </a:lnTo>
                  <a:lnTo>
                    <a:pt x="515" y="1641"/>
                  </a:lnTo>
                  <a:lnTo>
                    <a:pt x="517" y="1656"/>
                  </a:lnTo>
                  <a:lnTo>
                    <a:pt x="519" y="1661"/>
                  </a:lnTo>
                  <a:lnTo>
                    <a:pt x="512" y="1668"/>
                  </a:lnTo>
                  <a:lnTo>
                    <a:pt x="508" y="1675"/>
                  </a:lnTo>
                  <a:lnTo>
                    <a:pt x="505" y="1683"/>
                  </a:lnTo>
                  <a:lnTo>
                    <a:pt x="503" y="1689"/>
                  </a:lnTo>
                  <a:lnTo>
                    <a:pt x="499" y="1705"/>
                  </a:lnTo>
                  <a:lnTo>
                    <a:pt x="495" y="1719"/>
                  </a:lnTo>
                  <a:lnTo>
                    <a:pt x="491" y="1724"/>
                  </a:lnTo>
                  <a:lnTo>
                    <a:pt x="484" y="1728"/>
                  </a:lnTo>
                  <a:lnTo>
                    <a:pt x="477" y="1731"/>
                  </a:lnTo>
                  <a:lnTo>
                    <a:pt x="468" y="1732"/>
                  </a:lnTo>
                  <a:lnTo>
                    <a:pt x="455" y="1732"/>
                  </a:lnTo>
                  <a:lnTo>
                    <a:pt x="440" y="1729"/>
                  </a:lnTo>
                  <a:lnTo>
                    <a:pt x="420" y="1724"/>
                  </a:lnTo>
                  <a:lnTo>
                    <a:pt x="397" y="1716"/>
                  </a:lnTo>
                  <a:lnTo>
                    <a:pt x="388" y="1729"/>
                  </a:lnTo>
                  <a:lnTo>
                    <a:pt x="379" y="1741"/>
                  </a:lnTo>
                  <a:lnTo>
                    <a:pt x="370" y="1751"/>
                  </a:lnTo>
                  <a:lnTo>
                    <a:pt x="359" y="1757"/>
                  </a:lnTo>
                  <a:lnTo>
                    <a:pt x="348" y="1764"/>
                  </a:lnTo>
                  <a:lnTo>
                    <a:pt x="338" y="1768"/>
                  </a:lnTo>
                  <a:lnTo>
                    <a:pt x="326" y="1769"/>
                  </a:lnTo>
                  <a:lnTo>
                    <a:pt x="315" y="1771"/>
                  </a:lnTo>
                  <a:lnTo>
                    <a:pt x="303" y="1769"/>
                  </a:lnTo>
                  <a:lnTo>
                    <a:pt x="291" y="1768"/>
                  </a:lnTo>
                  <a:lnTo>
                    <a:pt x="279" y="1764"/>
                  </a:lnTo>
                  <a:lnTo>
                    <a:pt x="267" y="1760"/>
                  </a:lnTo>
                  <a:lnTo>
                    <a:pt x="242" y="1749"/>
                  </a:lnTo>
                  <a:lnTo>
                    <a:pt x="218" y="1735"/>
                  </a:lnTo>
                  <a:lnTo>
                    <a:pt x="208" y="1731"/>
                  </a:lnTo>
                  <a:lnTo>
                    <a:pt x="202" y="1729"/>
                  </a:lnTo>
                  <a:lnTo>
                    <a:pt x="199" y="1731"/>
                  </a:lnTo>
                  <a:lnTo>
                    <a:pt x="198" y="1732"/>
                  </a:lnTo>
                  <a:lnTo>
                    <a:pt x="196" y="1735"/>
                  </a:lnTo>
                  <a:lnTo>
                    <a:pt x="195" y="1739"/>
                  </a:lnTo>
                  <a:lnTo>
                    <a:pt x="194" y="1747"/>
                  </a:lnTo>
                  <a:lnTo>
                    <a:pt x="194" y="1756"/>
                  </a:lnTo>
                  <a:lnTo>
                    <a:pt x="195" y="1769"/>
                  </a:lnTo>
                  <a:lnTo>
                    <a:pt x="196" y="1783"/>
                  </a:lnTo>
                  <a:lnTo>
                    <a:pt x="200" y="1816"/>
                  </a:lnTo>
                  <a:lnTo>
                    <a:pt x="202" y="1852"/>
                  </a:lnTo>
                  <a:lnTo>
                    <a:pt x="202" y="1871"/>
                  </a:lnTo>
                  <a:lnTo>
                    <a:pt x="200" y="1889"/>
                  </a:lnTo>
                  <a:lnTo>
                    <a:pt x="198" y="1908"/>
                  </a:lnTo>
                  <a:lnTo>
                    <a:pt x="194" y="1927"/>
                  </a:lnTo>
                  <a:lnTo>
                    <a:pt x="190" y="1936"/>
                  </a:lnTo>
                  <a:lnTo>
                    <a:pt x="186" y="1945"/>
                  </a:lnTo>
                  <a:lnTo>
                    <a:pt x="182" y="1953"/>
                  </a:lnTo>
                  <a:lnTo>
                    <a:pt x="176" y="1963"/>
                  </a:lnTo>
                  <a:lnTo>
                    <a:pt x="164" y="1977"/>
                  </a:lnTo>
                  <a:lnTo>
                    <a:pt x="151" y="1992"/>
                  </a:lnTo>
                  <a:lnTo>
                    <a:pt x="119" y="2020"/>
                  </a:lnTo>
                  <a:lnTo>
                    <a:pt x="86" y="2046"/>
                  </a:lnTo>
                  <a:lnTo>
                    <a:pt x="70" y="2061"/>
                  </a:lnTo>
                  <a:lnTo>
                    <a:pt x="54" y="2076"/>
                  </a:lnTo>
                  <a:lnTo>
                    <a:pt x="39" y="2092"/>
                  </a:lnTo>
                  <a:lnTo>
                    <a:pt x="27" y="2109"/>
                  </a:lnTo>
                  <a:lnTo>
                    <a:pt x="20" y="2118"/>
                  </a:lnTo>
                  <a:lnTo>
                    <a:pt x="16" y="2128"/>
                  </a:lnTo>
                  <a:lnTo>
                    <a:pt x="11" y="2138"/>
                  </a:lnTo>
                  <a:lnTo>
                    <a:pt x="7" y="2149"/>
                  </a:lnTo>
                  <a:lnTo>
                    <a:pt x="4" y="2160"/>
                  </a:lnTo>
                  <a:lnTo>
                    <a:pt x="2" y="2172"/>
                  </a:lnTo>
                  <a:lnTo>
                    <a:pt x="0" y="2185"/>
                  </a:lnTo>
                  <a:lnTo>
                    <a:pt x="0" y="2198"/>
                  </a:lnTo>
                  <a:lnTo>
                    <a:pt x="0" y="2204"/>
                  </a:lnTo>
                  <a:lnTo>
                    <a:pt x="2" y="2210"/>
                  </a:lnTo>
                  <a:lnTo>
                    <a:pt x="3" y="2218"/>
                  </a:lnTo>
                  <a:lnTo>
                    <a:pt x="7" y="2228"/>
                  </a:lnTo>
                  <a:lnTo>
                    <a:pt x="16" y="2226"/>
                  </a:lnTo>
                  <a:lnTo>
                    <a:pt x="26" y="2226"/>
                  </a:lnTo>
                  <a:lnTo>
                    <a:pt x="32" y="2228"/>
                  </a:lnTo>
                  <a:lnTo>
                    <a:pt x="38" y="2229"/>
                  </a:lnTo>
                  <a:lnTo>
                    <a:pt x="46" y="2232"/>
                  </a:lnTo>
                  <a:lnTo>
                    <a:pt x="55" y="2234"/>
                  </a:lnTo>
                  <a:lnTo>
                    <a:pt x="68" y="2234"/>
                  </a:lnTo>
                  <a:lnTo>
                    <a:pt x="83" y="2237"/>
                  </a:lnTo>
                  <a:lnTo>
                    <a:pt x="99" y="2241"/>
                  </a:lnTo>
                  <a:lnTo>
                    <a:pt x="115" y="2248"/>
                  </a:lnTo>
                  <a:lnTo>
                    <a:pt x="132" y="2254"/>
                  </a:lnTo>
                  <a:lnTo>
                    <a:pt x="151" y="2262"/>
                  </a:lnTo>
                  <a:lnTo>
                    <a:pt x="168" y="2272"/>
                  </a:lnTo>
                  <a:lnTo>
                    <a:pt x="184" y="2282"/>
                  </a:lnTo>
                  <a:lnTo>
                    <a:pt x="202" y="2293"/>
                  </a:lnTo>
                  <a:lnTo>
                    <a:pt x="216" y="2305"/>
                  </a:lnTo>
                  <a:lnTo>
                    <a:pt x="230" y="2317"/>
                  </a:lnTo>
                  <a:lnTo>
                    <a:pt x="242" y="2330"/>
                  </a:lnTo>
                  <a:lnTo>
                    <a:pt x="252" y="2344"/>
                  </a:lnTo>
                  <a:lnTo>
                    <a:pt x="259" y="2357"/>
                  </a:lnTo>
                  <a:lnTo>
                    <a:pt x="262" y="2364"/>
                  </a:lnTo>
                  <a:lnTo>
                    <a:pt x="264" y="2370"/>
                  </a:lnTo>
                  <a:lnTo>
                    <a:pt x="266" y="2377"/>
                  </a:lnTo>
                  <a:lnTo>
                    <a:pt x="266" y="2385"/>
                  </a:lnTo>
                  <a:lnTo>
                    <a:pt x="266" y="2396"/>
                  </a:lnTo>
                  <a:lnTo>
                    <a:pt x="264" y="2405"/>
                  </a:lnTo>
                  <a:lnTo>
                    <a:pt x="262" y="2413"/>
                  </a:lnTo>
                  <a:lnTo>
                    <a:pt x="260" y="2420"/>
                  </a:lnTo>
                  <a:lnTo>
                    <a:pt x="254" y="2432"/>
                  </a:lnTo>
                  <a:lnTo>
                    <a:pt x="247" y="2441"/>
                  </a:lnTo>
                  <a:lnTo>
                    <a:pt x="239" y="2449"/>
                  </a:lnTo>
                  <a:lnTo>
                    <a:pt x="232" y="2457"/>
                  </a:lnTo>
                  <a:lnTo>
                    <a:pt x="227" y="2465"/>
                  </a:lnTo>
                  <a:lnTo>
                    <a:pt x="223" y="2474"/>
                  </a:lnTo>
                  <a:lnTo>
                    <a:pt x="220" y="2484"/>
                  </a:lnTo>
                  <a:lnTo>
                    <a:pt x="219" y="2492"/>
                  </a:lnTo>
                  <a:lnTo>
                    <a:pt x="219" y="2500"/>
                  </a:lnTo>
                  <a:lnTo>
                    <a:pt x="222" y="2508"/>
                  </a:lnTo>
                  <a:lnTo>
                    <a:pt x="223" y="2516"/>
                  </a:lnTo>
                  <a:lnTo>
                    <a:pt x="224" y="2524"/>
                  </a:lnTo>
                  <a:lnTo>
                    <a:pt x="224" y="2532"/>
                  </a:lnTo>
                  <a:lnTo>
                    <a:pt x="223" y="2541"/>
                  </a:lnTo>
                  <a:lnTo>
                    <a:pt x="218" y="2554"/>
                  </a:lnTo>
                  <a:lnTo>
                    <a:pt x="212" y="2566"/>
                  </a:lnTo>
                  <a:lnTo>
                    <a:pt x="206" y="2578"/>
                  </a:lnTo>
                  <a:lnTo>
                    <a:pt x="198" y="2590"/>
                  </a:lnTo>
                  <a:lnTo>
                    <a:pt x="182" y="2611"/>
                  </a:lnTo>
                  <a:lnTo>
                    <a:pt x="166" y="2633"/>
                  </a:lnTo>
                  <a:lnTo>
                    <a:pt x="159" y="2643"/>
                  </a:lnTo>
                  <a:lnTo>
                    <a:pt x="151" y="2654"/>
                  </a:lnTo>
                  <a:lnTo>
                    <a:pt x="144" y="2666"/>
                  </a:lnTo>
                  <a:lnTo>
                    <a:pt x="139" y="2678"/>
                  </a:lnTo>
                  <a:lnTo>
                    <a:pt x="134" y="2690"/>
                  </a:lnTo>
                  <a:lnTo>
                    <a:pt x="130" y="2703"/>
                  </a:lnTo>
                  <a:lnTo>
                    <a:pt x="128" y="2718"/>
                  </a:lnTo>
                  <a:lnTo>
                    <a:pt x="127" y="2734"/>
                  </a:lnTo>
                  <a:lnTo>
                    <a:pt x="127" y="2742"/>
                  </a:lnTo>
                  <a:lnTo>
                    <a:pt x="128" y="2750"/>
                  </a:lnTo>
                  <a:lnTo>
                    <a:pt x="130" y="2757"/>
                  </a:lnTo>
                  <a:lnTo>
                    <a:pt x="131" y="2762"/>
                  </a:lnTo>
                  <a:lnTo>
                    <a:pt x="134" y="2767"/>
                  </a:lnTo>
                  <a:lnTo>
                    <a:pt x="136" y="2771"/>
                  </a:lnTo>
                  <a:lnTo>
                    <a:pt x="140" y="2775"/>
                  </a:lnTo>
                  <a:lnTo>
                    <a:pt x="144" y="2778"/>
                  </a:lnTo>
                  <a:lnTo>
                    <a:pt x="154" y="2782"/>
                  </a:lnTo>
                  <a:lnTo>
                    <a:pt x="166" y="2783"/>
                  </a:lnTo>
                  <a:lnTo>
                    <a:pt x="178" y="2783"/>
                  </a:lnTo>
                  <a:lnTo>
                    <a:pt x="194" y="2782"/>
                  </a:lnTo>
                  <a:lnTo>
                    <a:pt x="196" y="2790"/>
                  </a:lnTo>
                  <a:lnTo>
                    <a:pt x="199" y="2799"/>
                  </a:lnTo>
                  <a:lnTo>
                    <a:pt x="200" y="2806"/>
                  </a:lnTo>
                  <a:lnTo>
                    <a:pt x="200" y="2814"/>
                  </a:lnTo>
                  <a:lnTo>
                    <a:pt x="200" y="2829"/>
                  </a:lnTo>
                  <a:lnTo>
                    <a:pt x="199" y="2842"/>
                  </a:lnTo>
                  <a:lnTo>
                    <a:pt x="200" y="2846"/>
                  </a:lnTo>
                  <a:lnTo>
                    <a:pt x="202" y="2849"/>
                  </a:lnTo>
                  <a:lnTo>
                    <a:pt x="203" y="2853"/>
                  </a:lnTo>
                  <a:lnTo>
                    <a:pt x="207" y="2857"/>
                  </a:lnTo>
                  <a:lnTo>
                    <a:pt x="215" y="2865"/>
                  </a:lnTo>
                  <a:lnTo>
                    <a:pt x="227" y="2873"/>
                  </a:lnTo>
                  <a:lnTo>
                    <a:pt x="240" y="2879"/>
                  </a:lnTo>
                  <a:lnTo>
                    <a:pt x="255" y="2885"/>
                  </a:lnTo>
                  <a:lnTo>
                    <a:pt x="272" y="2889"/>
                  </a:lnTo>
                  <a:lnTo>
                    <a:pt x="290" y="2890"/>
                  </a:lnTo>
                  <a:lnTo>
                    <a:pt x="300" y="2890"/>
                  </a:lnTo>
                  <a:lnTo>
                    <a:pt x="311" y="2887"/>
                  </a:lnTo>
                  <a:lnTo>
                    <a:pt x="322" y="2885"/>
                  </a:lnTo>
                  <a:lnTo>
                    <a:pt x="332" y="2881"/>
                  </a:lnTo>
                  <a:lnTo>
                    <a:pt x="342" y="2878"/>
                  </a:lnTo>
                  <a:lnTo>
                    <a:pt x="352" y="2875"/>
                  </a:lnTo>
                  <a:lnTo>
                    <a:pt x="363" y="2873"/>
                  </a:lnTo>
                  <a:lnTo>
                    <a:pt x="373" y="2873"/>
                  </a:lnTo>
                  <a:lnTo>
                    <a:pt x="391" y="2873"/>
                  </a:lnTo>
                  <a:lnTo>
                    <a:pt x="404" y="2877"/>
                  </a:lnTo>
                  <a:lnTo>
                    <a:pt x="415" y="2882"/>
                  </a:lnTo>
                  <a:lnTo>
                    <a:pt x="424" y="2889"/>
                  </a:lnTo>
                  <a:lnTo>
                    <a:pt x="431" y="2895"/>
                  </a:lnTo>
                  <a:lnTo>
                    <a:pt x="436" y="2905"/>
                  </a:lnTo>
                  <a:lnTo>
                    <a:pt x="441" y="2914"/>
                  </a:lnTo>
                  <a:lnTo>
                    <a:pt x="445" y="2925"/>
                  </a:lnTo>
                  <a:lnTo>
                    <a:pt x="452" y="2943"/>
                  </a:lnTo>
                  <a:lnTo>
                    <a:pt x="461" y="2961"/>
                  </a:lnTo>
                  <a:lnTo>
                    <a:pt x="467" y="2969"/>
                  </a:lnTo>
                  <a:lnTo>
                    <a:pt x="473" y="2974"/>
                  </a:lnTo>
                  <a:lnTo>
                    <a:pt x="483" y="2978"/>
                  </a:lnTo>
                  <a:lnTo>
                    <a:pt x="495" y="2981"/>
                  </a:lnTo>
                  <a:lnTo>
                    <a:pt x="504" y="2978"/>
                  </a:lnTo>
                  <a:lnTo>
                    <a:pt x="512" y="2975"/>
                  </a:lnTo>
                  <a:lnTo>
                    <a:pt x="519" y="2971"/>
                  </a:lnTo>
                  <a:lnTo>
                    <a:pt x="524" y="2967"/>
                  </a:lnTo>
                  <a:lnTo>
                    <a:pt x="533" y="2959"/>
                  </a:lnTo>
                  <a:lnTo>
                    <a:pt x="548" y="2950"/>
                  </a:lnTo>
                  <a:lnTo>
                    <a:pt x="569" y="2971"/>
                  </a:lnTo>
                  <a:lnTo>
                    <a:pt x="591" y="2995"/>
                  </a:lnTo>
                  <a:lnTo>
                    <a:pt x="603" y="3006"/>
                  </a:lnTo>
                  <a:lnTo>
                    <a:pt x="616" y="3015"/>
                  </a:lnTo>
                  <a:lnTo>
                    <a:pt x="624" y="3018"/>
                  </a:lnTo>
                  <a:lnTo>
                    <a:pt x="632" y="3021"/>
                  </a:lnTo>
                  <a:lnTo>
                    <a:pt x="641" y="3022"/>
                  </a:lnTo>
                  <a:lnTo>
                    <a:pt x="651" y="3022"/>
                  </a:lnTo>
                  <a:lnTo>
                    <a:pt x="663" y="3022"/>
                  </a:lnTo>
                  <a:lnTo>
                    <a:pt x="673" y="3021"/>
                  </a:lnTo>
                  <a:lnTo>
                    <a:pt x="683" y="3019"/>
                  </a:lnTo>
                  <a:lnTo>
                    <a:pt x="691" y="3017"/>
                  </a:lnTo>
                  <a:lnTo>
                    <a:pt x="705" y="3010"/>
                  </a:lnTo>
                  <a:lnTo>
                    <a:pt x="717" y="3002"/>
                  </a:lnTo>
                  <a:lnTo>
                    <a:pt x="728" y="2994"/>
                  </a:lnTo>
                  <a:lnTo>
                    <a:pt x="739" y="2985"/>
                  </a:lnTo>
                  <a:lnTo>
                    <a:pt x="751" y="2975"/>
                  </a:lnTo>
                  <a:lnTo>
                    <a:pt x="765" y="2969"/>
                  </a:lnTo>
                  <a:lnTo>
                    <a:pt x="773" y="2967"/>
                  </a:lnTo>
                  <a:lnTo>
                    <a:pt x="783" y="2967"/>
                  </a:lnTo>
                  <a:lnTo>
                    <a:pt x="791" y="2967"/>
                  </a:lnTo>
                  <a:lnTo>
                    <a:pt x="799" y="2969"/>
                  </a:lnTo>
                  <a:lnTo>
                    <a:pt x="808" y="2970"/>
                  </a:lnTo>
                  <a:lnTo>
                    <a:pt x="817" y="2970"/>
                  </a:lnTo>
                  <a:lnTo>
                    <a:pt x="827" y="2970"/>
                  </a:lnTo>
                  <a:lnTo>
                    <a:pt x="837" y="2969"/>
                  </a:lnTo>
                  <a:lnTo>
                    <a:pt x="843" y="2967"/>
                  </a:lnTo>
                  <a:lnTo>
                    <a:pt x="847" y="2966"/>
                  </a:lnTo>
                  <a:lnTo>
                    <a:pt x="852" y="2963"/>
                  </a:lnTo>
                  <a:lnTo>
                    <a:pt x="859" y="2961"/>
                  </a:lnTo>
                  <a:lnTo>
                    <a:pt x="869" y="2953"/>
                  </a:lnTo>
                  <a:lnTo>
                    <a:pt x="881" y="2943"/>
                  </a:lnTo>
                  <a:lnTo>
                    <a:pt x="901" y="2925"/>
                  </a:lnTo>
                  <a:lnTo>
                    <a:pt x="916" y="2914"/>
                  </a:lnTo>
                  <a:lnTo>
                    <a:pt x="927" y="2907"/>
                  </a:lnTo>
                  <a:lnTo>
                    <a:pt x="937" y="2902"/>
                  </a:lnTo>
                  <a:lnTo>
                    <a:pt x="948" y="2897"/>
                  </a:lnTo>
                  <a:lnTo>
                    <a:pt x="959" y="2894"/>
                  </a:lnTo>
                  <a:lnTo>
                    <a:pt x="977" y="2890"/>
                  </a:lnTo>
                  <a:lnTo>
                    <a:pt x="996" y="2886"/>
                  </a:lnTo>
                  <a:lnTo>
                    <a:pt x="1015" y="2883"/>
                  </a:lnTo>
                  <a:lnTo>
                    <a:pt x="1033" y="2878"/>
                  </a:lnTo>
                  <a:lnTo>
                    <a:pt x="1043" y="2874"/>
                  </a:lnTo>
                  <a:lnTo>
                    <a:pt x="1052" y="2869"/>
                  </a:lnTo>
                  <a:lnTo>
                    <a:pt x="1063" y="2862"/>
                  </a:lnTo>
                  <a:lnTo>
                    <a:pt x="1072" y="2854"/>
                  </a:lnTo>
                  <a:lnTo>
                    <a:pt x="1079" y="2850"/>
                  </a:lnTo>
                  <a:lnTo>
                    <a:pt x="1081" y="2845"/>
                  </a:lnTo>
                  <a:lnTo>
                    <a:pt x="1084" y="2839"/>
                  </a:lnTo>
                  <a:lnTo>
                    <a:pt x="1085" y="2834"/>
                  </a:lnTo>
                  <a:lnTo>
                    <a:pt x="1085" y="2819"/>
                  </a:lnTo>
                  <a:lnTo>
                    <a:pt x="1084" y="2799"/>
                  </a:lnTo>
                  <a:lnTo>
                    <a:pt x="1091" y="279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2" name="Freeform 128"/>
            <p:cNvSpPr>
              <a:spLocks/>
            </p:cNvSpPr>
            <p:nvPr/>
          </p:nvSpPr>
          <p:spPr bwMode="auto">
            <a:xfrm>
              <a:off x="7512372" y="2051050"/>
              <a:ext cx="747713" cy="1389062"/>
            </a:xfrm>
            <a:custGeom>
              <a:avLst/>
              <a:gdLst/>
              <a:ahLst/>
              <a:cxnLst>
                <a:cxn ang="0">
                  <a:pos x="1465" y="2713"/>
                </a:cxn>
                <a:cxn ang="0">
                  <a:pos x="1460" y="2561"/>
                </a:cxn>
                <a:cxn ang="0">
                  <a:pos x="1424" y="2391"/>
                </a:cxn>
                <a:cxn ang="0">
                  <a:pos x="1440" y="2259"/>
                </a:cxn>
                <a:cxn ang="0">
                  <a:pos x="1358" y="2071"/>
                </a:cxn>
                <a:cxn ang="0">
                  <a:pos x="1434" y="1990"/>
                </a:cxn>
                <a:cxn ang="0">
                  <a:pos x="1538" y="1824"/>
                </a:cxn>
                <a:cxn ang="0">
                  <a:pos x="1512" y="1745"/>
                </a:cxn>
                <a:cxn ang="0">
                  <a:pos x="1468" y="1709"/>
                </a:cxn>
                <a:cxn ang="0">
                  <a:pos x="1414" y="1781"/>
                </a:cxn>
                <a:cxn ang="0">
                  <a:pos x="1426" y="1863"/>
                </a:cxn>
                <a:cxn ang="0">
                  <a:pos x="1345" y="1826"/>
                </a:cxn>
                <a:cxn ang="0">
                  <a:pos x="1110" y="1471"/>
                </a:cxn>
                <a:cxn ang="0">
                  <a:pos x="1045" y="1343"/>
                </a:cxn>
                <a:cxn ang="0">
                  <a:pos x="1141" y="1294"/>
                </a:cxn>
                <a:cxn ang="0">
                  <a:pos x="1109" y="1217"/>
                </a:cxn>
                <a:cxn ang="0">
                  <a:pos x="1114" y="1054"/>
                </a:cxn>
                <a:cxn ang="0">
                  <a:pos x="1205" y="1144"/>
                </a:cxn>
                <a:cxn ang="0">
                  <a:pos x="1240" y="1125"/>
                </a:cxn>
                <a:cxn ang="0">
                  <a:pos x="1148" y="972"/>
                </a:cxn>
                <a:cxn ang="0">
                  <a:pos x="1164" y="816"/>
                </a:cxn>
                <a:cxn ang="0">
                  <a:pos x="1264" y="708"/>
                </a:cxn>
                <a:cxn ang="0">
                  <a:pos x="1413" y="688"/>
                </a:cxn>
                <a:cxn ang="0">
                  <a:pos x="1329" y="523"/>
                </a:cxn>
                <a:cxn ang="0">
                  <a:pos x="1182" y="65"/>
                </a:cxn>
                <a:cxn ang="0">
                  <a:pos x="1069" y="30"/>
                </a:cxn>
                <a:cxn ang="0">
                  <a:pos x="1008" y="27"/>
                </a:cxn>
                <a:cxn ang="0">
                  <a:pos x="948" y="249"/>
                </a:cxn>
                <a:cxn ang="0">
                  <a:pos x="938" y="381"/>
                </a:cxn>
                <a:cxn ang="0">
                  <a:pos x="862" y="433"/>
                </a:cxn>
                <a:cxn ang="0">
                  <a:pos x="679" y="497"/>
                </a:cxn>
                <a:cxn ang="0">
                  <a:pos x="615" y="504"/>
                </a:cxn>
                <a:cxn ang="0">
                  <a:pos x="572" y="392"/>
                </a:cxn>
                <a:cxn ang="0">
                  <a:pos x="519" y="339"/>
                </a:cxn>
                <a:cxn ang="0">
                  <a:pos x="416" y="403"/>
                </a:cxn>
                <a:cxn ang="0">
                  <a:pos x="261" y="489"/>
                </a:cxn>
                <a:cxn ang="0">
                  <a:pos x="128" y="628"/>
                </a:cxn>
                <a:cxn ang="0">
                  <a:pos x="87" y="710"/>
                </a:cxn>
                <a:cxn ang="0">
                  <a:pos x="20" y="748"/>
                </a:cxn>
                <a:cxn ang="0">
                  <a:pos x="2" y="842"/>
                </a:cxn>
                <a:cxn ang="0">
                  <a:pos x="72" y="870"/>
                </a:cxn>
                <a:cxn ang="0">
                  <a:pos x="105" y="957"/>
                </a:cxn>
                <a:cxn ang="0">
                  <a:pos x="153" y="992"/>
                </a:cxn>
                <a:cxn ang="0">
                  <a:pos x="319" y="1144"/>
                </a:cxn>
                <a:cxn ang="0">
                  <a:pos x="464" y="1189"/>
                </a:cxn>
                <a:cxn ang="0">
                  <a:pos x="504" y="1287"/>
                </a:cxn>
                <a:cxn ang="0">
                  <a:pos x="552" y="1270"/>
                </a:cxn>
                <a:cxn ang="0">
                  <a:pos x="603" y="1305"/>
                </a:cxn>
                <a:cxn ang="0">
                  <a:pos x="604" y="1202"/>
                </a:cxn>
                <a:cxn ang="0">
                  <a:pos x="473" y="1070"/>
                </a:cxn>
                <a:cxn ang="0">
                  <a:pos x="556" y="924"/>
                </a:cxn>
                <a:cxn ang="0">
                  <a:pos x="601" y="926"/>
                </a:cxn>
                <a:cxn ang="0">
                  <a:pos x="596" y="1088"/>
                </a:cxn>
                <a:cxn ang="0">
                  <a:pos x="728" y="1205"/>
                </a:cxn>
                <a:cxn ang="0">
                  <a:pos x="838" y="1341"/>
                </a:cxn>
                <a:cxn ang="0">
                  <a:pos x="880" y="1669"/>
                </a:cxn>
                <a:cxn ang="0">
                  <a:pos x="1020" y="2042"/>
                </a:cxn>
                <a:cxn ang="0">
                  <a:pos x="1068" y="2272"/>
                </a:cxn>
                <a:cxn ang="0">
                  <a:pos x="1038" y="2417"/>
                </a:cxn>
                <a:cxn ang="0">
                  <a:pos x="1120" y="2504"/>
                </a:cxn>
                <a:cxn ang="0">
                  <a:pos x="1166" y="2631"/>
                </a:cxn>
                <a:cxn ang="0">
                  <a:pos x="1234" y="2777"/>
                </a:cxn>
              </a:cxnLst>
              <a:rect l="0" t="0" r="r" b="b"/>
              <a:pathLst>
                <a:path w="1545" h="2865">
                  <a:moveTo>
                    <a:pt x="1352" y="2848"/>
                  </a:moveTo>
                  <a:lnTo>
                    <a:pt x="1370" y="2832"/>
                  </a:lnTo>
                  <a:lnTo>
                    <a:pt x="1390" y="2812"/>
                  </a:lnTo>
                  <a:lnTo>
                    <a:pt x="1410" y="2791"/>
                  </a:lnTo>
                  <a:lnTo>
                    <a:pt x="1432" y="2765"/>
                  </a:lnTo>
                  <a:lnTo>
                    <a:pt x="1441" y="2753"/>
                  </a:lnTo>
                  <a:lnTo>
                    <a:pt x="1450" y="2740"/>
                  </a:lnTo>
                  <a:lnTo>
                    <a:pt x="1458" y="2727"/>
                  </a:lnTo>
                  <a:lnTo>
                    <a:pt x="1465" y="2713"/>
                  </a:lnTo>
                  <a:lnTo>
                    <a:pt x="1470" y="2700"/>
                  </a:lnTo>
                  <a:lnTo>
                    <a:pt x="1474" y="2687"/>
                  </a:lnTo>
                  <a:lnTo>
                    <a:pt x="1478" y="2673"/>
                  </a:lnTo>
                  <a:lnTo>
                    <a:pt x="1478" y="2661"/>
                  </a:lnTo>
                  <a:lnTo>
                    <a:pt x="1478" y="2641"/>
                  </a:lnTo>
                  <a:lnTo>
                    <a:pt x="1476" y="2623"/>
                  </a:lnTo>
                  <a:lnTo>
                    <a:pt x="1473" y="2607"/>
                  </a:lnTo>
                  <a:lnTo>
                    <a:pt x="1469" y="2591"/>
                  </a:lnTo>
                  <a:lnTo>
                    <a:pt x="1460" y="2561"/>
                  </a:lnTo>
                  <a:lnTo>
                    <a:pt x="1449" y="2533"/>
                  </a:lnTo>
                  <a:lnTo>
                    <a:pt x="1437" y="2508"/>
                  </a:lnTo>
                  <a:lnTo>
                    <a:pt x="1428" y="2480"/>
                  </a:lnTo>
                  <a:lnTo>
                    <a:pt x="1424" y="2467"/>
                  </a:lnTo>
                  <a:lnTo>
                    <a:pt x="1421" y="2452"/>
                  </a:lnTo>
                  <a:lnTo>
                    <a:pt x="1420" y="2436"/>
                  </a:lnTo>
                  <a:lnTo>
                    <a:pt x="1418" y="2420"/>
                  </a:lnTo>
                  <a:lnTo>
                    <a:pt x="1420" y="2405"/>
                  </a:lnTo>
                  <a:lnTo>
                    <a:pt x="1424" y="2391"/>
                  </a:lnTo>
                  <a:lnTo>
                    <a:pt x="1428" y="2376"/>
                  </a:lnTo>
                  <a:lnTo>
                    <a:pt x="1433" y="2363"/>
                  </a:lnTo>
                  <a:lnTo>
                    <a:pt x="1440" y="2348"/>
                  </a:lnTo>
                  <a:lnTo>
                    <a:pt x="1444" y="2334"/>
                  </a:lnTo>
                  <a:lnTo>
                    <a:pt x="1448" y="2318"/>
                  </a:lnTo>
                  <a:lnTo>
                    <a:pt x="1449" y="2300"/>
                  </a:lnTo>
                  <a:lnTo>
                    <a:pt x="1448" y="2287"/>
                  </a:lnTo>
                  <a:lnTo>
                    <a:pt x="1445" y="2272"/>
                  </a:lnTo>
                  <a:lnTo>
                    <a:pt x="1440" y="2259"/>
                  </a:lnTo>
                  <a:lnTo>
                    <a:pt x="1434" y="2246"/>
                  </a:lnTo>
                  <a:lnTo>
                    <a:pt x="1420" y="2219"/>
                  </a:lnTo>
                  <a:lnTo>
                    <a:pt x="1404" y="2192"/>
                  </a:lnTo>
                  <a:lnTo>
                    <a:pt x="1386" y="2164"/>
                  </a:lnTo>
                  <a:lnTo>
                    <a:pt x="1373" y="2135"/>
                  </a:lnTo>
                  <a:lnTo>
                    <a:pt x="1366" y="2119"/>
                  </a:lnTo>
                  <a:lnTo>
                    <a:pt x="1362" y="2104"/>
                  </a:lnTo>
                  <a:lnTo>
                    <a:pt x="1360" y="2087"/>
                  </a:lnTo>
                  <a:lnTo>
                    <a:pt x="1358" y="2071"/>
                  </a:lnTo>
                  <a:lnTo>
                    <a:pt x="1360" y="2062"/>
                  </a:lnTo>
                  <a:lnTo>
                    <a:pt x="1361" y="2052"/>
                  </a:lnTo>
                  <a:lnTo>
                    <a:pt x="1365" y="2044"/>
                  </a:lnTo>
                  <a:lnTo>
                    <a:pt x="1370" y="2036"/>
                  </a:lnTo>
                  <a:lnTo>
                    <a:pt x="1376" y="2030"/>
                  </a:lnTo>
                  <a:lnTo>
                    <a:pt x="1382" y="2023"/>
                  </a:lnTo>
                  <a:lnTo>
                    <a:pt x="1390" y="2016"/>
                  </a:lnTo>
                  <a:lnTo>
                    <a:pt x="1398" y="2011"/>
                  </a:lnTo>
                  <a:lnTo>
                    <a:pt x="1434" y="1990"/>
                  </a:lnTo>
                  <a:lnTo>
                    <a:pt x="1466" y="1968"/>
                  </a:lnTo>
                  <a:lnTo>
                    <a:pt x="1474" y="1963"/>
                  </a:lnTo>
                  <a:lnTo>
                    <a:pt x="1481" y="1956"/>
                  </a:lnTo>
                  <a:lnTo>
                    <a:pt x="1488" y="1948"/>
                  </a:lnTo>
                  <a:lnTo>
                    <a:pt x="1493" y="1940"/>
                  </a:lnTo>
                  <a:lnTo>
                    <a:pt x="1504" y="1924"/>
                  </a:lnTo>
                  <a:lnTo>
                    <a:pt x="1512" y="1906"/>
                  </a:lnTo>
                  <a:lnTo>
                    <a:pt x="1526" y="1866"/>
                  </a:lnTo>
                  <a:lnTo>
                    <a:pt x="1538" y="1824"/>
                  </a:lnTo>
                  <a:lnTo>
                    <a:pt x="1545" y="1830"/>
                  </a:lnTo>
                  <a:lnTo>
                    <a:pt x="1538" y="1824"/>
                  </a:lnTo>
                  <a:lnTo>
                    <a:pt x="1534" y="1816"/>
                  </a:lnTo>
                  <a:lnTo>
                    <a:pt x="1530" y="1808"/>
                  </a:lnTo>
                  <a:lnTo>
                    <a:pt x="1526" y="1798"/>
                  </a:lnTo>
                  <a:lnTo>
                    <a:pt x="1521" y="1787"/>
                  </a:lnTo>
                  <a:lnTo>
                    <a:pt x="1518" y="1775"/>
                  </a:lnTo>
                  <a:lnTo>
                    <a:pt x="1514" y="1761"/>
                  </a:lnTo>
                  <a:lnTo>
                    <a:pt x="1512" y="1745"/>
                  </a:lnTo>
                  <a:lnTo>
                    <a:pt x="1509" y="1727"/>
                  </a:lnTo>
                  <a:lnTo>
                    <a:pt x="1506" y="1726"/>
                  </a:lnTo>
                  <a:lnTo>
                    <a:pt x="1501" y="1719"/>
                  </a:lnTo>
                  <a:lnTo>
                    <a:pt x="1497" y="1717"/>
                  </a:lnTo>
                  <a:lnTo>
                    <a:pt x="1493" y="1714"/>
                  </a:lnTo>
                  <a:lnTo>
                    <a:pt x="1488" y="1711"/>
                  </a:lnTo>
                  <a:lnTo>
                    <a:pt x="1482" y="1709"/>
                  </a:lnTo>
                  <a:lnTo>
                    <a:pt x="1476" y="1709"/>
                  </a:lnTo>
                  <a:lnTo>
                    <a:pt x="1468" y="1709"/>
                  </a:lnTo>
                  <a:lnTo>
                    <a:pt x="1461" y="1711"/>
                  </a:lnTo>
                  <a:lnTo>
                    <a:pt x="1453" y="1715"/>
                  </a:lnTo>
                  <a:lnTo>
                    <a:pt x="1445" y="1722"/>
                  </a:lnTo>
                  <a:lnTo>
                    <a:pt x="1436" y="1731"/>
                  </a:lnTo>
                  <a:lnTo>
                    <a:pt x="1428" y="1743"/>
                  </a:lnTo>
                  <a:lnTo>
                    <a:pt x="1418" y="1758"/>
                  </a:lnTo>
                  <a:lnTo>
                    <a:pt x="1416" y="1765"/>
                  </a:lnTo>
                  <a:lnTo>
                    <a:pt x="1414" y="1771"/>
                  </a:lnTo>
                  <a:lnTo>
                    <a:pt x="1414" y="1781"/>
                  </a:lnTo>
                  <a:lnTo>
                    <a:pt x="1417" y="1790"/>
                  </a:lnTo>
                  <a:lnTo>
                    <a:pt x="1422" y="1808"/>
                  </a:lnTo>
                  <a:lnTo>
                    <a:pt x="1429" y="1828"/>
                  </a:lnTo>
                  <a:lnTo>
                    <a:pt x="1432" y="1836"/>
                  </a:lnTo>
                  <a:lnTo>
                    <a:pt x="1433" y="1846"/>
                  </a:lnTo>
                  <a:lnTo>
                    <a:pt x="1433" y="1852"/>
                  </a:lnTo>
                  <a:lnTo>
                    <a:pt x="1430" y="1859"/>
                  </a:lnTo>
                  <a:lnTo>
                    <a:pt x="1429" y="1862"/>
                  </a:lnTo>
                  <a:lnTo>
                    <a:pt x="1426" y="1863"/>
                  </a:lnTo>
                  <a:lnTo>
                    <a:pt x="1422" y="1864"/>
                  </a:lnTo>
                  <a:lnTo>
                    <a:pt x="1418" y="1866"/>
                  </a:lnTo>
                  <a:lnTo>
                    <a:pt x="1408" y="1867"/>
                  </a:lnTo>
                  <a:lnTo>
                    <a:pt x="1394" y="1866"/>
                  </a:lnTo>
                  <a:lnTo>
                    <a:pt x="1386" y="1863"/>
                  </a:lnTo>
                  <a:lnTo>
                    <a:pt x="1378" y="1859"/>
                  </a:lnTo>
                  <a:lnTo>
                    <a:pt x="1370" y="1852"/>
                  </a:lnTo>
                  <a:lnTo>
                    <a:pt x="1362" y="1844"/>
                  </a:lnTo>
                  <a:lnTo>
                    <a:pt x="1345" y="1826"/>
                  </a:lnTo>
                  <a:lnTo>
                    <a:pt x="1326" y="1803"/>
                  </a:lnTo>
                  <a:lnTo>
                    <a:pt x="1306" y="1775"/>
                  </a:lnTo>
                  <a:lnTo>
                    <a:pt x="1285" y="1745"/>
                  </a:lnTo>
                  <a:lnTo>
                    <a:pt x="1265" y="1713"/>
                  </a:lnTo>
                  <a:lnTo>
                    <a:pt x="1244" y="1678"/>
                  </a:lnTo>
                  <a:lnTo>
                    <a:pt x="1198" y="1606"/>
                  </a:lnTo>
                  <a:lnTo>
                    <a:pt x="1154" y="1535"/>
                  </a:lnTo>
                  <a:lnTo>
                    <a:pt x="1133" y="1502"/>
                  </a:lnTo>
                  <a:lnTo>
                    <a:pt x="1110" y="1471"/>
                  </a:lnTo>
                  <a:lnTo>
                    <a:pt x="1090" y="1445"/>
                  </a:lnTo>
                  <a:lnTo>
                    <a:pt x="1069" y="1421"/>
                  </a:lnTo>
                  <a:lnTo>
                    <a:pt x="1058" y="1407"/>
                  </a:lnTo>
                  <a:lnTo>
                    <a:pt x="1050" y="1395"/>
                  </a:lnTo>
                  <a:lnTo>
                    <a:pt x="1045" y="1383"/>
                  </a:lnTo>
                  <a:lnTo>
                    <a:pt x="1041" y="1373"/>
                  </a:lnTo>
                  <a:lnTo>
                    <a:pt x="1041" y="1362"/>
                  </a:lnTo>
                  <a:lnTo>
                    <a:pt x="1042" y="1353"/>
                  </a:lnTo>
                  <a:lnTo>
                    <a:pt x="1045" y="1343"/>
                  </a:lnTo>
                  <a:lnTo>
                    <a:pt x="1050" y="1335"/>
                  </a:lnTo>
                  <a:lnTo>
                    <a:pt x="1058" y="1327"/>
                  </a:lnTo>
                  <a:lnTo>
                    <a:pt x="1066" y="1321"/>
                  </a:lnTo>
                  <a:lnTo>
                    <a:pt x="1077" y="1314"/>
                  </a:lnTo>
                  <a:lnTo>
                    <a:pt x="1088" y="1309"/>
                  </a:lnTo>
                  <a:lnTo>
                    <a:pt x="1100" y="1305"/>
                  </a:lnTo>
                  <a:lnTo>
                    <a:pt x="1113" y="1301"/>
                  </a:lnTo>
                  <a:lnTo>
                    <a:pt x="1126" y="1297"/>
                  </a:lnTo>
                  <a:lnTo>
                    <a:pt x="1141" y="1294"/>
                  </a:lnTo>
                  <a:lnTo>
                    <a:pt x="1145" y="1282"/>
                  </a:lnTo>
                  <a:lnTo>
                    <a:pt x="1146" y="1270"/>
                  </a:lnTo>
                  <a:lnTo>
                    <a:pt x="1145" y="1265"/>
                  </a:lnTo>
                  <a:lnTo>
                    <a:pt x="1144" y="1259"/>
                  </a:lnTo>
                  <a:lnTo>
                    <a:pt x="1142" y="1254"/>
                  </a:lnTo>
                  <a:lnTo>
                    <a:pt x="1140" y="1249"/>
                  </a:lnTo>
                  <a:lnTo>
                    <a:pt x="1133" y="1239"/>
                  </a:lnTo>
                  <a:lnTo>
                    <a:pt x="1122" y="1229"/>
                  </a:lnTo>
                  <a:lnTo>
                    <a:pt x="1109" y="1217"/>
                  </a:lnTo>
                  <a:lnTo>
                    <a:pt x="1093" y="1204"/>
                  </a:lnTo>
                  <a:lnTo>
                    <a:pt x="1093" y="1065"/>
                  </a:lnTo>
                  <a:lnTo>
                    <a:pt x="1096" y="1061"/>
                  </a:lnTo>
                  <a:lnTo>
                    <a:pt x="1098" y="1057"/>
                  </a:lnTo>
                  <a:lnTo>
                    <a:pt x="1101" y="1056"/>
                  </a:lnTo>
                  <a:lnTo>
                    <a:pt x="1104" y="1053"/>
                  </a:lnTo>
                  <a:lnTo>
                    <a:pt x="1108" y="1053"/>
                  </a:lnTo>
                  <a:lnTo>
                    <a:pt x="1110" y="1053"/>
                  </a:lnTo>
                  <a:lnTo>
                    <a:pt x="1114" y="1054"/>
                  </a:lnTo>
                  <a:lnTo>
                    <a:pt x="1118" y="1056"/>
                  </a:lnTo>
                  <a:lnTo>
                    <a:pt x="1126" y="1061"/>
                  </a:lnTo>
                  <a:lnTo>
                    <a:pt x="1134" y="1069"/>
                  </a:lnTo>
                  <a:lnTo>
                    <a:pt x="1142" y="1077"/>
                  </a:lnTo>
                  <a:lnTo>
                    <a:pt x="1152" y="1088"/>
                  </a:lnTo>
                  <a:lnTo>
                    <a:pt x="1170" y="1109"/>
                  </a:lnTo>
                  <a:lnTo>
                    <a:pt x="1188" y="1129"/>
                  </a:lnTo>
                  <a:lnTo>
                    <a:pt x="1197" y="1137"/>
                  </a:lnTo>
                  <a:lnTo>
                    <a:pt x="1205" y="1144"/>
                  </a:lnTo>
                  <a:lnTo>
                    <a:pt x="1213" y="1149"/>
                  </a:lnTo>
                  <a:lnTo>
                    <a:pt x="1220" y="1150"/>
                  </a:lnTo>
                  <a:lnTo>
                    <a:pt x="1226" y="1148"/>
                  </a:lnTo>
                  <a:lnTo>
                    <a:pt x="1230" y="1145"/>
                  </a:lnTo>
                  <a:lnTo>
                    <a:pt x="1234" y="1142"/>
                  </a:lnTo>
                  <a:lnTo>
                    <a:pt x="1237" y="1138"/>
                  </a:lnTo>
                  <a:lnTo>
                    <a:pt x="1238" y="1134"/>
                  </a:lnTo>
                  <a:lnTo>
                    <a:pt x="1240" y="1130"/>
                  </a:lnTo>
                  <a:lnTo>
                    <a:pt x="1240" y="1125"/>
                  </a:lnTo>
                  <a:lnTo>
                    <a:pt x="1238" y="1120"/>
                  </a:lnTo>
                  <a:lnTo>
                    <a:pt x="1233" y="1108"/>
                  </a:lnTo>
                  <a:lnTo>
                    <a:pt x="1226" y="1094"/>
                  </a:lnTo>
                  <a:lnTo>
                    <a:pt x="1218" y="1081"/>
                  </a:lnTo>
                  <a:lnTo>
                    <a:pt x="1208" y="1065"/>
                  </a:lnTo>
                  <a:lnTo>
                    <a:pt x="1185" y="1034"/>
                  </a:lnTo>
                  <a:lnTo>
                    <a:pt x="1164" y="1002"/>
                  </a:lnTo>
                  <a:lnTo>
                    <a:pt x="1154" y="988"/>
                  </a:lnTo>
                  <a:lnTo>
                    <a:pt x="1148" y="972"/>
                  </a:lnTo>
                  <a:lnTo>
                    <a:pt x="1145" y="965"/>
                  </a:lnTo>
                  <a:lnTo>
                    <a:pt x="1144" y="958"/>
                  </a:lnTo>
                  <a:lnTo>
                    <a:pt x="1142" y="952"/>
                  </a:lnTo>
                  <a:lnTo>
                    <a:pt x="1141" y="945"/>
                  </a:lnTo>
                  <a:lnTo>
                    <a:pt x="1142" y="914"/>
                  </a:lnTo>
                  <a:lnTo>
                    <a:pt x="1146" y="886"/>
                  </a:lnTo>
                  <a:lnTo>
                    <a:pt x="1150" y="860"/>
                  </a:lnTo>
                  <a:lnTo>
                    <a:pt x="1156" y="837"/>
                  </a:lnTo>
                  <a:lnTo>
                    <a:pt x="1164" y="816"/>
                  </a:lnTo>
                  <a:lnTo>
                    <a:pt x="1172" y="797"/>
                  </a:lnTo>
                  <a:lnTo>
                    <a:pt x="1181" y="780"/>
                  </a:lnTo>
                  <a:lnTo>
                    <a:pt x="1190" y="765"/>
                  </a:lnTo>
                  <a:lnTo>
                    <a:pt x="1201" y="752"/>
                  </a:lnTo>
                  <a:lnTo>
                    <a:pt x="1213" y="740"/>
                  </a:lnTo>
                  <a:lnTo>
                    <a:pt x="1225" y="730"/>
                  </a:lnTo>
                  <a:lnTo>
                    <a:pt x="1238" y="721"/>
                  </a:lnTo>
                  <a:lnTo>
                    <a:pt x="1250" y="714"/>
                  </a:lnTo>
                  <a:lnTo>
                    <a:pt x="1264" y="708"/>
                  </a:lnTo>
                  <a:lnTo>
                    <a:pt x="1277" y="704"/>
                  </a:lnTo>
                  <a:lnTo>
                    <a:pt x="1290" y="700"/>
                  </a:lnTo>
                  <a:lnTo>
                    <a:pt x="1317" y="694"/>
                  </a:lnTo>
                  <a:lnTo>
                    <a:pt x="1341" y="692"/>
                  </a:lnTo>
                  <a:lnTo>
                    <a:pt x="1364" y="692"/>
                  </a:lnTo>
                  <a:lnTo>
                    <a:pt x="1384" y="690"/>
                  </a:lnTo>
                  <a:lnTo>
                    <a:pt x="1400" y="690"/>
                  </a:lnTo>
                  <a:lnTo>
                    <a:pt x="1410" y="689"/>
                  </a:lnTo>
                  <a:lnTo>
                    <a:pt x="1413" y="688"/>
                  </a:lnTo>
                  <a:lnTo>
                    <a:pt x="1414" y="686"/>
                  </a:lnTo>
                  <a:lnTo>
                    <a:pt x="1414" y="684"/>
                  </a:lnTo>
                  <a:lnTo>
                    <a:pt x="1413" y="680"/>
                  </a:lnTo>
                  <a:lnTo>
                    <a:pt x="1400" y="662"/>
                  </a:lnTo>
                  <a:lnTo>
                    <a:pt x="1386" y="641"/>
                  </a:lnTo>
                  <a:lnTo>
                    <a:pt x="1373" y="617"/>
                  </a:lnTo>
                  <a:lnTo>
                    <a:pt x="1358" y="589"/>
                  </a:lnTo>
                  <a:lnTo>
                    <a:pt x="1344" y="557"/>
                  </a:lnTo>
                  <a:lnTo>
                    <a:pt x="1329" y="523"/>
                  </a:lnTo>
                  <a:lnTo>
                    <a:pt x="1313" y="485"/>
                  </a:lnTo>
                  <a:lnTo>
                    <a:pt x="1298" y="444"/>
                  </a:lnTo>
                  <a:lnTo>
                    <a:pt x="1282" y="400"/>
                  </a:lnTo>
                  <a:lnTo>
                    <a:pt x="1266" y="352"/>
                  </a:lnTo>
                  <a:lnTo>
                    <a:pt x="1249" y="301"/>
                  </a:lnTo>
                  <a:lnTo>
                    <a:pt x="1233" y="247"/>
                  </a:lnTo>
                  <a:lnTo>
                    <a:pt x="1216" y="189"/>
                  </a:lnTo>
                  <a:lnTo>
                    <a:pt x="1200" y="129"/>
                  </a:lnTo>
                  <a:lnTo>
                    <a:pt x="1182" y="65"/>
                  </a:lnTo>
                  <a:lnTo>
                    <a:pt x="1165" y="0"/>
                  </a:lnTo>
                  <a:lnTo>
                    <a:pt x="1150" y="2"/>
                  </a:lnTo>
                  <a:lnTo>
                    <a:pt x="1138" y="4"/>
                  </a:lnTo>
                  <a:lnTo>
                    <a:pt x="1126" y="10"/>
                  </a:lnTo>
                  <a:lnTo>
                    <a:pt x="1114" y="15"/>
                  </a:lnTo>
                  <a:lnTo>
                    <a:pt x="1104" y="20"/>
                  </a:lnTo>
                  <a:lnTo>
                    <a:pt x="1093" y="26"/>
                  </a:lnTo>
                  <a:lnTo>
                    <a:pt x="1082" y="28"/>
                  </a:lnTo>
                  <a:lnTo>
                    <a:pt x="1069" y="30"/>
                  </a:lnTo>
                  <a:lnTo>
                    <a:pt x="1061" y="30"/>
                  </a:lnTo>
                  <a:lnTo>
                    <a:pt x="1054" y="28"/>
                  </a:lnTo>
                  <a:lnTo>
                    <a:pt x="1048" y="26"/>
                  </a:lnTo>
                  <a:lnTo>
                    <a:pt x="1042" y="23"/>
                  </a:lnTo>
                  <a:lnTo>
                    <a:pt x="1033" y="15"/>
                  </a:lnTo>
                  <a:lnTo>
                    <a:pt x="1021" y="6"/>
                  </a:lnTo>
                  <a:lnTo>
                    <a:pt x="1016" y="12"/>
                  </a:lnTo>
                  <a:lnTo>
                    <a:pt x="1012" y="20"/>
                  </a:lnTo>
                  <a:lnTo>
                    <a:pt x="1008" y="27"/>
                  </a:lnTo>
                  <a:lnTo>
                    <a:pt x="1005" y="34"/>
                  </a:lnTo>
                  <a:lnTo>
                    <a:pt x="1001" y="49"/>
                  </a:lnTo>
                  <a:lnTo>
                    <a:pt x="1000" y="64"/>
                  </a:lnTo>
                  <a:lnTo>
                    <a:pt x="996" y="97"/>
                  </a:lnTo>
                  <a:lnTo>
                    <a:pt x="990" y="132"/>
                  </a:lnTo>
                  <a:lnTo>
                    <a:pt x="976" y="171"/>
                  </a:lnTo>
                  <a:lnTo>
                    <a:pt x="960" y="209"/>
                  </a:lnTo>
                  <a:lnTo>
                    <a:pt x="953" y="228"/>
                  </a:lnTo>
                  <a:lnTo>
                    <a:pt x="948" y="249"/>
                  </a:lnTo>
                  <a:lnTo>
                    <a:pt x="944" y="271"/>
                  </a:lnTo>
                  <a:lnTo>
                    <a:pt x="942" y="295"/>
                  </a:lnTo>
                  <a:lnTo>
                    <a:pt x="942" y="308"/>
                  </a:lnTo>
                  <a:lnTo>
                    <a:pt x="942" y="320"/>
                  </a:lnTo>
                  <a:lnTo>
                    <a:pt x="942" y="336"/>
                  </a:lnTo>
                  <a:lnTo>
                    <a:pt x="942" y="355"/>
                  </a:lnTo>
                  <a:lnTo>
                    <a:pt x="942" y="365"/>
                  </a:lnTo>
                  <a:lnTo>
                    <a:pt x="941" y="373"/>
                  </a:lnTo>
                  <a:lnTo>
                    <a:pt x="938" y="381"/>
                  </a:lnTo>
                  <a:lnTo>
                    <a:pt x="936" y="389"/>
                  </a:lnTo>
                  <a:lnTo>
                    <a:pt x="933" y="396"/>
                  </a:lnTo>
                  <a:lnTo>
                    <a:pt x="929" y="401"/>
                  </a:lnTo>
                  <a:lnTo>
                    <a:pt x="924" y="407"/>
                  </a:lnTo>
                  <a:lnTo>
                    <a:pt x="918" y="412"/>
                  </a:lnTo>
                  <a:lnTo>
                    <a:pt x="906" y="420"/>
                  </a:lnTo>
                  <a:lnTo>
                    <a:pt x="893" y="425"/>
                  </a:lnTo>
                  <a:lnTo>
                    <a:pt x="878" y="431"/>
                  </a:lnTo>
                  <a:lnTo>
                    <a:pt x="862" y="433"/>
                  </a:lnTo>
                  <a:lnTo>
                    <a:pt x="828" y="437"/>
                  </a:lnTo>
                  <a:lnTo>
                    <a:pt x="793" y="441"/>
                  </a:lnTo>
                  <a:lnTo>
                    <a:pt x="776" y="444"/>
                  </a:lnTo>
                  <a:lnTo>
                    <a:pt x="760" y="447"/>
                  </a:lnTo>
                  <a:lnTo>
                    <a:pt x="745" y="452"/>
                  </a:lnTo>
                  <a:lnTo>
                    <a:pt x="732" y="457"/>
                  </a:lnTo>
                  <a:lnTo>
                    <a:pt x="715" y="471"/>
                  </a:lnTo>
                  <a:lnTo>
                    <a:pt x="692" y="489"/>
                  </a:lnTo>
                  <a:lnTo>
                    <a:pt x="679" y="497"/>
                  </a:lnTo>
                  <a:lnTo>
                    <a:pt x="665" y="505"/>
                  </a:lnTo>
                  <a:lnTo>
                    <a:pt x="660" y="508"/>
                  </a:lnTo>
                  <a:lnTo>
                    <a:pt x="653" y="509"/>
                  </a:lnTo>
                  <a:lnTo>
                    <a:pt x="648" y="511"/>
                  </a:lnTo>
                  <a:lnTo>
                    <a:pt x="641" y="512"/>
                  </a:lnTo>
                  <a:lnTo>
                    <a:pt x="635" y="511"/>
                  </a:lnTo>
                  <a:lnTo>
                    <a:pt x="627" y="509"/>
                  </a:lnTo>
                  <a:lnTo>
                    <a:pt x="621" y="508"/>
                  </a:lnTo>
                  <a:lnTo>
                    <a:pt x="615" y="504"/>
                  </a:lnTo>
                  <a:lnTo>
                    <a:pt x="611" y="500"/>
                  </a:lnTo>
                  <a:lnTo>
                    <a:pt x="605" y="496"/>
                  </a:lnTo>
                  <a:lnTo>
                    <a:pt x="601" y="491"/>
                  </a:lnTo>
                  <a:lnTo>
                    <a:pt x="597" y="484"/>
                  </a:lnTo>
                  <a:lnTo>
                    <a:pt x="591" y="471"/>
                  </a:lnTo>
                  <a:lnTo>
                    <a:pt x="587" y="456"/>
                  </a:lnTo>
                  <a:lnTo>
                    <a:pt x="583" y="440"/>
                  </a:lnTo>
                  <a:lnTo>
                    <a:pt x="579" y="424"/>
                  </a:lnTo>
                  <a:lnTo>
                    <a:pt x="572" y="392"/>
                  </a:lnTo>
                  <a:lnTo>
                    <a:pt x="564" y="364"/>
                  </a:lnTo>
                  <a:lnTo>
                    <a:pt x="559" y="353"/>
                  </a:lnTo>
                  <a:lnTo>
                    <a:pt x="552" y="344"/>
                  </a:lnTo>
                  <a:lnTo>
                    <a:pt x="548" y="341"/>
                  </a:lnTo>
                  <a:lnTo>
                    <a:pt x="544" y="339"/>
                  </a:lnTo>
                  <a:lnTo>
                    <a:pt x="539" y="337"/>
                  </a:lnTo>
                  <a:lnTo>
                    <a:pt x="533" y="337"/>
                  </a:lnTo>
                  <a:lnTo>
                    <a:pt x="525" y="337"/>
                  </a:lnTo>
                  <a:lnTo>
                    <a:pt x="519" y="339"/>
                  </a:lnTo>
                  <a:lnTo>
                    <a:pt x="513" y="341"/>
                  </a:lnTo>
                  <a:lnTo>
                    <a:pt x="508" y="344"/>
                  </a:lnTo>
                  <a:lnTo>
                    <a:pt x="497" y="351"/>
                  </a:lnTo>
                  <a:lnTo>
                    <a:pt x="489" y="360"/>
                  </a:lnTo>
                  <a:lnTo>
                    <a:pt x="481" y="369"/>
                  </a:lnTo>
                  <a:lnTo>
                    <a:pt x="473" y="377"/>
                  </a:lnTo>
                  <a:lnTo>
                    <a:pt x="465" y="385"/>
                  </a:lnTo>
                  <a:lnTo>
                    <a:pt x="455" y="391"/>
                  </a:lnTo>
                  <a:lnTo>
                    <a:pt x="416" y="403"/>
                  </a:lnTo>
                  <a:lnTo>
                    <a:pt x="380" y="416"/>
                  </a:lnTo>
                  <a:lnTo>
                    <a:pt x="363" y="423"/>
                  </a:lnTo>
                  <a:lnTo>
                    <a:pt x="347" y="431"/>
                  </a:lnTo>
                  <a:lnTo>
                    <a:pt x="332" y="439"/>
                  </a:lnTo>
                  <a:lnTo>
                    <a:pt x="316" y="447"/>
                  </a:lnTo>
                  <a:lnTo>
                    <a:pt x="301" y="456"/>
                  </a:lnTo>
                  <a:lnTo>
                    <a:pt x="288" y="467"/>
                  </a:lnTo>
                  <a:lnTo>
                    <a:pt x="275" y="477"/>
                  </a:lnTo>
                  <a:lnTo>
                    <a:pt x="261" y="489"/>
                  </a:lnTo>
                  <a:lnTo>
                    <a:pt x="249" y="503"/>
                  </a:lnTo>
                  <a:lnTo>
                    <a:pt x="237" y="516"/>
                  </a:lnTo>
                  <a:lnTo>
                    <a:pt x="225" y="532"/>
                  </a:lnTo>
                  <a:lnTo>
                    <a:pt x="213" y="548"/>
                  </a:lnTo>
                  <a:lnTo>
                    <a:pt x="203" y="564"/>
                  </a:lnTo>
                  <a:lnTo>
                    <a:pt x="189" y="579"/>
                  </a:lnTo>
                  <a:lnTo>
                    <a:pt x="175" y="592"/>
                  </a:lnTo>
                  <a:lnTo>
                    <a:pt x="160" y="604"/>
                  </a:lnTo>
                  <a:lnTo>
                    <a:pt x="128" y="628"/>
                  </a:lnTo>
                  <a:lnTo>
                    <a:pt x="93" y="656"/>
                  </a:lnTo>
                  <a:lnTo>
                    <a:pt x="91" y="664"/>
                  </a:lnTo>
                  <a:lnTo>
                    <a:pt x="89" y="672"/>
                  </a:lnTo>
                  <a:lnTo>
                    <a:pt x="89" y="680"/>
                  </a:lnTo>
                  <a:lnTo>
                    <a:pt x="89" y="688"/>
                  </a:lnTo>
                  <a:lnTo>
                    <a:pt x="91" y="697"/>
                  </a:lnTo>
                  <a:lnTo>
                    <a:pt x="89" y="704"/>
                  </a:lnTo>
                  <a:lnTo>
                    <a:pt x="88" y="708"/>
                  </a:lnTo>
                  <a:lnTo>
                    <a:pt x="87" y="710"/>
                  </a:lnTo>
                  <a:lnTo>
                    <a:pt x="84" y="714"/>
                  </a:lnTo>
                  <a:lnTo>
                    <a:pt x="81" y="716"/>
                  </a:lnTo>
                  <a:lnTo>
                    <a:pt x="72" y="722"/>
                  </a:lnTo>
                  <a:lnTo>
                    <a:pt x="64" y="726"/>
                  </a:lnTo>
                  <a:lnTo>
                    <a:pt x="56" y="730"/>
                  </a:lnTo>
                  <a:lnTo>
                    <a:pt x="50" y="734"/>
                  </a:lnTo>
                  <a:lnTo>
                    <a:pt x="36" y="738"/>
                  </a:lnTo>
                  <a:lnTo>
                    <a:pt x="24" y="744"/>
                  </a:lnTo>
                  <a:lnTo>
                    <a:pt x="20" y="748"/>
                  </a:lnTo>
                  <a:lnTo>
                    <a:pt x="15" y="752"/>
                  </a:lnTo>
                  <a:lnTo>
                    <a:pt x="12" y="757"/>
                  </a:lnTo>
                  <a:lnTo>
                    <a:pt x="8" y="765"/>
                  </a:lnTo>
                  <a:lnTo>
                    <a:pt x="7" y="773"/>
                  </a:lnTo>
                  <a:lnTo>
                    <a:pt x="4" y="784"/>
                  </a:lnTo>
                  <a:lnTo>
                    <a:pt x="4" y="797"/>
                  </a:lnTo>
                  <a:lnTo>
                    <a:pt x="3" y="813"/>
                  </a:lnTo>
                  <a:lnTo>
                    <a:pt x="3" y="826"/>
                  </a:lnTo>
                  <a:lnTo>
                    <a:pt x="2" y="842"/>
                  </a:lnTo>
                  <a:lnTo>
                    <a:pt x="0" y="849"/>
                  </a:lnTo>
                  <a:lnTo>
                    <a:pt x="0" y="856"/>
                  </a:lnTo>
                  <a:lnTo>
                    <a:pt x="2" y="862"/>
                  </a:lnTo>
                  <a:lnTo>
                    <a:pt x="3" y="866"/>
                  </a:lnTo>
                  <a:lnTo>
                    <a:pt x="11" y="869"/>
                  </a:lnTo>
                  <a:lnTo>
                    <a:pt x="22" y="869"/>
                  </a:lnTo>
                  <a:lnTo>
                    <a:pt x="34" y="870"/>
                  </a:lnTo>
                  <a:lnTo>
                    <a:pt x="47" y="870"/>
                  </a:lnTo>
                  <a:lnTo>
                    <a:pt x="72" y="870"/>
                  </a:lnTo>
                  <a:lnTo>
                    <a:pt x="93" y="873"/>
                  </a:lnTo>
                  <a:lnTo>
                    <a:pt x="99" y="876"/>
                  </a:lnTo>
                  <a:lnTo>
                    <a:pt x="103" y="878"/>
                  </a:lnTo>
                  <a:lnTo>
                    <a:pt x="105" y="882"/>
                  </a:lnTo>
                  <a:lnTo>
                    <a:pt x="108" y="886"/>
                  </a:lnTo>
                  <a:lnTo>
                    <a:pt x="111" y="897"/>
                  </a:lnTo>
                  <a:lnTo>
                    <a:pt x="111" y="908"/>
                  </a:lnTo>
                  <a:lnTo>
                    <a:pt x="108" y="933"/>
                  </a:lnTo>
                  <a:lnTo>
                    <a:pt x="105" y="957"/>
                  </a:lnTo>
                  <a:lnTo>
                    <a:pt x="107" y="964"/>
                  </a:lnTo>
                  <a:lnTo>
                    <a:pt x="109" y="969"/>
                  </a:lnTo>
                  <a:lnTo>
                    <a:pt x="113" y="974"/>
                  </a:lnTo>
                  <a:lnTo>
                    <a:pt x="117" y="978"/>
                  </a:lnTo>
                  <a:lnTo>
                    <a:pt x="121" y="981"/>
                  </a:lnTo>
                  <a:lnTo>
                    <a:pt x="127" y="985"/>
                  </a:lnTo>
                  <a:lnTo>
                    <a:pt x="133" y="986"/>
                  </a:lnTo>
                  <a:lnTo>
                    <a:pt x="140" y="989"/>
                  </a:lnTo>
                  <a:lnTo>
                    <a:pt x="153" y="992"/>
                  </a:lnTo>
                  <a:lnTo>
                    <a:pt x="168" y="993"/>
                  </a:lnTo>
                  <a:lnTo>
                    <a:pt x="181" y="993"/>
                  </a:lnTo>
                  <a:lnTo>
                    <a:pt x="196" y="993"/>
                  </a:lnTo>
                  <a:lnTo>
                    <a:pt x="304" y="1084"/>
                  </a:lnTo>
                  <a:lnTo>
                    <a:pt x="305" y="1101"/>
                  </a:lnTo>
                  <a:lnTo>
                    <a:pt x="307" y="1114"/>
                  </a:lnTo>
                  <a:lnTo>
                    <a:pt x="309" y="1126"/>
                  </a:lnTo>
                  <a:lnTo>
                    <a:pt x="313" y="1136"/>
                  </a:lnTo>
                  <a:lnTo>
                    <a:pt x="319" y="1144"/>
                  </a:lnTo>
                  <a:lnTo>
                    <a:pt x="325" y="1149"/>
                  </a:lnTo>
                  <a:lnTo>
                    <a:pt x="332" y="1154"/>
                  </a:lnTo>
                  <a:lnTo>
                    <a:pt x="340" y="1157"/>
                  </a:lnTo>
                  <a:lnTo>
                    <a:pt x="380" y="1164"/>
                  </a:lnTo>
                  <a:lnTo>
                    <a:pt x="431" y="1168"/>
                  </a:lnTo>
                  <a:lnTo>
                    <a:pt x="441" y="1170"/>
                  </a:lnTo>
                  <a:lnTo>
                    <a:pt x="451" y="1174"/>
                  </a:lnTo>
                  <a:lnTo>
                    <a:pt x="457" y="1181"/>
                  </a:lnTo>
                  <a:lnTo>
                    <a:pt x="464" y="1189"/>
                  </a:lnTo>
                  <a:lnTo>
                    <a:pt x="469" y="1198"/>
                  </a:lnTo>
                  <a:lnTo>
                    <a:pt x="475" y="1209"/>
                  </a:lnTo>
                  <a:lnTo>
                    <a:pt x="477" y="1219"/>
                  </a:lnTo>
                  <a:lnTo>
                    <a:pt x="481" y="1230"/>
                  </a:lnTo>
                  <a:lnTo>
                    <a:pt x="487" y="1251"/>
                  </a:lnTo>
                  <a:lnTo>
                    <a:pt x="493" y="1270"/>
                  </a:lnTo>
                  <a:lnTo>
                    <a:pt x="496" y="1278"/>
                  </a:lnTo>
                  <a:lnTo>
                    <a:pt x="500" y="1283"/>
                  </a:lnTo>
                  <a:lnTo>
                    <a:pt x="504" y="1287"/>
                  </a:lnTo>
                  <a:lnTo>
                    <a:pt x="509" y="1289"/>
                  </a:lnTo>
                  <a:lnTo>
                    <a:pt x="517" y="1287"/>
                  </a:lnTo>
                  <a:lnTo>
                    <a:pt x="524" y="1285"/>
                  </a:lnTo>
                  <a:lnTo>
                    <a:pt x="528" y="1282"/>
                  </a:lnTo>
                  <a:lnTo>
                    <a:pt x="532" y="1279"/>
                  </a:lnTo>
                  <a:lnTo>
                    <a:pt x="536" y="1275"/>
                  </a:lnTo>
                  <a:lnTo>
                    <a:pt x="540" y="1273"/>
                  </a:lnTo>
                  <a:lnTo>
                    <a:pt x="545" y="1271"/>
                  </a:lnTo>
                  <a:lnTo>
                    <a:pt x="552" y="1270"/>
                  </a:lnTo>
                  <a:lnTo>
                    <a:pt x="552" y="1277"/>
                  </a:lnTo>
                  <a:lnTo>
                    <a:pt x="556" y="1283"/>
                  </a:lnTo>
                  <a:lnTo>
                    <a:pt x="560" y="1290"/>
                  </a:lnTo>
                  <a:lnTo>
                    <a:pt x="565" y="1295"/>
                  </a:lnTo>
                  <a:lnTo>
                    <a:pt x="572" y="1299"/>
                  </a:lnTo>
                  <a:lnTo>
                    <a:pt x="579" y="1303"/>
                  </a:lnTo>
                  <a:lnTo>
                    <a:pt x="587" y="1306"/>
                  </a:lnTo>
                  <a:lnTo>
                    <a:pt x="593" y="1306"/>
                  </a:lnTo>
                  <a:lnTo>
                    <a:pt x="603" y="1305"/>
                  </a:lnTo>
                  <a:lnTo>
                    <a:pt x="611" y="1302"/>
                  </a:lnTo>
                  <a:lnTo>
                    <a:pt x="619" y="1298"/>
                  </a:lnTo>
                  <a:lnTo>
                    <a:pt x="625" y="1293"/>
                  </a:lnTo>
                  <a:lnTo>
                    <a:pt x="637" y="1281"/>
                  </a:lnTo>
                  <a:lnTo>
                    <a:pt x="648" y="1270"/>
                  </a:lnTo>
                  <a:lnTo>
                    <a:pt x="640" y="1251"/>
                  </a:lnTo>
                  <a:lnTo>
                    <a:pt x="629" y="1234"/>
                  </a:lnTo>
                  <a:lnTo>
                    <a:pt x="617" y="1218"/>
                  </a:lnTo>
                  <a:lnTo>
                    <a:pt x="604" y="1202"/>
                  </a:lnTo>
                  <a:lnTo>
                    <a:pt x="589" y="1189"/>
                  </a:lnTo>
                  <a:lnTo>
                    <a:pt x="575" y="1176"/>
                  </a:lnTo>
                  <a:lnTo>
                    <a:pt x="559" y="1164"/>
                  </a:lnTo>
                  <a:lnTo>
                    <a:pt x="544" y="1153"/>
                  </a:lnTo>
                  <a:lnTo>
                    <a:pt x="491" y="1121"/>
                  </a:lnTo>
                  <a:lnTo>
                    <a:pt x="467" y="1108"/>
                  </a:lnTo>
                  <a:lnTo>
                    <a:pt x="468" y="1097"/>
                  </a:lnTo>
                  <a:lnTo>
                    <a:pt x="469" y="1085"/>
                  </a:lnTo>
                  <a:lnTo>
                    <a:pt x="473" y="1070"/>
                  </a:lnTo>
                  <a:lnTo>
                    <a:pt x="479" y="1054"/>
                  </a:lnTo>
                  <a:lnTo>
                    <a:pt x="485" y="1037"/>
                  </a:lnTo>
                  <a:lnTo>
                    <a:pt x="492" y="1018"/>
                  </a:lnTo>
                  <a:lnTo>
                    <a:pt x="500" y="1001"/>
                  </a:lnTo>
                  <a:lnTo>
                    <a:pt x="509" y="982"/>
                  </a:lnTo>
                  <a:lnTo>
                    <a:pt x="520" y="965"/>
                  </a:lnTo>
                  <a:lnTo>
                    <a:pt x="532" y="950"/>
                  </a:lnTo>
                  <a:lnTo>
                    <a:pt x="543" y="936"/>
                  </a:lnTo>
                  <a:lnTo>
                    <a:pt x="556" y="924"/>
                  </a:lnTo>
                  <a:lnTo>
                    <a:pt x="563" y="918"/>
                  </a:lnTo>
                  <a:lnTo>
                    <a:pt x="569" y="913"/>
                  </a:lnTo>
                  <a:lnTo>
                    <a:pt x="576" y="909"/>
                  </a:lnTo>
                  <a:lnTo>
                    <a:pt x="583" y="906"/>
                  </a:lnTo>
                  <a:lnTo>
                    <a:pt x="589" y="904"/>
                  </a:lnTo>
                  <a:lnTo>
                    <a:pt x="597" y="902"/>
                  </a:lnTo>
                  <a:lnTo>
                    <a:pt x="604" y="902"/>
                  </a:lnTo>
                  <a:lnTo>
                    <a:pt x="612" y="902"/>
                  </a:lnTo>
                  <a:lnTo>
                    <a:pt x="601" y="926"/>
                  </a:lnTo>
                  <a:lnTo>
                    <a:pt x="592" y="949"/>
                  </a:lnTo>
                  <a:lnTo>
                    <a:pt x="587" y="970"/>
                  </a:lnTo>
                  <a:lnTo>
                    <a:pt x="583" y="990"/>
                  </a:lnTo>
                  <a:lnTo>
                    <a:pt x="580" y="1009"/>
                  </a:lnTo>
                  <a:lnTo>
                    <a:pt x="580" y="1026"/>
                  </a:lnTo>
                  <a:lnTo>
                    <a:pt x="581" y="1044"/>
                  </a:lnTo>
                  <a:lnTo>
                    <a:pt x="585" y="1058"/>
                  </a:lnTo>
                  <a:lnTo>
                    <a:pt x="589" y="1073"/>
                  </a:lnTo>
                  <a:lnTo>
                    <a:pt x="596" y="1088"/>
                  </a:lnTo>
                  <a:lnTo>
                    <a:pt x="603" y="1101"/>
                  </a:lnTo>
                  <a:lnTo>
                    <a:pt x="611" y="1113"/>
                  </a:lnTo>
                  <a:lnTo>
                    <a:pt x="620" y="1124"/>
                  </a:lnTo>
                  <a:lnTo>
                    <a:pt x="631" y="1136"/>
                  </a:lnTo>
                  <a:lnTo>
                    <a:pt x="641" y="1145"/>
                  </a:lnTo>
                  <a:lnTo>
                    <a:pt x="653" y="1156"/>
                  </a:lnTo>
                  <a:lnTo>
                    <a:pt x="677" y="1173"/>
                  </a:lnTo>
                  <a:lnTo>
                    <a:pt x="703" y="1189"/>
                  </a:lnTo>
                  <a:lnTo>
                    <a:pt x="728" y="1205"/>
                  </a:lnTo>
                  <a:lnTo>
                    <a:pt x="752" y="1218"/>
                  </a:lnTo>
                  <a:lnTo>
                    <a:pt x="773" y="1233"/>
                  </a:lnTo>
                  <a:lnTo>
                    <a:pt x="792" y="1246"/>
                  </a:lnTo>
                  <a:lnTo>
                    <a:pt x="800" y="1254"/>
                  </a:lnTo>
                  <a:lnTo>
                    <a:pt x="807" y="1261"/>
                  </a:lnTo>
                  <a:lnTo>
                    <a:pt x="812" y="1269"/>
                  </a:lnTo>
                  <a:lnTo>
                    <a:pt x="816" y="1277"/>
                  </a:lnTo>
                  <a:lnTo>
                    <a:pt x="829" y="1310"/>
                  </a:lnTo>
                  <a:lnTo>
                    <a:pt x="838" y="1341"/>
                  </a:lnTo>
                  <a:lnTo>
                    <a:pt x="845" y="1370"/>
                  </a:lnTo>
                  <a:lnTo>
                    <a:pt x="849" y="1398"/>
                  </a:lnTo>
                  <a:lnTo>
                    <a:pt x="853" y="1451"/>
                  </a:lnTo>
                  <a:lnTo>
                    <a:pt x="856" y="1505"/>
                  </a:lnTo>
                  <a:lnTo>
                    <a:pt x="857" y="1533"/>
                  </a:lnTo>
                  <a:lnTo>
                    <a:pt x="860" y="1563"/>
                  </a:lnTo>
                  <a:lnTo>
                    <a:pt x="864" y="1595"/>
                  </a:lnTo>
                  <a:lnTo>
                    <a:pt x="870" y="1630"/>
                  </a:lnTo>
                  <a:lnTo>
                    <a:pt x="880" y="1669"/>
                  </a:lnTo>
                  <a:lnTo>
                    <a:pt x="893" y="1710"/>
                  </a:lnTo>
                  <a:lnTo>
                    <a:pt x="909" y="1755"/>
                  </a:lnTo>
                  <a:lnTo>
                    <a:pt x="930" y="1806"/>
                  </a:lnTo>
                  <a:lnTo>
                    <a:pt x="945" y="1836"/>
                  </a:lnTo>
                  <a:lnTo>
                    <a:pt x="960" y="1871"/>
                  </a:lnTo>
                  <a:lnTo>
                    <a:pt x="974" y="1911"/>
                  </a:lnTo>
                  <a:lnTo>
                    <a:pt x="990" y="1952"/>
                  </a:lnTo>
                  <a:lnTo>
                    <a:pt x="1005" y="1998"/>
                  </a:lnTo>
                  <a:lnTo>
                    <a:pt x="1020" y="2042"/>
                  </a:lnTo>
                  <a:lnTo>
                    <a:pt x="1033" y="2087"/>
                  </a:lnTo>
                  <a:lnTo>
                    <a:pt x="1045" y="2131"/>
                  </a:lnTo>
                  <a:lnTo>
                    <a:pt x="1052" y="2156"/>
                  </a:lnTo>
                  <a:lnTo>
                    <a:pt x="1058" y="2179"/>
                  </a:lnTo>
                  <a:lnTo>
                    <a:pt x="1062" y="2200"/>
                  </a:lnTo>
                  <a:lnTo>
                    <a:pt x="1065" y="2220"/>
                  </a:lnTo>
                  <a:lnTo>
                    <a:pt x="1068" y="2239"/>
                  </a:lnTo>
                  <a:lnTo>
                    <a:pt x="1068" y="2256"/>
                  </a:lnTo>
                  <a:lnTo>
                    <a:pt x="1068" y="2272"/>
                  </a:lnTo>
                  <a:lnTo>
                    <a:pt x="1068" y="2287"/>
                  </a:lnTo>
                  <a:lnTo>
                    <a:pt x="1064" y="2314"/>
                  </a:lnTo>
                  <a:lnTo>
                    <a:pt x="1058" y="2336"/>
                  </a:lnTo>
                  <a:lnTo>
                    <a:pt x="1053" y="2356"/>
                  </a:lnTo>
                  <a:lnTo>
                    <a:pt x="1046" y="2374"/>
                  </a:lnTo>
                  <a:lnTo>
                    <a:pt x="1041" y="2389"/>
                  </a:lnTo>
                  <a:lnTo>
                    <a:pt x="1038" y="2403"/>
                  </a:lnTo>
                  <a:lnTo>
                    <a:pt x="1038" y="2411"/>
                  </a:lnTo>
                  <a:lnTo>
                    <a:pt x="1038" y="2417"/>
                  </a:lnTo>
                  <a:lnTo>
                    <a:pt x="1040" y="2424"/>
                  </a:lnTo>
                  <a:lnTo>
                    <a:pt x="1041" y="2431"/>
                  </a:lnTo>
                  <a:lnTo>
                    <a:pt x="1045" y="2437"/>
                  </a:lnTo>
                  <a:lnTo>
                    <a:pt x="1050" y="2445"/>
                  </a:lnTo>
                  <a:lnTo>
                    <a:pt x="1056" y="2453"/>
                  </a:lnTo>
                  <a:lnTo>
                    <a:pt x="1064" y="2461"/>
                  </a:lnTo>
                  <a:lnTo>
                    <a:pt x="1084" y="2479"/>
                  </a:lnTo>
                  <a:lnTo>
                    <a:pt x="1112" y="2499"/>
                  </a:lnTo>
                  <a:lnTo>
                    <a:pt x="1120" y="2504"/>
                  </a:lnTo>
                  <a:lnTo>
                    <a:pt x="1126" y="2511"/>
                  </a:lnTo>
                  <a:lnTo>
                    <a:pt x="1133" y="2517"/>
                  </a:lnTo>
                  <a:lnTo>
                    <a:pt x="1138" y="2525"/>
                  </a:lnTo>
                  <a:lnTo>
                    <a:pt x="1144" y="2532"/>
                  </a:lnTo>
                  <a:lnTo>
                    <a:pt x="1146" y="2539"/>
                  </a:lnTo>
                  <a:lnTo>
                    <a:pt x="1150" y="2547"/>
                  </a:lnTo>
                  <a:lnTo>
                    <a:pt x="1153" y="2555"/>
                  </a:lnTo>
                  <a:lnTo>
                    <a:pt x="1160" y="2589"/>
                  </a:lnTo>
                  <a:lnTo>
                    <a:pt x="1166" y="2631"/>
                  </a:lnTo>
                  <a:lnTo>
                    <a:pt x="1172" y="2653"/>
                  </a:lnTo>
                  <a:lnTo>
                    <a:pt x="1178" y="2677"/>
                  </a:lnTo>
                  <a:lnTo>
                    <a:pt x="1184" y="2689"/>
                  </a:lnTo>
                  <a:lnTo>
                    <a:pt x="1189" y="2703"/>
                  </a:lnTo>
                  <a:lnTo>
                    <a:pt x="1196" y="2717"/>
                  </a:lnTo>
                  <a:lnTo>
                    <a:pt x="1204" y="2731"/>
                  </a:lnTo>
                  <a:lnTo>
                    <a:pt x="1213" y="2747"/>
                  </a:lnTo>
                  <a:lnTo>
                    <a:pt x="1222" y="2761"/>
                  </a:lnTo>
                  <a:lnTo>
                    <a:pt x="1234" y="2777"/>
                  </a:lnTo>
                  <a:lnTo>
                    <a:pt x="1248" y="2793"/>
                  </a:lnTo>
                  <a:lnTo>
                    <a:pt x="1262" y="2811"/>
                  </a:lnTo>
                  <a:lnTo>
                    <a:pt x="1278" y="2828"/>
                  </a:lnTo>
                  <a:lnTo>
                    <a:pt x="1296" y="2847"/>
                  </a:lnTo>
                  <a:lnTo>
                    <a:pt x="1316" y="2865"/>
                  </a:lnTo>
                  <a:lnTo>
                    <a:pt x="1352" y="2848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3" name="Freeform 129"/>
            <p:cNvSpPr>
              <a:spLocks/>
            </p:cNvSpPr>
            <p:nvPr/>
          </p:nvSpPr>
          <p:spPr bwMode="auto">
            <a:xfrm>
              <a:off x="7413947" y="5138738"/>
              <a:ext cx="301625" cy="265112"/>
            </a:xfrm>
            <a:custGeom>
              <a:avLst/>
              <a:gdLst/>
              <a:ahLst/>
              <a:cxnLst>
                <a:cxn ang="0">
                  <a:pos x="600" y="61"/>
                </a:cxn>
                <a:cxn ang="0">
                  <a:pos x="584" y="55"/>
                </a:cxn>
                <a:cxn ang="0">
                  <a:pos x="554" y="77"/>
                </a:cxn>
                <a:cxn ang="0">
                  <a:pos x="516" y="140"/>
                </a:cxn>
                <a:cxn ang="0">
                  <a:pos x="464" y="254"/>
                </a:cxn>
                <a:cxn ang="0">
                  <a:pos x="410" y="360"/>
                </a:cxn>
                <a:cxn ang="0">
                  <a:pos x="352" y="440"/>
                </a:cxn>
                <a:cxn ang="0">
                  <a:pos x="285" y="502"/>
                </a:cxn>
                <a:cxn ang="0">
                  <a:pos x="240" y="530"/>
                </a:cxn>
                <a:cxn ang="0">
                  <a:pos x="208" y="542"/>
                </a:cxn>
                <a:cxn ang="0">
                  <a:pos x="179" y="546"/>
                </a:cxn>
                <a:cxn ang="0">
                  <a:pos x="153" y="540"/>
                </a:cxn>
                <a:cxn ang="0">
                  <a:pos x="132" y="524"/>
                </a:cxn>
                <a:cxn ang="0">
                  <a:pos x="84" y="432"/>
                </a:cxn>
                <a:cxn ang="0">
                  <a:pos x="55" y="372"/>
                </a:cxn>
                <a:cxn ang="0">
                  <a:pos x="35" y="357"/>
                </a:cxn>
                <a:cxn ang="0">
                  <a:pos x="0" y="349"/>
                </a:cxn>
                <a:cxn ang="0">
                  <a:pos x="20" y="318"/>
                </a:cxn>
                <a:cxn ang="0">
                  <a:pos x="28" y="289"/>
                </a:cxn>
                <a:cxn ang="0">
                  <a:pos x="29" y="254"/>
                </a:cxn>
                <a:cxn ang="0">
                  <a:pos x="29" y="234"/>
                </a:cxn>
                <a:cxn ang="0">
                  <a:pos x="32" y="216"/>
                </a:cxn>
                <a:cxn ang="0">
                  <a:pos x="45" y="198"/>
                </a:cxn>
                <a:cxn ang="0">
                  <a:pos x="60" y="181"/>
                </a:cxn>
                <a:cxn ang="0">
                  <a:pos x="65" y="162"/>
                </a:cxn>
                <a:cxn ang="0">
                  <a:pos x="96" y="166"/>
                </a:cxn>
                <a:cxn ang="0">
                  <a:pos x="117" y="156"/>
                </a:cxn>
                <a:cxn ang="0">
                  <a:pos x="127" y="120"/>
                </a:cxn>
                <a:cxn ang="0">
                  <a:pos x="127" y="93"/>
                </a:cxn>
                <a:cxn ang="0">
                  <a:pos x="133" y="77"/>
                </a:cxn>
                <a:cxn ang="0">
                  <a:pos x="148" y="73"/>
                </a:cxn>
                <a:cxn ang="0">
                  <a:pos x="184" y="80"/>
                </a:cxn>
                <a:cxn ang="0">
                  <a:pos x="212" y="80"/>
                </a:cxn>
                <a:cxn ang="0">
                  <a:pos x="253" y="55"/>
                </a:cxn>
                <a:cxn ang="0">
                  <a:pos x="328" y="65"/>
                </a:cxn>
                <a:cxn ang="0">
                  <a:pos x="400" y="84"/>
                </a:cxn>
                <a:cxn ang="0">
                  <a:pos x="438" y="89"/>
                </a:cxn>
                <a:cxn ang="0">
                  <a:pos x="469" y="89"/>
                </a:cxn>
                <a:cxn ang="0">
                  <a:pos x="485" y="81"/>
                </a:cxn>
                <a:cxn ang="0">
                  <a:pos x="494" y="69"/>
                </a:cxn>
                <a:cxn ang="0">
                  <a:pos x="508" y="13"/>
                </a:cxn>
                <a:cxn ang="0">
                  <a:pos x="518" y="5"/>
                </a:cxn>
                <a:cxn ang="0">
                  <a:pos x="570" y="1"/>
                </a:cxn>
                <a:cxn ang="0">
                  <a:pos x="618" y="27"/>
                </a:cxn>
                <a:cxn ang="0">
                  <a:pos x="617" y="61"/>
                </a:cxn>
                <a:cxn ang="0">
                  <a:pos x="614" y="79"/>
                </a:cxn>
              </a:cxnLst>
              <a:rect l="0" t="0" r="r" b="b"/>
              <a:pathLst>
                <a:path w="620" h="546">
                  <a:moveTo>
                    <a:pt x="614" y="79"/>
                  </a:moveTo>
                  <a:lnTo>
                    <a:pt x="608" y="69"/>
                  </a:lnTo>
                  <a:lnTo>
                    <a:pt x="600" y="61"/>
                  </a:lnTo>
                  <a:lnTo>
                    <a:pt x="596" y="59"/>
                  </a:lnTo>
                  <a:lnTo>
                    <a:pt x="590" y="56"/>
                  </a:lnTo>
                  <a:lnTo>
                    <a:pt x="584" y="55"/>
                  </a:lnTo>
                  <a:lnTo>
                    <a:pt x="577" y="55"/>
                  </a:lnTo>
                  <a:lnTo>
                    <a:pt x="565" y="65"/>
                  </a:lnTo>
                  <a:lnTo>
                    <a:pt x="554" y="77"/>
                  </a:lnTo>
                  <a:lnTo>
                    <a:pt x="544" y="92"/>
                  </a:lnTo>
                  <a:lnTo>
                    <a:pt x="534" y="106"/>
                  </a:lnTo>
                  <a:lnTo>
                    <a:pt x="516" y="140"/>
                  </a:lnTo>
                  <a:lnTo>
                    <a:pt x="498" y="177"/>
                  </a:lnTo>
                  <a:lnTo>
                    <a:pt x="481" y="216"/>
                  </a:lnTo>
                  <a:lnTo>
                    <a:pt x="464" y="254"/>
                  </a:lnTo>
                  <a:lnTo>
                    <a:pt x="446" y="293"/>
                  </a:lnTo>
                  <a:lnTo>
                    <a:pt x="428" y="330"/>
                  </a:lnTo>
                  <a:lnTo>
                    <a:pt x="410" y="360"/>
                  </a:lnTo>
                  <a:lnTo>
                    <a:pt x="392" y="388"/>
                  </a:lnTo>
                  <a:lnTo>
                    <a:pt x="372" y="414"/>
                  </a:lnTo>
                  <a:lnTo>
                    <a:pt x="352" y="440"/>
                  </a:lnTo>
                  <a:lnTo>
                    <a:pt x="329" y="462"/>
                  </a:lnTo>
                  <a:lnTo>
                    <a:pt x="308" y="484"/>
                  </a:lnTo>
                  <a:lnTo>
                    <a:pt x="285" y="502"/>
                  </a:lnTo>
                  <a:lnTo>
                    <a:pt x="262" y="517"/>
                  </a:lnTo>
                  <a:lnTo>
                    <a:pt x="252" y="524"/>
                  </a:lnTo>
                  <a:lnTo>
                    <a:pt x="240" y="530"/>
                  </a:lnTo>
                  <a:lnTo>
                    <a:pt x="229" y="536"/>
                  </a:lnTo>
                  <a:lnTo>
                    <a:pt x="219" y="540"/>
                  </a:lnTo>
                  <a:lnTo>
                    <a:pt x="208" y="542"/>
                  </a:lnTo>
                  <a:lnTo>
                    <a:pt x="199" y="545"/>
                  </a:lnTo>
                  <a:lnTo>
                    <a:pt x="188" y="546"/>
                  </a:lnTo>
                  <a:lnTo>
                    <a:pt x="179" y="546"/>
                  </a:lnTo>
                  <a:lnTo>
                    <a:pt x="171" y="545"/>
                  </a:lnTo>
                  <a:lnTo>
                    <a:pt x="161" y="544"/>
                  </a:lnTo>
                  <a:lnTo>
                    <a:pt x="153" y="540"/>
                  </a:lnTo>
                  <a:lnTo>
                    <a:pt x="145" y="536"/>
                  </a:lnTo>
                  <a:lnTo>
                    <a:pt x="139" y="530"/>
                  </a:lnTo>
                  <a:lnTo>
                    <a:pt x="132" y="524"/>
                  </a:lnTo>
                  <a:lnTo>
                    <a:pt x="125" y="516"/>
                  </a:lnTo>
                  <a:lnTo>
                    <a:pt x="120" y="505"/>
                  </a:lnTo>
                  <a:lnTo>
                    <a:pt x="84" y="432"/>
                  </a:lnTo>
                  <a:lnTo>
                    <a:pt x="64" y="386"/>
                  </a:lnTo>
                  <a:lnTo>
                    <a:pt x="60" y="378"/>
                  </a:lnTo>
                  <a:lnTo>
                    <a:pt x="55" y="372"/>
                  </a:lnTo>
                  <a:lnTo>
                    <a:pt x="49" y="366"/>
                  </a:lnTo>
                  <a:lnTo>
                    <a:pt x="43" y="361"/>
                  </a:lnTo>
                  <a:lnTo>
                    <a:pt x="35" y="357"/>
                  </a:lnTo>
                  <a:lnTo>
                    <a:pt x="24" y="354"/>
                  </a:lnTo>
                  <a:lnTo>
                    <a:pt x="13" y="352"/>
                  </a:lnTo>
                  <a:lnTo>
                    <a:pt x="0" y="349"/>
                  </a:lnTo>
                  <a:lnTo>
                    <a:pt x="8" y="338"/>
                  </a:lnTo>
                  <a:lnTo>
                    <a:pt x="15" y="328"/>
                  </a:lnTo>
                  <a:lnTo>
                    <a:pt x="20" y="318"/>
                  </a:lnTo>
                  <a:lnTo>
                    <a:pt x="24" y="309"/>
                  </a:lnTo>
                  <a:lnTo>
                    <a:pt x="27" y="300"/>
                  </a:lnTo>
                  <a:lnTo>
                    <a:pt x="28" y="289"/>
                  </a:lnTo>
                  <a:lnTo>
                    <a:pt x="29" y="277"/>
                  </a:lnTo>
                  <a:lnTo>
                    <a:pt x="29" y="265"/>
                  </a:lnTo>
                  <a:lnTo>
                    <a:pt x="29" y="254"/>
                  </a:lnTo>
                  <a:lnTo>
                    <a:pt x="29" y="249"/>
                  </a:lnTo>
                  <a:lnTo>
                    <a:pt x="29" y="244"/>
                  </a:lnTo>
                  <a:lnTo>
                    <a:pt x="29" y="234"/>
                  </a:lnTo>
                  <a:lnTo>
                    <a:pt x="31" y="228"/>
                  </a:lnTo>
                  <a:lnTo>
                    <a:pt x="31" y="221"/>
                  </a:lnTo>
                  <a:lnTo>
                    <a:pt x="32" y="216"/>
                  </a:lnTo>
                  <a:lnTo>
                    <a:pt x="35" y="212"/>
                  </a:lnTo>
                  <a:lnTo>
                    <a:pt x="40" y="204"/>
                  </a:lnTo>
                  <a:lnTo>
                    <a:pt x="45" y="198"/>
                  </a:lnTo>
                  <a:lnTo>
                    <a:pt x="52" y="193"/>
                  </a:lnTo>
                  <a:lnTo>
                    <a:pt x="57" y="185"/>
                  </a:lnTo>
                  <a:lnTo>
                    <a:pt x="60" y="181"/>
                  </a:lnTo>
                  <a:lnTo>
                    <a:pt x="63" y="176"/>
                  </a:lnTo>
                  <a:lnTo>
                    <a:pt x="64" y="169"/>
                  </a:lnTo>
                  <a:lnTo>
                    <a:pt x="65" y="162"/>
                  </a:lnTo>
                  <a:lnTo>
                    <a:pt x="84" y="168"/>
                  </a:lnTo>
                  <a:lnTo>
                    <a:pt x="91" y="168"/>
                  </a:lnTo>
                  <a:lnTo>
                    <a:pt x="96" y="166"/>
                  </a:lnTo>
                  <a:lnTo>
                    <a:pt x="103" y="164"/>
                  </a:lnTo>
                  <a:lnTo>
                    <a:pt x="108" y="161"/>
                  </a:lnTo>
                  <a:lnTo>
                    <a:pt x="117" y="156"/>
                  </a:lnTo>
                  <a:lnTo>
                    <a:pt x="127" y="150"/>
                  </a:lnTo>
                  <a:lnTo>
                    <a:pt x="127" y="133"/>
                  </a:lnTo>
                  <a:lnTo>
                    <a:pt x="127" y="120"/>
                  </a:lnTo>
                  <a:lnTo>
                    <a:pt x="127" y="109"/>
                  </a:lnTo>
                  <a:lnTo>
                    <a:pt x="127" y="102"/>
                  </a:lnTo>
                  <a:lnTo>
                    <a:pt x="127" y="93"/>
                  </a:lnTo>
                  <a:lnTo>
                    <a:pt x="128" y="87"/>
                  </a:lnTo>
                  <a:lnTo>
                    <a:pt x="131" y="81"/>
                  </a:lnTo>
                  <a:lnTo>
                    <a:pt x="133" y="77"/>
                  </a:lnTo>
                  <a:lnTo>
                    <a:pt x="137" y="75"/>
                  </a:lnTo>
                  <a:lnTo>
                    <a:pt x="143" y="75"/>
                  </a:lnTo>
                  <a:lnTo>
                    <a:pt x="148" y="73"/>
                  </a:lnTo>
                  <a:lnTo>
                    <a:pt x="155" y="75"/>
                  </a:lnTo>
                  <a:lnTo>
                    <a:pt x="168" y="77"/>
                  </a:lnTo>
                  <a:lnTo>
                    <a:pt x="184" y="80"/>
                  </a:lnTo>
                  <a:lnTo>
                    <a:pt x="193" y="80"/>
                  </a:lnTo>
                  <a:lnTo>
                    <a:pt x="203" y="80"/>
                  </a:lnTo>
                  <a:lnTo>
                    <a:pt x="212" y="80"/>
                  </a:lnTo>
                  <a:lnTo>
                    <a:pt x="223" y="79"/>
                  </a:lnTo>
                  <a:lnTo>
                    <a:pt x="237" y="67"/>
                  </a:lnTo>
                  <a:lnTo>
                    <a:pt x="253" y="55"/>
                  </a:lnTo>
                  <a:lnTo>
                    <a:pt x="278" y="56"/>
                  </a:lnTo>
                  <a:lnTo>
                    <a:pt x="304" y="60"/>
                  </a:lnTo>
                  <a:lnTo>
                    <a:pt x="328" y="65"/>
                  </a:lnTo>
                  <a:lnTo>
                    <a:pt x="352" y="72"/>
                  </a:lnTo>
                  <a:lnTo>
                    <a:pt x="376" y="79"/>
                  </a:lnTo>
                  <a:lnTo>
                    <a:pt x="400" y="84"/>
                  </a:lnTo>
                  <a:lnTo>
                    <a:pt x="412" y="87"/>
                  </a:lnTo>
                  <a:lnTo>
                    <a:pt x="425" y="89"/>
                  </a:lnTo>
                  <a:lnTo>
                    <a:pt x="438" y="89"/>
                  </a:lnTo>
                  <a:lnTo>
                    <a:pt x="452" y="91"/>
                  </a:lnTo>
                  <a:lnTo>
                    <a:pt x="461" y="89"/>
                  </a:lnTo>
                  <a:lnTo>
                    <a:pt x="469" y="89"/>
                  </a:lnTo>
                  <a:lnTo>
                    <a:pt x="476" y="87"/>
                  </a:lnTo>
                  <a:lnTo>
                    <a:pt x="481" y="85"/>
                  </a:lnTo>
                  <a:lnTo>
                    <a:pt x="485" y="81"/>
                  </a:lnTo>
                  <a:lnTo>
                    <a:pt x="489" y="79"/>
                  </a:lnTo>
                  <a:lnTo>
                    <a:pt x="492" y="75"/>
                  </a:lnTo>
                  <a:lnTo>
                    <a:pt x="494" y="69"/>
                  </a:lnTo>
                  <a:lnTo>
                    <a:pt x="500" y="47"/>
                  </a:lnTo>
                  <a:lnTo>
                    <a:pt x="505" y="17"/>
                  </a:lnTo>
                  <a:lnTo>
                    <a:pt x="508" y="13"/>
                  </a:lnTo>
                  <a:lnTo>
                    <a:pt x="510" y="11"/>
                  </a:lnTo>
                  <a:lnTo>
                    <a:pt x="513" y="8"/>
                  </a:lnTo>
                  <a:lnTo>
                    <a:pt x="518" y="5"/>
                  </a:lnTo>
                  <a:lnTo>
                    <a:pt x="529" y="3"/>
                  </a:lnTo>
                  <a:lnTo>
                    <a:pt x="541" y="3"/>
                  </a:lnTo>
                  <a:lnTo>
                    <a:pt x="570" y="1"/>
                  </a:lnTo>
                  <a:lnTo>
                    <a:pt x="596" y="0"/>
                  </a:lnTo>
                  <a:lnTo>
                    <a:pt x="620" y="0"/>
                  </a:lnTo>
                  <a:lnTo>
                    <a:pt x="618" y="27"/>
                  </a:lnTo>
                  <a:lnTo>
                    <a:pt x="617" y="45"/>
                  </a:lnTo>
                  <a:lnTo>
                    <a:pt x="617" y="53"/>
                  </a:lnTo>
                  <a:lnTo>
                    <a:pt x="617" y="61"/>
                  </a:lnTo>
                  <a:lnTo>
                    <a:pt x="618" y="69"/>
                  </a:lnTo>
                  <a:lnTo>
                    <a:pt x="620" y="79"/>
                  </a:lnTo>
                  <a:lnTo>
                    <a:pt x="614" y="7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4" name="Freeform 1627"/>
            <p:cNvSpPr>
              <a:spLocks/>
            </p:cNvSpPr>
            <p:nvPr/>
          </p:nvSpPr>
          <p:spPr bwMode="auto">
            <a:xfrm>
              <a:off x="5440684" y="5194300"/>
              <a:ext cx="333375" cy="587375"/>
            </a:xfrm>
            <a:custGeom>
              <a:avLst/>
              <a:gdLst/>
              <a:ahLst/>
              <a:cxnLst>
                <a:cxn ang="0">
                  <a:pos x="649" y="122"/>
                </a:cxn>
                <a:cxn ang="0">
                  <a:pos x="615" y="22"/>
                </a:cxn>
                <a:cxn ang="0">
                  <a:pos x="595" y="0"/>
                </a:cxn>
                <a:cxn ang="0">
                  <a:pos x="567" y="7"/>
                </a:cxn>
                <a:cxn ang="0">
                  <a:pos x="546" y="26"/>
                </a:cxn>
                <a:cxn ang="0">
                  <a:pos x="529" y="78"/>
                </a:cxn>
                <a:cxn ang="0">
                  <a:pos x="543" y="120"/>
                </a:cxn>
                <a:cxn ang="0">
                  <a:pos x="559" y="163"/>
                </a:cxn>
                <a:cxn ang="0">
                  <a:pos x="542" y="238"/>
                </a:cxn>
                <a:cxn ang="0">
                  <a:pos x="517" y="314"/>
                </a:cxn>
                <a:cxn ang="0">
                  <a:pos x="485" y="515"/>
                </a:cxn>
                <a:cxn ang="0">
                  <a:pos x="428" y="595"/>
                </a:cxn>
                <a:cxn ang="0">
                  <a:pos x="425" y="632"/>
                </a:cxn>
                <a:cxn ang="0">
                  <a:pos x="418" y="671"/>
                </a:cxn>
                <a:cxn ang="0">
                  <a:pos x="396" y="692"/>
                </a:cxn>
                <a:cxn ang="0">
                  <a:pos x="356" y="763"/>
                </a:cxn>
                <a:cxn ang="0">
                  <a:pos x="309" y="860"/>
                </a:cxn>
                <a:cxn ang="0">
                  <a:pos x="249" y="953"/>
                </a:cxn>
                <a:cxn ang="0">
                  <a:pos x="197" y="1035"/>
                </a:cxn>
                <a:cxn ang="0">
                  <a:pos x="134" y="1087"/>
                </a:cxn>
                <a:cxn ang="0">
                  <a:pos x="13" y="1168"/>
                </a:cxn>
                <a:cxn ang="0">
                  <a:pos x="0" y="1192"/>
                </a:cxn>
                <a:cxn ang="0">
                  <a:pos x="16" y="1209"/>
                </a:cxn>
                <a:cxn ang="0">
                  <a:pos x="65" y="1216"/>
                </a:cxn>
                <a:cxn ang="0">
                  <a:pos x="141" y="1209"/>
                </a:cxn>
                <a:cxn ang="0">
                  <a:pos x="230" y="1177"/>
                </a:cxn>
                <a:cxn ang="0">
                  <a:pos x="306" y="1124"/>
                </a:cxn>
                <a:cxn ang="0">
                  <a:pos x="337" y="1080"/>
                </a:cxn>
                <a:cxn ang="0">
                  <a:pos x="348" y="1040"/>
                </a:cxn>
                <a:cxn ang="0">
                  <a:pos x="349" y="976"/>
                </a:cxn>
                <a:cxn ang="0">
                  <a:pos x="356" y="936"/>
                </a:cxn>
                <a:cxn ang="0">
                  <a:pos x="386" y="923"/>
                </a:cxn>
                <a:cxn ang="0">
                  <a:pos x="420" y="888"/>
                </a:cxn>
                <a:cxn ang="0">
                  <a:pos x="457" y="832"/>
                </a:cxn>
                <a:cxn ang="0">
                  <a:pos x="522" y="796"/>
                </a:cxn>
                <a:cxn ang="0">
                  <a:pos x="559" y="768"/>
                </a:cxn>
                <a:cxn ang="0">
                  <a:pos x="567" y="725"/>
                </a:cxn>
                <a:cxn ang="0">
                  <a:pos x="574" y="697"/>
                </a:cxn>
                <a:cxn ang="0">
                  <a:pos x="641" y="620"/>
                </a:cxn>
                <a:cxn ang="0">
                  <a:pos x="661" y="579"/>
                </a:cxn>
                <a:cxn ang="0">
                  <a:pos x="658" y="555"/>
                </a:cxn>
                <a:cxn ang="0">
                  <a:pos x="643" y="547"/>
                </a:cxn>
                <a:cxn ang="0">
                  <a:pos x="601" y="538"/>
                </a:cxn>
                <a:cxn ang="0">
                  <a:pos x="609" y="498"/>
                </a:cxn>
                <a:cxn ang="0">
                  <a:pos x="621" y="498"/>
                </a:cxn>
                <a:cxn ang="0">
                  <a:pos x="635" y="494"/>
                </a:cxn>
                <a:cxn ang="0">
                  <a:pos x="659" y="479"/>
                </a:cxn>
                <a:cxn ang="0">
                  <a:pos x="682" y="426"/>
                </a:cxn>
                <a:cxn ang="0">
                  <a:pos x="683" y="380"/>
                </a:cxn>
                <a:cxn ang="0">
                  <a:pos x="658" y="300"/>
                </a:cxn>
                <a:cxn ang="0">
                  <a:pos x="639" y="266"/>
                </a:cxn>
              </a:cxnLst>
              <a:rect l="0" t="0" r="r" b="b"/>
              <a:pathLst>
                <a:path w="686" h="1216">
                  <a:moveTo>
                    <a:pt x="637" y="266"/>
                  </a:moveTo>
                  <a:lnTo>
                    <a:pt x="655" y="151"/>
                  </a:lnTo>
                  <a:lnTo>
                    <a:pt x="654" y="140"/>
                  </a:lnTo>
                  <a:lnTo>
                    <a:pt x="649" y="122"/>
                  </a:lnTo>
                  <a:lnTo>
                    <a:pt x="642" y="98"/>
                  </a:lnTo>
                  <a:lnTo>
                    <a:pt x="634" y="71"/>
                  </a:lnTo>
                  <a:lnTo>
                    <a:pt x="625" y="44"/>
                  </a:lnTo>
                  <a:lnTo>
                    <a:pt x="615" y="22"/>
                  </a:lnTo>
                  <a:lnTo>
                    <a:pt x="610" y="12"/>
                  </a:lnTo>
                  <a:lnTo>
                    <a:pt x="605" y="6"/>
                  </a:lnTo>
                  <a:lnTo>
                    <a:pt x="599" y="2"/>
                  </a:lnTo>
                  <a:lnTo>
                    <a:pt x="595" y="0"/>
                  </a:lnTo>
                  <a:lnTo>
                    <a:pt x="587" y="0"/>
                  </a:lnTo>
                  <a:lnTo>
                    <a:pt x="581" y="2"/>
                  </a:lnTo>
                  <a:lnTo>
                    <a:pt x="573" y="4"/>
                  </a:lnTo>
                  <a:lnTo>
                    <a:pt x="567" y="7"/>
                  </a:lnTo>
                  <a:lnTo>
                    <a:pt x="561" y="11"/>
                  </a:lnTo>
                  <a:lnTo>
                    <a:pt x="555" y="15"/>
                  </a:lnTo>
                  <a:lnTo>
                    <a:pt x="550" y="20"/>
                  </a:lnTo>
                  <a:lnTo>
                    <a:pt x="546" y="26"/>
                  </a:lnTo>
                  <a:lnTo>
                    <a:pt x="539" y="38"/>
                  </a:lnTo>
                  <a:lnTo>
                    <a:pt x="533" y="51"/>
                  </a:lnTo>
                  <a:lnTo>
                    <a:pt x="530" y="64"/>
                  </a:lnTo>
                  <a:lnTo>
                    <a:pt x="529" y="78"/>
                  </a:lnTo>
                  <a:lnTo>
                    <a:pt x="530" y="91"/>
                  </a:lnTo>
                  <a:lnTo>
                    <a:pt x="534" y="102"/>
                  </a:lnTo>
                  <a:lnTo>
                    <a:pt x="538" y="111"/>
                  </a:lnTo>
                  <a:lnTo>
                    <a:pt x="543" y="120"/>
                  </a:lnTo>
                  <a:lnTo>
                    <a:pt x="550" y="130"/>
                  </a:lnTo>
                  <a:lnTo>
                    <a:pt x="554" y="139"/>
                  </a:lnTo>
                  <a:lnTo>
                    <a:pt x="558" y="150"/>
                  </a:lnTo>
                  <a:lnTo>
                    <a:pt x="559" y="163"/>
                  </a:lnTo>
                  <a:lnTo>
                    <a:pt x="558" y="174"/>
                  </a:lnTo>
                  <a:lnTo>
                    <a:pt x="554" y="191"/>
                  </a:lnTo>
                  <a:lnTo>
                    <a:pt x="549" y="214"/>
                  </a:lnTo>
                  <a:lnTo>
                    <a:pt x="542" y="238"/>
                  </a:lnTo>
                  <a:lnTo>
                    <a:pt x="535" y="263"/>
                  </a:lnTo>
                  <a:lnTo>
                    <a:pt x="529" y="284"/>
                  </a:lnTo>
                  <a:lnTo>
                    <a:pt x="522" y="303"/>
                  </a:lnTo>
                  <a:lnTo>
                    <a:pt x="517" y="314"/>
                  </a:lnTo>
                  <a:lnTo>
                    <a:pt x="517" y="464"/>
                  </a:lnTo>
                  <a:lnTo>
                    <a:pt x="506" y="483"/>
                  </a:lnTo>
                  <a:lnTo>
                    <a:pt x="496" y="499"/>
                  </a:lnTo>
                  <a:lnTo>
                    <a:pt x="485" y="515"/>
                  </a:lnTo>
                  <a:lnTo>
                    <a:pt x="474" y="528"/>
                  </a:lnTo>
                  <a:lnTo>
                    <a:pt x="454" y="555"/>
                  </a:lnTo>
                  <a:lnTo>
                    <a:pt x="433" y="584"/>
                  </a:lnTo>
                  <a:lnTo>
                    <a:pt x="428" y="595"/>
                  </a:lnTo>
                  <a:lnTo>
                    <a:pt x="425" y="605"/>
                  </a:lnTo>
                  <a:lnTo>
                    <a:pt x="424" y="615"/>
                  </a:lnTo>
                  <a:lnTo>
                    <a:pt x="425" y="623"/>
                  </a:lnTo>
                  <a:lnTo>
                    <a:pt x="425" y="632"/>
                  </a:lnTo>
                  <a:lnTo>
                    <a:pt x="425" y="641"/>
                  </a:lnTo>
                  <a:lnTo>
                    <a:pt x="424" y="652"/>
                  </a:lnTo>
                  <a:lnTo>
                    <a:pt x="421" y="663"/>
                  </a:lnTo>
                  <a:lnTo>
                    <a:pt x="418" y="671"/>
                  </a:lnTo>
                  <a:lnTo>
                    <a:pt x="413" y="677"/>
                  </a:lnTo>
                  <a:lnTo>
                    <a:pt x="408" y="683"/>
                  </a:lnTo>
                  <a:lnTo>
                    <a:pt x="402" y="687"/>
                  </a:lnTo>
                  <a:lnTo>
                    <a:pt x="396" y="692"/>
                  </a:lnTo>
                  <a:lnTo>
                    <a:pt x="389" y="699"/>
                  </a:lnTo>
                  <a:lnTo>
                    <a:pt x="384" y="707"/>
                  </a:lnTo>
                  <a:lnTo>
                    <a:pt x="378" y="716"/>
                  </a:lnTo>
                  <a:lnTo>
                    <a:pt x="356" y="763"/>
                  </a:lnTo>
                  <a:lnTo>
                    <a:pt x="338" y="803"/>
                  </a:lnTo>
                  <a:lnTo>
                    <a:pt x="330" y="821"/>
                  </a:lnTo>
                  <a:lnTo>
                    <a:pt x="320" y="840"/>
                  </a:lnTo>
                  <a:lnTo>
                    <a:pt x="309" y="860"/>
                  </a:lnTo>
                  <a:lnTo>
                    <a:pt x="294" y="879"/>
                  </a:lnTo>
                  <a:lnTo>
                    <a:pt x="277" y="904"/>
                  </a:lnTo>
                  <a:lnTo>
                    <a:pt x="262" y="929"/>
                  </a:lnTo>
                  <a:lnTo>
                    <a:pt x="249" y="953"/>
                  </a:lnTo>
                  <a:lnTo>
                    <a:pt x="236" y="977"/>
                  </a:lnTo>
                  <a:lnTo>
                    <a:pt x="221" y="1000"/>
                  </a:lnTo>
                  <a:lnTo>
                    <a:pt x="206" y="1023"/>
                  </a:lnTo>
                  <a:lnTo>
                    <a:pt x="197" y="1035"/>
                  </a:lnTo>
                  <a:lnTo>
                    <a:pt x="189" y="1045"/>
                  </a:lnTo>
                  <a:lnTo>
                    <a:pt x="178" y="1056"/>
                  </a:lnTo>
                  <a:lnTo>
                    <a:pt x="168" y="1065"/>
                  </a:lnTo>
                  <a:lnTo>
                    <a:pt x="134" y="1087"/>
                  </a:lnTo>
                  <a:lnTo>
                    <a:pt x="77" y="1121"/>
                  </a:lnTo>
                  <a:lnTo>
                    <a:pt x="48" y="1141"/>
                  </a:lnTo>
                  <a:lnTo>
                    <a:pt x="22" y="1158"/>
                  </a:lnTo>
                  <a:lnTo>
                    <a:pt x="13" y="1168"/>
                  </a:lnTo>
                  <a:lnTo>
                    <a:pt x="5" y="1174"/>
                  </a:lnTo>
                  <a:lnTo>
                    <a:pt x="1" y="1181"/>
                  </a:lnTo>
                  <a:lnTo>
                    <a:pt x="0" y="1186"/>
                  </a:lnTo>
                  <a:lnTo>
                    <a:pt x="0" y="1192"/>
                  </a:lnTo>
                  <a:lnTo>
                    <a:pt x="1" y="1196"/>
                  </a:lnTo>
                  <a:lnTo>
                    <a:pt x="4" y="1200"/>
                  </a:lnTo>
                  <a:lnTo>
                    <a:pt x="8" y="1204"/>
                  </a:lnTo>
                  <a:lnTo>
                    <a:pt x="16" y="1209"/>
                  </a:lnTo>
                  <a:lnTo>
                    <a:pt x="26" y="1213"/>
                  </a:lnTo>
                  <a:lnTo>
                    <a:pt x="40" y="1214"/>
                  </a:lnTo>
                  <a:lnTo>
                    <a:pt x="53" y="1216"/>
                  </a:lnTo>
                  <a:lnTo>
                    <a:pt x="65" y="1216"/>
                  </a:lnTo>
                  <a:lnTo>
                    <a:pt x="77" y="1216"/>
                  </a:lnTo>
                  <a:lnTo>
                    <a:pt x="97" y="1216"/>
                  </a:lnTo>
                  <a:lnTo>
                    <a:pt x="118" y="1213"/>
                  </a:lnTo>
                  <a:lnTo>
                    <a:pt x="141" y="1209"/>
                  </a:lnTo>
                  <a:lnTo>
                    <a:pt x="162" y="1204"/>
                  </a:lnTo>
                  <a:lnTo>
                    <a:pt x="185" y="1196"/>
                  </a:lnTo>
                  <a:lnTo>
                    <a:pt x="208" y="1188"/>
                  </a:lnTo>
                  <a:lnTo>
                    <a:pt x="230" y="1177"/>
                  </a:lnTo>
                  <a:lnTo>
                    <a:pt x="252" y="1166"/>
                  </a:lnTo>
                  <a:lnTo>
                    <a:pt x="272" y="1153"/>
                  </a:lnTo>
                  <a:lnTo>
                    <a:pt x="290" y="1139"/>
                  </a:lnTo>
                  <a:lnTo>
                    <a:pt x="306" y="1124"/>
                  </a:lnTo>
                  <a:lnTo>
                    <a:pt x="321" y="1107"/>
                  </a:lnTo>
                  <a:lnTo>
                    <a:pt x="326" y="1099"/>
                  </a:lnTo>
                  <a:lnTo>
                    <a:pt x="332" y="1089"/>
                  </a:lnTo>
                  <a:lnTo>
                    <a:pt x="337" y="1080"/>
                  </a:lnTo>
                  <a:lnTo>
                    <a:pt x="341" y="1071"/>
                  </a:lnTo>
                  <a:lnTo>
                    <a:pt x="344" y="1061"/>
                  </a:lnTo>
                  <a:lnTo>
                    <a:pt x="346" y="1051"/>
                  </a:lnTo>
                  <a:lnTo>
                    <a:pt x="348" y="1040"/>
                  </a:lnTo>
                  <a:lnTo>
                    <a:pt x="349" y="1029"/>
                  </a:lnTo>
                  <a:lnTo>
                    <a:pt x="349" y="1007"/>
                  </a:lnTo>
                  <a:lnTo>
                    <a:pt x="349" y="989"/>
                  </a:lnTo>
                  <a:lnTo>
                    <a:pt x="349" y="976"/>
                  </a:lnTo>
                  <a:lnTo>
                    <a:pt x="349" y="964"/>
                  </a:lnTo>
                  <a:lnTo>
                    <a:pt x="349" y="951"/>
                  </a:lnTo>
                  <a:lnTo>
                    <a:pt x="352" y="941"/>
                  </a:lnTo>
                  <a:lnTo>
                    <a:pt x="356" y="936"/>
                  </a:lnTo>
                  <a:lnTo>
                    <a:pt x="361" y="932"/>
                  </a:lnTo>
                  <a:lnTo>
                    <a:pt x="368" y="931"/>
                  </a:lnTo>
                  <a:lnTo>
                    <a:pt x="377" y="927"/>
                  </a:lnTo>
                  <a:lnTo>
                    <a:pt x="386" y="923"/>
                  </a:lnTo>
                  <a:lnTo>
                    <a:pt x="397" y="915"/>
                  </a:lnTo>
                  <a:lnTo>
                    <a:pt x="405" y="908"/>
                  </a:lnTo>
                  <a:lnTo>
                    <a:pt x="413" y="899"/>
                  </a:lnTo>
                  <a:lnTo>
                    <a:pt x="420" y="888"/>
                  </a:lnTo>
                  <a:lnTo>
                    <a:pt x="425" y="877"/>
                  </a:lnTo>
                  <a:lnTo>
                    <a:pt x="436" y="857"/>
                  </a:lnTo>
                  <a:lnTo>
                    <a:pt x="445" y="843"/>
                  </a:lnTo>
                  <a:lnTo>
                    <a:pt x="457" y="832"/>
                  </a:lnTo>
                  <a:lnTo>
                    <a:pt x="469" y="824"/>
                  </a:lnTo>
                  <a:lnTo>
                    <a:pt x="482" y="816"/>
                  </a:lnTo>
                  <a:lnTo>
                    <a:pt x="496" y="808"/>
                  </a:lnTo>
                  <a:lnTo>
                    <a:pt x="522" y="796"/>
                  </a:lnTo>
                  <a:lnTo>
                    <a:pt x="547" y="783"/>
                  </a:lnTo>
                  <a:lnTo>
                    <a:pt x="553" y="779"/>
                  </a:lnTo>
                  <a:lnTo>
                    <a:pt x="557" y="773"/>
                  </a:lnTo>
                  <a:lnTo>
                    <a:pt x="559" y="768"/>
                  </a:lnTo>
                  <a:lnTo>
                    <a:pt x="562" y="761"/>
                  </a:lnTo>
                  <a:lnTo>
                    <a:pt x="565" y="749"/>
                  </a:lnTo>
                  <a:lnTo>
                    <a:pt x="566" y="737"/>
                  </a:lnTo>
                  <a:lnTo>
                    <a:pt x="567" y="725"/>
                  </a:lnTo>
                  <a:lnTo>
                    <a:pt x="569" y="713"/>
                  </a:lnTo>
                  <a:lnTo>
                    <a:pt x="570" y="708"/>
                  </a:lnTo>
                  <a:lnTo>
                    <a:pt x="571" y="703"/>
                  </a:lnTo>
                  <a:lnTo>
                    <a:pt x="574" y="697"/>
                  </a:lnTo>
                  <a:lnTo>
                    <a:pt x="577" y="692"/>
                  </a:lnTo>
                  <a:lnTo>
                    <a:pt x="601" y="668"/>
                  </a:lnTo>
                  <a:lnTo>
                    <a:pt x="629" y="637"/>
                  </a:lnTo>
                  <a:lnTo>
                    <a:pt x="641" y="620"/>
                  </a:lnTo>
                  <a:lnTo>
                    <a:pt x="651" y="603"/>
                  </a:lnTo>
                  <a:lnTo>
                    <a:pt x="655" y="595"/>
                  </a:lnTo>
                  <a:lnTo>
                    <a:pt x="659" y="587"/>
                  </a:lnTo>
                  <a:lnTo>
                    <a:pt x="661" y="579"/>
                  </a:lnTo>
                  <a:lnTo>
                    <a:pt x="662" y="572"/>
                  </a:lnTo>
                  <a:lnTo>
                    <a:pt x="661" y="566"/>
                  </a:lnTo>
                  <a:lnTo>
                    <a:pt x="659" y="559"/>
                  </a:lnTo>
                  <a:lnTo>
                    <a:pt x="658" y="555"/>
                  </a:lnTo>
                  <a:lnTo>
                    <a:pt x="654" y="552"/>
                  </a:lnTo>
                  <a:lnTo>
                    <a:pt x="651" y="550"/>
                  </a:lnTo>
                  <a:lnTo>
                    <a:pt x="647" y="548"/>
                  </a:lnTo>
                  <a:lnTo>
                    <a:pt x="643" y="547"/>
                  </a:lnTo>
                  <a:lnTo>
                    <a:pt x="638" y="547"/>
                  </a:lnTo>
                  <a:lnTo>
                    <a:pt x="618" y="551"/>
                  </a:lnTo>
                  <a:lnTo>
                    <a:pt x="601" y="554"/>
                  </a:lnTo>
                  <a:lnTo>
                    <a:pt x="601" y="538"/>
                  </a:lnTo>
                  <a:lnTo>
                    <a:pt x="601" y="522"/>
                  </a:lnTo>
                  <a:lnTo>
                    <a:pt x="601" y="507"/>
                  </a:lnTo>
                  <a:lnTo>
                    <a:pt x="601" y="494"/>
                  </a:lnTo>
                  <a:lnTo>
                    <a:pt x="609" y="498"/>
                  </a:lnTo>
                  <a:lnTo>
                    <a:pt x="614" y="499"/>
                  </a:lnTo>
                  <a:lnTo>
                    <a:pt x="617" y="499"/>
                  </a:lnTo>
                  <a:lnTo>
                    <a:pt x="618" y="499"/>
                  </a:lnTo>
                  <a:lnTo>
                    <a:pt x="621" y="498"/>
                  </a:lnTo>
                  <a:lnTo>
                    <a:pt x="622" y="495"/>
                  </a:lnTo>
                  <a:lnTo>
                    <a:pt x="626" y="495"/>
                  </a:lnTo>
                  <a:lnTo>
                    <a:pt x="631" y="494"/>
                  </a:lnTo>
                  <a:lnTo>
                    <a:pt x="635" y="494"/>
                  </a:lnTo>
                  <a:lnTo>
                    <a:pt x="641" y="492"/>
                  </a:lnTo>
                  <a:lnTo>
                    <a:pt x="645" y="490"/>
                  </a:lnTo>
                  <a:lnTo>
                    <a:pt x="650" y="487"/>
                  </a:lnTo>
                  <a:lnTo>
                    <a:pt x="659" y="479"/>
                  </a:lnTo>
                  <a:lnTo>
                    <a:pt x="667" y="467"/>
                  </a:lnTo>
                  <a:lnTo>
                    <a:pt x="674" y="454"/>
                  </a:lnTo>
                  <a:lnTo>
                    <a:pt x="681" y="435"/>
                  </a:lnTo>
                  <a:lnTo>
                    <a:pt x="682" y="426"/>
                  </a:lnTo>
                  <a:lnTo>
                    <a:pt x="685" y="415"/>
                  </a:lnTo>
                  <a:lnTo>
                    <a:pt x="685" y="403"/>
                  </a:lnTo>
                  <a:lnTo>
                    <a:pt x="686" y="391"/>
                  </a:lnTo>
                  <a:lnTo>
                    <a:pt x="683" y="380"/>
                  </a:lnTo>
                  <a:lnTo>
                    <a:pt x="679" y="364"/>
                  </a:lnTo>
                  <a:lnTo>
                    <a:pt x="674" y="343"/>
                  </a:lnTo>
                  <a:lnTo>
                    <a:pt x="666" y="322"/>
                  </a:lnTo>
                  <a:lnTo>
                    <a:pt x="658" y="300"/>
                  </a:lnTo>
                  <a:lnTo>
                    <a:pt x="650" y="282"/>
                  </a:lnTo>
                  <a:lnTo>
                    <a:pt x="646" y="275"/>
                  </a:lnTo>
                  <a:lnTo>
                    <a:pt x="643" y="270"/>
                  </a:lnTo>
                  <a:lnTo>
                    <a:pt x="639" y="266"/>
                  </a:lnTo>
                  <a:lnTo>
                    <a:pt x="637" y="266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5" name="Freeform 1628"/>
            <p:cNvSpPr>
              <a:spLocks/>
            </p:cNvSpPr>
            <p:nvPr/>
          </p:nvSpPr>
          <p:spPr bwMode="auto">
            <a:xfrm>
              <a:off x="1367159" y="3282950"/>
              <a:ext cx="149225" cy="204787"/>
            </a:xfrm>
            <a:custGeom>
              <a:avLst/>
              <a:gdLst/>
              <a:ahLst/>
              <a:cxnLst>
                <a:cxn ang="0">
                  <a:pos x="244" y="21"/>
                </a:cxn>
                <a:cxn ang="0">
                  <a:pos x="222" y="29"/>
                </a:cxn>
                <a:cxn ang="0">
                  <a:pos x="213" y="24"/>
                </a:cxn>
                <a:cxn ang="0">
                  <a:pos x="204" y="11"/>
                </a:cxn>
                <a:cxn ang="0">
                  <a:pos x="190" y="5"/>
                </a:cxn>
                <a:cxn ang="0">
                  <a:pos x="166" y="12"/>
                </a:cxn>
                <a:cxn ang="0">
                  <a:pos x="130" y="17"/>
                </a:cxn>
                <a:cxn ang="0">
                  <a:pos x="116" y="32"/>
                </a:cxn>
                <a:cxn ang="0">
                  <a:pos x="112" y="61"/>
                </a:cxn>
                <a:cxn ang="0">
                  <a:pos x="113" y="89"/>
                </a:cxn>
                <a:cxn ang="0">
                  <a:pos x="112" y="115"/>
                </a:cxn>
                <a:cxn ang="0">
                  <a:pos x="102" y="141"/>
                </a:cxn>
                <a:cxn ang="0">
                  <a:pos x="88" y="168"/>
                </a:cxn>
                <a:cxn ang="0">
                  <a:pos x="61" y="207"/>
                </a:cxn>
                <a:cxn ang="0">
                  <a:pos x="34" y="244"/>
                </a:cxn>
                <a:cxn ang="0">
                  <a:pos x="20" y="271"/>
                </a:cxn>
                <a:cxn ang="0">
                  <a:pos x="8" y="300"/>
                </a:cxn>
                <a:cxn ang="0">
                  <a:pos x="1" y="332"/>
                </a:cxn>
                <a:cxn ang="0">
                  <a:pos x="1" y="353"/>
                </a:cxn>
                <a:cxn ang="0">
                  <a:pos x="13" y="361"/>
                </a:cxn>
                <a:cxn ang="0">
                  <a:pos x="42" y="379"/>
                </a:cxn>
                <a:cxn ang="0">
                  <a:pos x="114" y="415"/>
                </a:cxn>
                <a:cxn ang="0">
                  <a:pos x="174" y="428"/>
                </a:cxn>
                <a:cxn ang="0">
                  <a:pos x="178" y="413"/>
                </a:cxn>
                <a:cxn ang="0">
                  <a:pos x="184" y="404"/>
                </a:cxn>
                <a:cxn ang="0">
                  <a:pos x="190" y="399"/>
                </a:cxn>
                <a:cxn ang="0">
                  <a:pos x="200" y="396"/>
                </a:cxn>
                <a:cxn ang="0">
                  <a:pos x="221" y="393"/>
                </a:cxn>
                <a:cxn ang="0">
                  <a:pos x="248" y="387"/>
                </a:cxn>
                <a:cxn ang="0">
                  <a:pos x="258" y="377"/>
                </a:cxn>
                <a:cxn ang="0">
                  <a:pos x="269" y="364"/>
                </a:cxn>
                <a:cxn ang="0">
                  <a:pos x="289" y="327"/>
                </a:cxn>
                <a:cxn ang="0">
                  <a:pos x="302" y="284"/>
                </a:cxn>
                <a:cxn ang="0">
                  <a:pos x="308" y="241"/>
                </a:cxn>
                <a:cxn ang="0">
                  <a:pos x="305" y="211"/>
                </a:cxn>
                <a:cxn ang="0">
                  <a:pos x="298" y="181"/>
                </a:cxn>
                <a:cxn ang="0">
                  <a:pos x="292" y="152"/>
                </a:cxn>
                <a:cxn ang="0">
                  <a:pos x="289" y="121"/>
                </a:cxn>
                <a:cxn ang="0">
                  <a:pos x="292" y="100"/>
                </a:cxn>
                <a:cxn ang="0">
                  <a:pos x="298" y="81"/>
                </a:cxn>
                <a:cxn ang="0">
                  <a:pos x="305" y="64"/>
                </a:cxn>
                <a:cxn ang="0">
                  <a:pos x="308" y="43"/>
                </a:cxn>
                <a:cxn ang="0">
                  <a:pos x="305" y="29"/>
                </a:cxn>
                <a:cxn ang="0">
                  <a:pos x="305" y="21"/>
                </a:cxn>
                <a:cxn ang="0">
                  <a:pos x="308" y="12"/>
                </a:cxn>
                <a:cxn ang="0">
                  <a:pos x="281" y="12"/>
                </a:cxn>
                <a:cxn ang="0">
                  <a:pos x="260" y="12"/>
                </a:cxn>
              </a:cxnLst>
              <a:rect l="0" t="0" r="r" b="b"/>
              <a:pathLst>
                <a:path w="308" h="428">
                  <a:moveTo>
                    <a:pt x="260" y="12"/>
                  </a:moveTo>
                  <a:lnTo>
                    <a:pt x="244" y="21"/>
                  </a:lnTo>
                  <a:lnTo>
                    <a:pt x="229" y="31"/>
                  </a:lnTo>
                  <a:lnTo>
                    <a:pt x="222" y="29"/>
                  </a:lnTo>
                  <a:lnTo>
                    <a:pt x="217" y="28"/>
                  </a:lnTo>
                  <a:lnTo>
                    <a:pt x="213" y="24"/>
                  </a:lnTo>
                  <a:lnTo>
                    <a:pt x="209" y="20"/>
                  </a:lnTo>
                  <a:lnTo>
                    <a:pt x="204" y="11"/>
                  </a:lnTo>
                  <a:lnTo>
                    <a:pt x="198" y="0"/>
                  </a:lnTo>
                  <a:lnTo>
                    <a:pt x="190" y="5"/>
                  </a:lnTo>
                  <a:lnTo>
                    <a:pt x="180" y="8"/>
                  </a:lnTo>
                  <a:lnTo>
                    <a:pt x="166" y="12"/>
                  </a:lnTo>
                  <a:lnTo>
                    <a:pt x="153" y="15"/>
                  </a:lnTo>
                  <a:lnTo>
                    <a:pt x="130" y="17"/>
                  </a:lnTo>
                  <a:lnTo>
                    <a:pt x="121" y="19"/>
                  </a:lnTo>
                  <a:lnTo>
                    <a:pt x="116" y="32"/>
                  </a:lnTo>
                  <a:lnTo>
                    <a:pt x="113" y="47"/>
                  </a:lnTo>
                  <a:lnTo>
                    <a:pt x="112" y="61"/>
                  </a:lnTo>
                  <a:lnTo>
                    <a:pt x="112" y="75"/>
                  </a:lnTo>
                  <a:lnTo>
                    <a:pt x="113" y="89"/>
                  </a:lnTo>
                  <a:lnTo>
                    <a:pt x="113" y="103"/>
                  </a:lnTo>
                  <a:lnTo>
                    <a:pt x="112" y="115"/>
                  </a:lnTo>
                  <a:lnTo>
                    <a:pt x="109" y="127"/>
                  </a:lnTo>
                  <a:lnTo>
                    <a:pt x="102" y="141"/>
                  </a:lnTo>
                  <a:lnTo>
                    <a:pt x="96" y="155"/>
                  </a:lnTo>
                  <a:lnTo>
                    <a:pt x="88" y="168"/>
                  </a:lnTo>
                  <a:lnTo>
                    <a:pt x="78" y="181"/>
                  </a:lnTo>
                  <a:lnTo>
                    <a:pt x="61" y="207"/>
                  </a:lnTo>
                  <a:lnTo>
                    <a:pt x="44" y="232"/>
                  </a:lnTo>
                  <a:lnTo>
                    <a:pt x="34" y="244"/>
                  </a:lnTo>
                  <a:lnTo>
                    <a:pt x="26" y="257"/>
                  </a:lnTo>
                  <a:lnTo>
                    <a:pt x="20" y="271"/>
                  </a:lnTo>
                  <a:lnTo>
                    <a:pt x="13" y="285"/>
                  </a:lnTo>
                  <a:lnTo>
                    <a:pt x="8" y="300"/>
                  </a:lnTo>
                  <a:lnTo>
                    <a:pt x="4" y="316"/>
                  </a:lnTo>
                  <a:lnTo>
                    <a:pt x="1" y="332"/>
                  </a:lnTo>
                  <a:lnTo>
                    <a:pt x="0" y="349"/>
                  </a:lnTo>
                  <a:lnTo>
                    <a:pt x="1" y="353"/>
                  </a:lnTo>
                  <a:lnTo>
                    <a:pt x="6" y="356"/>
                  </a:lnTo>
                  <a:lnTo>
                    <a:pt x="13" y="361"/>
                  </a:lnTo>
                  <a:lnTo>
                    <a:pt x="21" y="367"/>
                  </a:lnTo>
                  <a:lnTo>
                    <a:pt x="42" y="379"/>
                  </a:lnTo>
                  <a:lnTo>
                    <a:pt x="68" y="391"/>
                  </a:lnTo>
                  <a:lnTo>
                    <a:pt x="114" y="415"/>
                  </a:lnTo>
                  <a:lnTo>
                    <a:pt x="138" y="428"/>
                  </a:lnTo>
                  <a:lnTo>
                    <a:pt x="174" y="428"/>
                  </a:lnTo>
                  <a:lnTo>
                    <a:pt x="176" y="420"/>
                  </a:lnTo>
                  <a:lnTo>
                    <a:pt x="178" y="413"/>
                  </a:lnTo>
                  <a:lnTo>
                    <a:pt x="181" y="408"/>
                  </a:lnTo>
                  <a:lnTo>
                    <a:pt x="184" y="404"/>
                  </a:lnTo>
                  <a:lnTo>
                    <a:pt x="186" y="401"/>
                  </a:lnTo>
                  <a:lnTo>
                    <a:pt x="190" y="399"/>
                  </a:lnTo>
                  <a:lnTo>
                    <a:pt x="196" y="397"/>
                  </a:lnTo>
                  <a:lnTo>
                    <a:pt x="200" y="396"/>
                  </a:lnTo>
                  <a:lnTo>
                    <a:pt x="210" y="395"/>
                  </a:lnTo>
                  <a:lnTo>
                    <a:pt x="221" y="393"/>
                  </a:lnTo>
                  <a:lnTo>
                    <a:pt x="234" y="391"/>
                  </a:lnTo>
                  <a:lnTo>
                    <a:pt x="248" y="387"/>
                  </a:lnTo>
                  <a:lnTo>
                    <a:pt x="253" y="383"/>
                  </a:lnTo>
                  <a:lnTo>
                    <a:pt x="258" y="377"/>
                  </a:lnTo>
                  <a:lnTo>
                    <a:pt x="264" y="371"/>
                  </a:lnTo>
                  <a:lnTo>
                    <a:pt x="269" y="364"/>
                  </a:lnTo>
                  <a:lnTo>
                    <a:pt x="280" y="347"/>
                  </a:lnTo>
                  <a:lnTo>
                    <a:pt x="289" y="327"/>
                  </a:lnTo>
                  <a:lnTo>
                    <a:pt x="296" y="307"/>
                  </a:lnTo>
                  <a:lnTo>
                    <a:pt x="302" y="284"/>
                  </a:lnTo>
                  <a:lnTo>
                    <a:pt x="306" y="263"/>
                  </a:lnTo>
                  <a:lnTo>
                    <a:pt x="308" y="241"/>
                  </a:lnTo>
                  <a:lnTo>
                    <a:pt x="306" y="225"/>
                  </a:lnTo>
                  <a:lnTo>
                    <a:pt x="305" y="211"/>
                  </a:lnTo>
                  <a:lnTo>
                    <a:pt x="301" y="196"/>
                  </a:lnTo>
                  <a:lnTo>
                    <a:pt x="298" y="181"/>
                  </a:lnTo>
                  <a:lnTo>
                    <a:pt x="294" y="167"/>
                  </a:lnTo>
                  <a:lnTo>
                    <a:pt x="292" y="152"/>
                  </a:lnTo>
                  <a:lnTo>
                    <a:pt x="290" y="136"/>
                  </a:lnTo>
                  <a:lnTo>
                    <a:pt x="289" y="121"/>
                  </a:lnTo>
                  <a:lnTo>
                    <a:pt x="290" y="111"/>
                  </a:lnTo>
                  <a:lnTo>
                    <a:pt x="292" y="100"/>
                  </a:lnTo>
                  <a:lnTo>
                    <a:pt x="294" y="91"/>
                  </a:lnTo>
                  <a:lnTo>
                    <a:pt x="298" y="81"/>
                  </a:lnTo>
                  <a:lnTo>
                    <a:pt x="301" y="73"/>
                  </a:lnTo>
                  <a:lnTo>
                    <a:pt x="305" y="64"/>
                  </a:lnTo>
                  <a:lnTo>
                    <a:pt x="306" y="53"/>
                  </a:lnTo>
                  <a:lnTo>
                    <a:pt x="308" y="43"/>
                  </a:lnTo>
                  <a:lnTo>
                    <a:pt x="306" y="37"/>
                  </a:lnTo>
                  <a:lnTo>
                    <a:pt x="305" y="29"/>
                  </a:lnTo>
                  <a:lnTo>
                    <a:pt x="305" y="25"/>
                  </a:lnTo>
                  <a:lnTo>
                    <a:pt x="305" y="21"/>
                  </a:lnTo>
                  <a:lnTo>
                    <a:pt x="305" y="17"/>
                  </a:lnTo>
                  <a:lnTo>
                    <a:pt x="308" y="12"/>
                  </a:lnTo>
                  <a:lnTo>
                    <a:pt x="292" y="12"/>
                  </a:lnTo>
                  <a:lnTo>
                    <a:pt x="281" y="12"/>
                  </a:lnTo>
                  <a:lnTo>
                    <a:pt x="270" y="12"/>
                  </a:lnTo>
                  <a:lnTo>
                    <a:pt x="260" y="12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6" name="Freeform 1629"/>
            <p:cNvSpPr>
              <a:spLocks/>
            </p:cNvSpPr>
            <p:nvPr/>
          </p:nvSpPr>
          <p:spPr bwMode="auto">
            <a:xfrm>
              <a:off x="1621159" y="3354388"/>
              <a:ext cx="150813" cy="222250"/>
            </a:xfrm>
            <a:custGeom>
              <a:avLst/>
              <a:gdLst/>
              <a:ahLst/>
              <a:cxnLst>
                <a:cxn ang="0">
                  <a:pos x="191" y="305"/>
                </a:cxn>
                <a:cxn ang="0">
                  <a:pos x="199" y="286"/>
                </a:cxn>
                <a:cxn ang="0">
                  <a:pos x="211" y="241"/>
                </a:cxn>
                <a:cxn ang="0">
                  <a:pos x="227" y="214"/>
                </a:cxn>
                <a:cxn ang="0">
                  <a:pos x="269" y="178"/>
                </a:cxn>
                <a:cxn ang="0">
                  <a:pos x="293" y="156"/>
                </a:cxn>
                <a:cxn ang="0">
                  <a:pos x="310" y="126"/>
                </a:cxn>
                <a:cxn ang="0">
                  <a:pos x="313" y="89"/>
                </a:cxn>
                <a:cxn ang="0">
                  <a:pos x="297" y="40"/>
                </a:cxn>
                <a:cxn ang="0">
                  <a:pos x="275" y="6"/>
                </a:cxn>
                <a:cxn ang="0">
                  <a:pos x="259" y="0"/>
                </a:cxn>
                <a:cxn ang="0">
                  <a:pos x="245" y="12"/>
                </a:cxn>
                <a:cxn ang="0">
                  <a:pos x="231" y="36"/>
                </a:cxn>
                <a:cxn ang="0">
                  <a:pos x="230" y="54"/>
                </a:cxn>
                <a:cxn ang="0">
                  <a:pos x="241" y="74"/>
                </a:cxn>
                <a:cxn ang="0">
                  <a:pos x="251" y="102"/>
                </a:cxn>
                <a:cxn ang="0">
                  <a:pos x="251" y="140"/>
                </a:cxn>
                <a:cxn ang="0">
                  <a:pos x="242" y="165"/>
                </a:cxn>
                <a:cxn ang="0">
                  <a:pos x="217" y="174"/>
                </a:cxn>
                <a:cxn ang="0">
                  <a:pos x="203" y="172"/>
                </a:cxn>
                <a:cxn ang="0">
                  <a:pos x="199" y="150"/>
                </a:cxn>
                <a:cxn ang="0">
                  <a:pos x="169" y="157"/>
                </a:cxn>
                <a:cxn ang="0">
                  <a:pos x="157" y="150"/>
                </a:cxn>
                <a:cxn ang="0">
                  <a:pos x="167" y="118"/>
                </a:cxn>
                <a:cxn ang="0">
                  <a:pos x="186" y="78"/>
                </a:cxn>
                <a:cxn ang="0">
                  <a:pos x="175" y="60"/>
                </a:cxn>
                <a:cxn ang="0">
                  <a:pos x="159" y="76"/>
                </a:cxn>
                <a:cxn ang="0">
                  <a:pos x="143" y="102"/>
                </a:cxn>
                <a:cxn ang="0">
                  <a:pos x="131" y="112"/>
                </a:cxn>
                <a:cxn ang="0">
                  <a:pos x="134" y="72"/>
                </a:cxn>
                <a:cxn ang="0">
                  <a:pos x="143" y="52"/>
                </a:cxn>
                <a:cxn ang="0">
                  <a:pos x="137" y="25"/>
                </a:cxn>
                <a:cxn ang="0">
                  <a:pos x="121" y="42"/>
                </a:cxn>
                <a:cxn ang="0">
                  <a:pos x="107" y="105"/>
                </a:cxn>
                <a:cxn ang="0">
                  <a:pos x="102" y="162"/>
                </a:cxn>
                <a:cxn ang="0">
                  <a:pos x="75" y="160"/>
                </a:cxn>
                <a:cxn ang="0">
                  <a:pos x="66" y="150"/>
                </a:cxn>
                <a:cxn ang="0">
                  <a:pos x="55" y="178"/>
                </a:cxn>
                <a:cxn ang="0">
                  <a:pos x="55" y="222"/>
                </a:cxn>
                <a:cxn ang="0">
                  <a:pos x="62" y="268"/>
                </a:cxn>
                <a:cxn ang="0">
                  <a:pos x="66" y="319"/>
                </a:cxn>
                <a:cxn ang="0">
                  <a:pos x="61" y="353"/>
                </a:cxn>
                <a:cxn ang="0">
                  <a:pos x="45" y="374"/>
                </a:cxn>
                <a:cxn ang="0">
                  <a:pos x="21" y="394"/>
                </a:cxn>
                <a:cxn ang="0">
                  <a:pos x="4" y="414"/>
                </a:cxn>
                <a:cxn ang="0">
                  <a:pos x="1" y="431"/>
                </a:cxn>
                <a:cxn ang="0">
                  <a:pos x="12" y="442"/>
                </a:cxn>
                <a:cxn ang="0">
                  <a:pos x="69" y="457"/>
                </a:cxn>
                <a:cxn ang="0">
                  <a:pos x="106" y="455"/>
                </a:cxn>
                <a:cxn ang="0">
                  <a:pos x="123" y="447"/>
                </a:cxn>
                <a:cxn ang="0">
                  <a:pos x="135" y="434"/>
                </a:cxn>
                <a:cxn ang="0">
                  <a:pos x="150" y="397"/>
                </a:cxn>
                <a:cxn ang="0">
                  <a:pos x="162" y="330"/>
                </a:cxn>
                <a:cxn ang="0">
                  <a:pos x="174" y="311"/>
                </a:cxn>
                <a:cxn ang="0">
                  <a:pos x="186" y="307"/>
                </a:cxn>
              </a:cxnLst>
              <a:rect l="0" t="0" r="r" b="b"/>
              <a:pathLst>
                <a:path w="313" h="458">
                  <a:moveTo>
                    <a:pt x="186" y="307"/>
                  </a:moveTo>
                  <a:lnTo>
                    <a:pt x="189" y="306"/>
                  </a:lnTo>
                  <a:lnTo>
                    <a:pt x="191" y="305"/>
                  </a:lnTo>
                  <a:lnTo>
                    <a:pt x="193" y="301"/>
                  </a:lnTo>
                  <a:lnTo>
                    <a:pt x="195" y="297"/>
                  </a:lnTo>
                  <a:lnTo>
                    <a:pt x="199" y="286"/>
                  </a:lnTo>
                  <a:lnTo>
                    <a:pt x="203" y="274"/>
                  </a:lnTo>
                  <a:lnTo>
                    <a:pt x="209" y="252"/>
                  </a:lnTo>
                  <a:lnTo>
                    <a:pt x="211" y="241"/>
                  </a:lnTo>
                  <a:lnTo>
                    <a:pt x="215" y="232"/>
                  </a:lnTo>
                  <a:lnTo>
                    <a:pt x="221" y="222"/>
                  </a:lnTo>
                  <a:lnTo>
                    <a:pt x="227" y="214"/>
                  </a:lnTo>
                  <a:lnTo>
                    <a:pt x="234" y="206"/>
                  </a:lnTo>
                  <a:lnTo>
                    <a:pt x="251" y="193"/>
                  </a:lnTo>
                  <a:lnTo>
                    <a:pt x="269" y="178"/>
                  </a:lnTo>
                  <a:lnTo>
                    <a:pt x="277" y="172"/>
                  </a:lnTo>
                  <a:lnTo>
                    <a:pt x="286" y="164"/>
                  </a:lnTo>
                  <a:lnTo>
                    <a:pt x="293" y="156"/>
                  </a:lnTo>
                  <a:lnTo>
                    <a:pt x="299" y="148"/>
                  </a:lnTo>
                  <a:lnTo>
                    <a:pt x="305" y="137"/>
                  </a:lnTo>
                  <a:lnTo>
                    <a:pt x="310" y="126"/>
                  </a:lnTo>
                  <a:lnTo>
                    <a:pt x="313" y="116"/>
                  </a:lnTo>
                  <a:lnTo>
                    <a:pt x="313" y="102"/>
                  </a:lnTo>
                  <a:lnTo>
                    <a:pt x="313" y="89"/>
                  </a:lnTo>
                  <a:lnTo>
                    <a:pt x="309" y="74"/>
                  </a:lnTo>
                  <a:lnTo>
                    <a:pt x="303" y="57"/>
                  </a:lnTo>
                  <a:lnTo>
                    <a:pt x="297" y="40"/>
                  </a:lnTo>
                  <a:lnTo>
                    <a:pt x="289" y="25"/>
                  </a:lnTo>
                  <a:lnTo>
                    <a:pt x="281" y="12"/>
                  </a:lnTo>
                  <a:lnTo>
                    <a:pt x="275" y="6"/>
                  </a:lnTo>
                  <a:lnTo>
                    <a:pt x="270" y="4"/>
                  </a:lnTo>
                  <a:lnTo>
                    <a:pt x="265" y="1"/>
                  </a:lnTo>
                  <a:lnTo>
                    <a:pt x="259" y="0"/>
                  </a:lnTo>
                  <a:lnTo>
                    <a:pt x="254" y="2"/>
                  </a:lnTo>
                  <a:lnTo>
                    <a:pt x="249" y="6"/>
                  </a:lnTo>
                  <a:lnTo>
                    <a:pt x="245" y="12"/>
                  </a:lnTo>
                  <a:lnTo>
                    <a:pt x="239" y="20"/>
                  </a:lnTo>
                  <a:lnTo>
                    <a:pt x="235" y="28"/>
                  </a:lnTo>
                  <a:lnTo>
                    <a:pt x="231" y="36"/>
                  </a:lnTo>
                  <a:lnTo>
                    <a:pt x="230" y="42"/>
                  </a:lnTo>
                  <a:lnTo>
                    <a:pt x="229" y="48"/>
                  </a:lnTo>
                  <a:lnTo>
                    <a:pt x="230" y="54"/>
                  </a:lnTo>
                  <a:lnTo>
                    <a:pt x="233" y="61"/>
                  </a:lnTo>
                  <a:lnTo>
                    <a:pt x="237" y="68"/>
                  </a:lnTo>
                  <a:lnTo>
                    <a:pt x="241" y="74"/>
                  </a:lnTo>
                  <a:lnTo>
                    <a:pt x="245" y="82"/>
                  </a:lnTo>
                  <a:lnTo>
                    <a:pt x="249" y="92"/>
                  </a:lnTo>
                  <a:lnTo>
                    <a:pt x="251" y="102"/>
                  </a:lnTo>
                  <a:lnTo>
                    <a:pt x="253" y="114"/>
                  </a:lnTo>
                  <a:lnTo>
                    <a:pt x="253" y="128"/>
                  </a:lnTo>
                  <a:lnTo>
                    <a:pt x="251" y="140"/>
                  </a:lnTo>
                  <a:lnTo>
                    <a:pt x="250" y="149"/>
                  </a:lnTo>
                  <a:lnTo>
                    <a:pt x="246" y="158"/>
                  </a:lnTo>
                  <a:lnTo>
                    <a:pt x="242" y="165"/>
                  </a:lnTo>
                  <a:lnTo>
                    <a:pt x="235" y="170"/>
                  </a:lnTo>
                  <a:lnTo>
                    <a:pt x="227" y="174"/>
                  </a:lnTo>
                  <a:lnTo>
                    <a:pt x="217" y="174"/>
                  </a:lnTo>
                  <a:lnTo>
                    <a:pt x="211" y="174"/>
                  </a:lnTo>
                  <a:lnTo>
                    <a:pt x="206" y="173"/>
                  </a:lnTo>
                  <a:lnTo>
                    <a:pt x="203" y="172"/>
                  </a:lnTo>
                  <a:lnTo>
                    <a:pt x="201" y="169"/>
                  </a:lnTo>
                  <a:lnTo>
                    <a:pt x="199" y="162"/>
                  </a:lnTo>
                  <a:lnTo>
                    <a:pt x="199" y="150"/>
                  </a:lnTo>
                  <a:lnTo>
                    <a:pt x="179" y="154"/>
                  </a:lnTo>
                  <a:lnTo>
                    <a:pt x="171" y="157"/>
                  </a:lnTo>
                  <a:lnTo>
                    <a:pt x="169" y="157"/>
                  </a:lnTo>
                  <a:lnTo>
                    <a:pt x="166" y="157"/>
                  </a:lnTo>
                  <a:lnTo>
                    <a:pt x="162" y="154"/>
                  </a:lnTo>
                  <a:lnTo>
                    <a:pt x="157" y="150"/>
                  </a:lnTo>
                  <a:lnTo>
                    <a:pt x="159" y="140"/>
                  </a:lnTo>
                  <a:lnTo>
                    <a:pt x="163" y="129"/>
                  </a:lnTo>
                  <a:lnTo>
                    <a:pt x="167" y="118"/>
                  </a:lnTo>
                  <a:lnTo>
                    <a:pt x="171" y="108"/>
                  </a:lnTo>
                  <a:lnTo>
                    <a:pt x="181" y="90"/>
                  </a:lnTo>
                  <a:lnTo>
                    <a:pt x="186" y="78"/>
                  </a:lnTo>
                  <a:lnTo>
                    <a:pt x="186" y="54"/>
                  </a:lnTo>
                  <a:lnTo>
                    <a:pt x="181" y="57"/>
                  </a:lnTo>
                  <a:lnTo>
                    <a:pt x="175" y="60"/>
                  </a:lnTo>
                  <a:lnTo>
                    <a:pt x="170" y="64"/>
                  </a:lnTo>
                  <a:lnTo>
                    <a:pt x="166" y="68"/>
                  </a:lnTo>
                  <a:lnTo>
                    <a:pt x="159" y="76"/>
                  </a:lnTo>
                  <a:lnTo>
                    <a:pt x="154" y="85"/>
                  </a:lnTo>
                  <a:lnTo>
                    <a:pt x="149" y="93"/>
                  </a:lnTo>
                  <a:lnTo>
                    <a:pt x="143" y="102"/>
                  </a:lnTo>
                  <a:lnTo>
                    <a:pt x="141" y="105"/>
                  </a:lnTo>
                  <a:lnTo>
                    <a:pt x="137" y="109"/>
                  </a:lnTo>
                  <a:lnTo>
                    <a:pt x="131" y="112"/>
                  </a:lnTo>
                  <a:lnTo>
                    <a:pt x="126" y="114"/>
                  </a:lnTo>
                  <a:lnTo>
                    <a:pt x="126" y="78"/>
                  </a:lnTo>
                  <a:lnTo>
                    <a:pt x="134" y="72"/>
                  </a:lnTo>
                  <a:lnTo>
                    <a:pt x="139" y="65"/>
                  </a:lnTo>
                  <a:lnTo>
                    <a:pt x="142" y="60"/>
                  </a:lnTo>
                  <a:lnTo>
                    <a:pt x="143" y="52"/>
                  </a:lnTo>
                  <a:lnTo>
                    <a:pt x="142" y="44"/>
                  </a:lnTo>
                  <a:lnTo>
                    <a:pt x="139" y="36"/>
                  </a:lnTo>
                  <a:lnTo>
                    <a:pt x="137" y="25"/>
                  </a:lnTo>
                  <a:lnTo>
                    <a:pt x="133" y="12"/>
                  </a:lnTo>
                  <a:lnTo>
                    <a:pt x="126" y="25"/>
                  </a:lnTo>
                  <a:lnTo>
                    <a:pt x="121" y="42"/>
                  </a:lnTo>
                  <a:lnTo>
                    <a:pt x="115" y="62"/>
                  </a:lnTo>
                  <a:lnTo>
                    <a:pt x="110" y="82"/>
                  </a:lnTo>
                  <a:lnTo>
                    <a:pt x="107" y="105"/>
                  </a:lnTo>
                  <a:lnTo>
                    <a:pt x="105" y="125"/>
                  </a:lnTo>
                  <a:lnTo>
                    <a:pt x="103" y="145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79" y="161"/>
                  </a:lnTo>
                  <a:lnTo>
                    <a:pt x="75" y="160"/>
                  </a:lnTo>
                  <a:lnTo>
                    <a:pt x="71" y="157"/>
                  </a:lnTo>
                  <a:lnTo>
                    <a:pt x="69" y="154"/>
                  </a:lnTo>
                  <a:lnTo>
                    <a:pt x="66" y="150"/>
                  </a:lnTo>
                  <a:lnTo>
                    <a:pt x="62" y="160"/>
                  </a:lnTo>
                  <a:lnTo>
                    <a:pt x="58" y="169"/>
                  </a:lnTo>
                  <a:lnTo>
                    <a:pt x="55" y="178"/>
                  </a:lnTo>
                  <a:lnTo>
                    <a:pt x="54" y="186"/>
                  </a:lnTo>
                  <a:lnTo>
                    <a:pt x="54" y="206"/>
                  </a:lnTo>
                  <a:lnTo>
                    <a:pt x="55" y="222"/>
                  </a:lnTo>
                  <a:lnTo>
                    <a:pt x="58" y="238"/>
                  </a:lnTo>
                  <a:lnTo>
                    <a:pt x="61" y="253"/>
                  </a:lnTo>
                  <a:lnTo>
                    <a:pt x="62" y="268"/>
                  </a:lnTo>
                  <a:lnTo>
                    <a:pt x="65" y="283"/>
                  </a:lnTo>
                  <a:lnTo>
                    <a:pt x="66" y="301"/>
                  </a:lnTo>
                  <a:lnTo>
                    <a:pt x="66" y="319"/>
                  </a:lnTo>
                  <a:lnTo>
                    <a:pt x="66" y="331"/>
                  </a:lnTo>
                  <a:lnTo>
                    <a:pt x="63" y="343"/>
                  </a:lnTo>
                  <a:lnTo>
                    <a:pt x="61" y="353"/>
                  </a:lnTo>
                  <a:lnTo>
                    <a:pt x="55" y="361"/>
                  </a:lnTo>
                  <a:lnTo>
                    <a:pt x="51" y="367"/>
                  </a:lnTo>
                  <a:lnTo>
                    <a:pt x="45" y="374"/>
                  </a:lnTo>
                  <a:lnTo>
                    <a:pt x="39" y="379"/>
                  </a:lnTo>
                  <a:lnTo>
                    <a:pt x="33" y="385"/>
                  </a:lnTo>
                  <a:lnTo>
                    <a:pt x="21" y="394"/>
                  </a:lnTo>
                  <a:lnTo>
                    <a:pt x="10" y="403"/>
                  </a:lnTo>
                  <a:lnTo>
                    <a:pt x="6" y="409"/>
                  </a:lnTo>
                  <a:lnTo>
                    <a:pt x="4" y="414"/>
                  </a:lnTo>
                  <a:lnTo>
                    <a:pt x="1" y="421"/>
                  </a:lnTo>
                  <a:lnTo>
                    <a:pt x="0" y="427"/>
                  </a:lnTo>
                  <a:lnTo>
                    <a:pt x="1" y="431"/>
                  </a:lnTo>
                  <a:lnTo>
                    <a:pt x="4" y="435"/>
                  </a:lnTo>
                  <a:lnTo>
                    <a:pt x="8" y="439"/>
                  </a:lnTo>
                  <a:lnTo>
                    <a:pt x="12" y="442"/>
                  </a:lnTo>
                  <a:lnTo>
                    <a:pt x="23" y="447"/>
                  </a:lnTo>
                  <a:lnTo>
                    <a:pt x="38" y="451"/>
                  </a:lnTo>
                  <a:lnTo>
                    <a:pt x="69" y="457"/>
                  </a:lnTo>
                  <a:lnTo>
                    <a:pt x="90" y="458"/>
                  </a:lnTo>
                  <a:lnTo>
                    <a:pt x="98" y="457"/>
                  </a:lnTo>
                  <a:lnTo>
                    <a:pt x="106" y="455"/>
                  </a:lnTo>
                  <a:lnTo>
                    <a:pt x="113" y="454"/>
                  </a:lnTo>
                  <a:lnTo>
                    <a:pt x="118" y="451"/>
                  </a:lnTo>
                  <a:lnTo>
                    <a:pt x="123" y="447"/>
                  </a:lnTo>
                  <a:lnTo>
                    <a:pt x="129" y="443"/>
                  </a:lnTo>
                  <a:lnTo>
                    <a:pt x="133" y="439"/>
                  </a:lnTo>
                  <a:lnTo>
                    <a:pt x="135" y="434"/>
                  </a:lnTo>
                  <a:lnTo>
                    <a:pt x="142" y="423"/>
                  </a:lnTo>
                  <a:lnTo>
                    <a:pt x="146" y="410"/>
                  </a:lnTo>
                  <a:lnTo>
                    <a:pt x="150" y="397"/>
                  </a:lnTo>
                  <a:lnTo>
                    <a:pt x="151" y="382"/>
                  </a:lnTo>
                  <a:lnTo>
                    <a:pt x="157" y="354"/>
                  </a:lnTo>
                  <a:lnTo>
                    <a:pt x="162" y="330"/>
                  </a:lnTo>
                  <a:lnTo>
                    <a:pt x="166" y="321"/>
                  </a:lnTo>
                  <a:lnTo>
                    <a:pt x="170" y="314"/>
                  </a:lnTo>
                  <a:lnTo>
                    <a:pt x="174" y="311"/>
                  </a:lnTo>
                  <a:lnTo>
                    <a:pt x="178" y="309"/>
                  </a:lnTo>
                  <a:lnTo>
                    <a:pt x="182" y="307"/>
                  </a:lnTo>
                  <a:lnTo>
                    <a:pt x="186" y="307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7" name="Freeform 1630"/>
            <p:cNvSpPr>
              <a:spLocks/>
            </p:cNvSpPr>
            <p:nvPr/>
          </p:nvSpPr>
          <p:spPr bwMode="auto">
            <a:xfrm>
              <a:off x="500384" y="3259138"/>
              <a:ext cx="63500" cy="42862"/>
            </a:xfrm>
            <a:custGeom>
              <a:avLst/>
              <a:gdLst/>
              <a:ahLst/>
              <a:cxnLst>
                <a:cxn ang="0">
                  <a:pos x="79" y="19"/>
                </a:cxn>
                <a:cxn ang="0">
                  <a:pos x="55" y="19"/>
                </a:cxn>
                <a:cxn ang="0">
                  <a:pos x="34" y="16"/>
                </a:cxn>
                <a:cxn ang="0">
                  <a:pos x="24" y="13"/>
                </a:cxn>
                <a:cxn ang="0">
                  <a:pos x="16" y="11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2" y="19"/>
                </a:cxn>
                <a:cxn ang="0">
                  <a:pos x="3" y="35"/>
                </a:cxn>
                <a:cxn ang="0">
                  <a:pos x="7" y="51"/>
                </a:cxn>
                <a:cxn ang="0">
                  <a:pos x="11" y="64"/>
                </a:cxn>
                <a:cxn ang="0">
                  <a:pos x="14" y="69"/>
                </a:cxn>
                <a:cxn ang="0">
                  <a:pos x="16" y="75"/>
                </a:cxn>
                <a:cxn ang="0">
                  <a:pos x="20" y="80"/>
                </a:cxn>
                <a:cxn ang="0">
                  <a:pos x="24" y="83"/>
                </a:cxn>
                <a:cxn ang="0">
                  <a:pos x="28" y="87"/>
                </a:cxn>
                <a:cxn ang="0">
                  <a:pos x="32" y="89"/>
                </a:cxn>
                <a:cxn ang="0">
                  <a:pos x="38" y="91"/>
                </a:cxn>
                <a:cxn ang="0">
                  <a:pos x="43" y="91"/>
                </a:cxn>
                <a:cxn ang="0">
                  <a:pos x="48" y="91"/>
                </a:cxn>
                <a:cxn ang="0">
                  <a:pos x="55" y="89"/>
                </a:cxn>
                <a:cxn ang="0">
                  <a:pos x="61" y="87"/>
                </a:cxn>
                <a:cxn ang="0">
                  <a:pos x="68" y="84"/>
                </a:cxn>
                <a:cxn ang="0">
                  <a:pos x="81" y="76"/>
                </a:cxn>
                <a:cxn ang="0">
                  <a:pos x="95" y="65"/>
                </a:cxn>
                <a:cxn ang="0">
                  <a:pos x="107" y="55"/>
                </a:cxn>
                <a:cxn ang="0">
                  <a:pos x="119" y="43"/>
                </a:cxn>
                <a:cxn ang="0">
                  <a:pos x="127" y="31"/>
                </a:cxn>
                <a:cxn ang="0">
                  <a:pos x="133" y="19"/>
                </a:cxn>
                <a:cxn ang="0">
                  <a:pos x="117" y="19"/>
                </a:cxn>
                <a:cxn ang="0">
                  <a:pos x="99" y="19"/>
                </a:cxn>
                <a:cxn ang="0">
                  <a:pos x="85" y="19"/>
                </a:cxn>
                <a:cxn ang="0">
                  <a:pos x="79" y="19"/>
                </a:cxn>
              </a:cxnLst>
              <a:rect l="0" t="0" r="r" b="b"/>
              <a:pathLst>
                <a:path w="133" h="91">
                  <a:moveTo>
                    <a:pt x="79" y="19"/>
                  </a:moveTo>
                  <a:lnTo>
                    <a:pt x="55" y="19"/>
                  </a:lnTo>
                  <a:lnTo>
                    <a:pt x="34" y="16"/>
                  </a:lnTo>
                  <a:lnTo>
                    <a:pt x="24" y="13"/>
                  </a:lnTo>
                  <a:lnTo>
                    <a:pt x="16" y="11"/>
                  </a:lnTo>
                  <a:lnTo>
                    <a:pt x="8" y="7"/>
                  </a:lnTo>
                  <a:lnTo>
                    <a:pt x="0" y="0"/>
                  </a:lnTo>
                  <a:lnTo>
                    <a:pt x="2" y="19"/>
                  </a:lnTo>
                  <a:lnTo>
                    <a:pt x="3" y="35"/>
                  </a:lnTo>
                  <a:lnTo>
                    <a:pt x="7" y="51"/>
                  </a:lnTo>
                  <a:lnTo>
                    <a:pt x="11" y="64"/>
                  </a:lnTo>
                  <a:lnTo>
                    <a:pt x="14" y="69"/>
                  </a:lnTo>
                  <a:lnTo>
                    <a:pt x="16" y="75"/>
                  </a:lnTo>
                  <a:lnTo>
                    <a:pt x="20" y="80"/>
                  </a:lnTo>
                  <a:lnTo>
                    <a:pt x="24" y="83"/>
                  </a:lnTo>
                  <a:lnTo>
                    <a:pt x="28" y="87"/>
                  </a:lnTo>
                  <a:lnTo>
                    <a:pt x="32" y="89"/>
                  </a:lnTo>
                  <a:lnTo>
                    <a:pt x="38" y="91"/>
                  </a:lnTo>
                  <a:lnTo>
                    <a:pt x="43" y="91"/>
                  </a:lnTo>
                  <a:lnTo>
                    <a:pt x="48" y="91"/>
                  </a:lnTo>
                  <a:lnTo>
                    <a:pt x="55" y="89"/>
                  </a:lnTo>
                  <a:lnTo>
                    <a:pt x="61" y="87"/>
                  </a:lnTo>
                  <a:lnTo>
                    <a:pt x="68" y="84"/>
                  </a:lnTo>
                  <a:lnTo>
                    <a:pt x="81" y="76"/>
                  </a:lnTo>
                  <a:lnTo>
                    <a:pt x="95" y="65"/>
                  </a:lnTo>
                  <a:lnTo>
                    <a:pt x="107" y="55"/>
                  </a:lnTo>
                  <a:lnTo>
                    <a:pt x="119" y="43"/>
                  </a:lnTo>
                  <a:lnTo>
                    <a:pt x="127" y="31"/>
                  </a:lnTo>
                  <a:lnTo>
                    <a:pt x="133" y="19"/>
                  </a:lnTo>
                  <a:lnTo>
                    <a:pt x="117" y="19"/>
                  </a:lnTo>
                  <a:lnTo>
                    <a:pt x="99" y="19"/>
                  </a:lnTo>
                  <a:lnTo>
                    <a:pt x="85" y="19"/>
                  </a:lnTo>
                  <a:lnTo>
                    <a:pt x="79" y="19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  <p:sp>
          <p:nvSpPr>
            <p:cNvPr id="138" name="Freeform 77"/>
            <p:cNvSpPr>
              <a:spLocks/>
            </p:cNvSpPr>
            <p:nvPr/>
          </p:nvSpPr>
          <p:spPr bwMode="auto">
            <a:xfrm rot="6867187" flipH="1">
              <a:off x="112137" y="4494025"/>
              <a:ext cx="274510" cy="491297"/>
            </a:xfrm>
            <a:custGeom>
              <a:avLst/>
              <a:gdLst>
                <a:gd name="connsiteX0" fmla="*/ 7348 w 10000"/>
                <a:gd name="connsiteY0" fmla="*/ 11952 h 11952"/>
                <a:gd name="connsiteX1" fmla="*/ 6633 w 10000"/>
                <a:gd name="connsiteY1" fmla="*/ 9864 h 11952"/>
                <a:gd name="connsiteX2" fmla="*/ 6673 w 10000"/>
                <a:gd name="connsiteY2" fmla="*/ 9743 h 11952"/>
                <a:gd name="connsiteX3" fmla="*/ 6693 w 10000"/>
                <a:gd name="connsiteY3" fmla="*/ 9607 h 11952"/>
                <a:gd name="connsiteX4" fmla="*/ 6754 w 10000"/>
                <a:gd name="connsiteY4" fmla="*/ 9486 h 11952"/>
                <a:gd name="connsiteX5" fmla="*/ 6854 w 10000"/>
                <a:gd name="connsiteY5" fmla="*/ 9260 h 11952"/>
                <a:gd name="connsiteX6" fmla="*/ 7014 w 10000"/>
                <a:gd name="connsiteY6" fmla="*/ 9063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6473 w 10000"/>
                <a:gd name="connsiteY153" fmla="*/ 9804 h 11952"/>
                <a:gd name="connsiteX154" fmla="*/ 7348 w 10000"/>
                <a:gd name="connsiteY154" fmla="*/ 11952 h 11952"/>
                <a:gd name="connsiteX0" fmla="*/ 7348 w 10000"/>
                <a:gd name="connsiteY0" fmla="*/ 11952 h 11952"/>
                <a:gd name="connsiteX1" fmla="*/ 6633 w 10000"/>
                <a:gd name="connsiteY1" fmla="*/ 9864 h 11952"/>
                <a:gd name="connsiteX2" fmla="*/ 6673 w 10000"/>
                <a:gd name="connsiteY2" fmla="*/ 9743 h 11952"/>
                <a:gd name="connsiteX3" fmla="*/ 6693 w 10000"/>
                <a:gd name="connsiteY3" fmla="*/ 9607 h 11952"/>
                <a:gd name="connsiteX4" fmla="*/ 6754 w 10000"/>
                <a:gd name="connsiteY4" fmla="*/ 9486 h 11952"/>
                <a:gd name="connsiteX5" fmla="*/ 6854 w 10000"/>
                <a:gd name="connsiteY5" fmla="*/ 9260 h 11952"/>
                <a:gd name="connsiteX6" fmla="*/ 7014 w 10000"/>
                <a:gd name="connsiteY6" fmla="*/ 9063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8281 w 10000"/>
                <a:gd name="connsiteY153" fmla="*/ 10225 h 11952"/>
                <a:gd name="connsiteX154" fmla="*/ 7348 w 10000"/>
                <a:gd name="connsiteY154" fmla="*/ 11952 h 11952"/>
                <a:gd name="connsiteX0" fmla="*/ 7348 w 10000"/>
                <a:gd name="connsiteY0" fmla="*/ 11952 h 11952"/>
                <a:gd name="connsiteX1" fmla="*/ 6633 w 10000"/>
                <a:gd name="connsiteY1" fmla="*/ 9864 h 11952"/>
                <a:gd name="connsiteX2" fmla="*/ 6673 w 10000"/>
                <a:gd name="connsiteY2" fmla="*/ 9743 h 11952"/>
                <a:gd name="connsiteX3" fmla="*/ 6693 w 10000"/>
                <a:gd name="connsiteY3" fmla="*/ 9607 h 11952"/>
                <a:gd name="connsiteX4" fmla="*/ 6754 w 10000"/>
                <a:gd name="connsiteY4" fmla="*/ 9486 h 11952"/>
                <a:gd name="connsiteX5" fmla="*/ 6854 w 10000"/>
                <a:gd name="connsiteY5" fmla="*/ 9260 h 11952"/>
                <a:gd name="connsiteX6" fmla="*/ 7014 w 10000"/>
                <a:gd name="connsiteY6" fmla="*/ 9063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8281 w 10000"/>
                <a:gd name="connsiteY153" fmla="*/ 10225 h 11952"/>
                <a:gd name="connsiteX154" fmla="*/ 7348 w 10000"/>
                <a:gd name="connsiteY154" fmla="*/ 11952 h 11952"/>
                <a:gd name="connsiteX0" fmla="*/ 7348 w 10000"/>
                <a:gd name="connsiteY0" fmla="*/ 11952 h 11952"/>
                <a:gd name="connsiteX1" fmla="*/ 6633 w 10000"/>
                <a:gd name="connsiteY1" fmla="*/ 9864 h 11952"/>
                <a:gd name="connsiteX2" fmla="*/ 6673 w 10000"/>
                <a:gd name="connsiteY2" fmla="*/ 9743 h 11952"/>
                <a:gd name="connsiteX3" fmla="*/ 6693 w 10000"/>
                <a:gd name="connsiteY3" fmla="*/ 9607 h 11952"/>
                <a:gd name="connsiteX4" fmla="*/ 6754 w 10000"/>
                <a:gd name="connsiteY4" fmla="*/ 9486 h 11952"/>
                <a:gd name="connsiteX5" fmla="*/ 6854 w 10000"/>
                <a:gd name="connsiteY5" fmla="*/ 9260 h 11952"/>
                <a:gd name="connsiteX6" fmla="*/ 7014 w 10000"/>
                <a:gd name="connsiteY6" fmla="*/ 9063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6223 w 10000"/>
                <a:gd name="connsiteY153" fmla="*/ 10672 h 11952"/>
                <a:gd name="connsiteX154" fmla="*/ 7348 w 10000"/>
                <a:gd name="connsiteY154" fmla="*/ 11952 h 11952"/>
                <a:gd name="connsiteX0" fmla="*/ 7348 w 10000"/>
                <a:gd name="connsiteY0" fmla="*/ 11952 h 11952"/>
                <a:gd name="connsiteX1" fmla="*/ 6633 w 10000"/>
                <a:gd name="connsiteY1" fmla="*/ 9864 h 11952"/>
                <a:gd name="connsiteX2" fmla="*/ 6673 w 10000"/>
                <a:gd name="connsiteY2" fmla="*/ 9743 h 11952"/>
                <a:gd name="connsiteX3" fmla="*/ 6693 w 10000"/>
                <a:gd name="connsiteY3" fmla="*/ 9607 h 11952"/>
                <a:gd name="connsiteX4" fmla="*/ 6754 w 10000"/>
                <a:gd name="connsiteY4" fmla="*/ 9486 h 11952"/>
                <a:gd name="connsiteX5" fmla="*/ 6854 w 10000"/>
                <a:gd name="connsiteY5" fmla="*/ 9260 h 11952"/>
                <a:gd name="connsiteX6" fmla="*/ 7648 w 10000"/>
                <a:gd name="connsiteY6" fmla="*/ 9351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6223 w 10000"/>
                <a:gd name="connsiteY153" fmla="*/ 10672 h 11952"/>
                <a:gd name="connsiteX154" fmla="*/ 7348 w 10000"/>
                <a:gd name="connsiteY154" fmla="*/ 11952 h 11952"/>
                <a:gd name="connsiteX0" fmla="*/ 7348 w 10000"/>
                <a:gd name="connsiteY0" fmla="*/ 11952 h 11952"/>
                <a:gd name="connsiteX1" fmla="*/ 6633 w 10000"/>
                <a:gd name="connsiteY1" fmla="*/ 9864 h 11952"/>
                <a:gd name="connsiteX2" fmla="*/ 6673 w 10000"/>
                <a:gd name="connsiteY2" fmla="*/ 9743 h 11952"/>
                <a:gd name="connsiteX3" fmla="*/ 6693 w 10000"/>
                <a:gd name="connsiteY3" fmla="*/ 9607 h 11952"/>
                <a:gd name="connsiteX4" fmla="*/ 6754 w 10000"/>
                <a:gd name="connsiteY4" fmla="*/ 9486 h 11952"/>
                <a:gd name="connsiteX5" fmla="*/ 7340 w 10000"/>
                <a:gd name="connsiteY5" fmla="*/ 9496 h 11952"/>
                <a:gd name="connsiteX6" fmla="*/ 7648 w 10000"/>
                <a:gd name="connsiteY6" fmla="*/ 9351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6223 w 10000"/>
                <a:gd name="connsiteY153" fmla="*/ 10672 h 11952"/>
                <a:gd name="connsiteX154" fmla="*/ 7348 w 10000"/>
                <a:gd name="connsiteY154" fmla="*/ 11952 h 11952"/>
                <a:gd name="connsiteX0" fmla="*/ 7348 w 10000"/>
                <a:gd name="connsiteY0" fmla="*/ 11952 h 11952"/>
                <a:gd name="connsiteX1" fmla="*/ 6633 w 10000"/>
                <a:gd name="connsiteY1" fmla="*/ 9864 h 11952"/>
                <a:gd name="connsiteX2" fmla="*/ 6673 w 10000"/>
                <a:gd name="connsiteY2" fmla="*/ 9743 h 11952"/>
                <a:gd name="connsiteX3" fmla="*/ 6693 w 10000"/>
                <a:gd name="connsiteY3" fmla="*/ 9607 h 11952"/>
                <a:gd name="connsiteX4" fmla="*/ 7213 w 10000"/>
                <a:gd name="connsiteY4" fmla="*/ 9918 h 11952"/>
                <a:gd name="connsiteX5" fmla="*/ 7340 w 10000"/>
                <a:gd name="connsiteY5" fmla="*/ 9496 h 11952"/>
                <a:gd name="connsiteX6" fmla="*/ 7648 w 10000"/>
                <a:gd name="connsiteY6" fmla="*/ 9351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6223 w 10000"/>
                <a:gd name="connsiteY153" fmla="*/ 10672 h 11952"/>
                <a:gd name="connsiteX154" fmla="*/ 7348 w 10000"/>
                <a:gd name="connsiteY154" fmla="*/ 11952 h 11952"/>
                <a:gd name="connsiteX0" fmla="*/ 7348 w 10000"/>
                <a:gd name="connsiteY0" fmla="*/ 11952 h 11952"/>
                <a:gd name="connsiteX1" fmla="*/ 6633 w 10000"/>
                <a:gd name="connsiteY1" fmla="*/ 9864 h 11952"/>
                <a:gd name="connsiteX2" fmla="*/ 6673 w 10000"/>
                <a:gd name="connsiteY2" fmla="*/ 9743 h 11952"/>
                <a:gd name="connsiteX3" fmla="*/ 7260 w 10000"/>
                <a:gd name="connsiteY3" fmla="*/ 10008 h 11952"/>
                <a:gd name="connsiteX4" fmla="*/ 7213 w 10000"/>
                <a:gd name="connsiteY4" fmla="*/ 9918 h 11952"/>
                <a:gd name="connsiteX5" fmla="*/ 7340 w 10000"/>
                <a:gd name="connsiteY5" fmla="*/ 9496 h 11952"/>
                <a:gd name="connsiteX6" fmla="*/ 7648 w 10000"/>
                <a:gd name="connsiteY6" fmla="*/ 9351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6223 w 10000"/>
                <a:gd name="connsiteY153" fmla="*/ 10672 h 11952"/>
                <a:gd name="connsiteX154" fmla="*/ 7348 w 10000"/>
                <a:gd name="connsiteY154" fmla="*/ 11952 h 11952"/>
                <a:gd name="connsiteX0" fmla="*/ 7348 w 10000"/>
                <a:gd name="connsiteY0" fmla="*/ 11952 h 11952"/>
                <a:gd name="connsiteX1" fmla="*/ 6633 w 10000"/>
                <a:gd name="connsiteY1" fmla="*/ 9864 h 11952"/>
                <a:gd name="connsiteX2" fmla="*/ 7111 w 10000"/>
                <a:gd name="connsiteY2" fmla="*/ 10508 h 11952"/>
                <a:gd name="connsiteX3" fmla="*/ 7260 w 10000"/>
                <a:gd name="connsiteY3" fmla="*/ 10008 h 11952"/>
                <a:gd name="connsiteX4" fmla="*/ 7213 w 10000"/>
                <a:gd name="connsiteY4" fmla="*/ 9918 h 11952"/>
                <a:gd name="connsiteX5" fmla="*/ 7340 w 10000"/>
                <a:gd name="connsiteY5" fmla="*/ 9496 h 11952"/>
                <a:gd name="connsiteX6" fmla="*/ 7648 w 10000"/>
                <a:gd name="connsiteY6" fmla="*/ 9351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6223 w 10000"/>
                <a:gd name="connsiteY153" fmla="*/ 10672 h 11952"/>
                <a:gd name="connsiteX154" fmla="*/ 7348 w 10000"/>
                <a:gd name="connsiteY154" fmla="*/ 11952 h 11952"/>
                <a:gd name="connsiteX0" fmla="*/ 7348 w 10000"/>
                <a:gd name="connsiteY0" fmla="*/ 11952 h 11952"/>
                <a:gd name="connsiteX1" fmla="*/ 7112 w 10000"/>
                <a:gd name="connsiteY1" fmla="*/ 10712 h 11952"/>
                <a:gd name="connsiteX2" fmla="*/ 7111 w 10000"/>
                <a:gd name="connsiteY2" fmla="*/ 10508 h 11952"/>
                <a:gd name="connsiteX3" fmla="*/ 7260 w 10000"/>
                <a:gd name="connsiteY3" fmla="*/ 10008 h 11952"/>
                <a:gd name="connsiteX4" fmla="*/ 7213 w 10000"/>
                <a:gd name="connsiteY4" fmla="*/ 9918 h 11952"/>
                <a:gd name="connsiteX5" fmla="*/ 7340 w 10000"/>
                <a:gd name="connsiteY5" fmla="*/ 9496 h 11952"/>
                <a:gd name="connsiteX6" fmla="*/ 7648 w 10000"/>
                <a:gd name="connsiteY6" fmla="*/ 9351 h 11952"/>
                <a:gd name="connsiteX7" fmla="*/ 7234 w 10000"/>
                <a:gd name="connsiteY7" fmla="*/ 8852 h 11952"/>
                <a:gd name="connsiteX8" fmla="*/ 7435 w 10000"/>
                <a:gd name="connsiteY8" fmla="*/ 8671 h 11952"/>
                <a:gd name="connsiteX9" fmla="*/ 7655 w 10000"/>
                <a:gd name="connsiteY9" fmla="*/ 8520 h 11952"/>
                <a:gd name="connsiteX10" fmla="*/ 7896 w 10000"/>
                <a:gd name="connsiteY10" fmla="*/ 8353 h 11952"/>
                <a:gd name="connsiteX11" fmla="*/ 8136 w 10000"/>
                <a:gd name="connsiteY11" fmla="*/ 8187 h 11952"/>
                <a:gd name="connsiteX12" fmla="*/ 8357 w 10000"/>
                <a:gd name="connsiteY12" fmla="*/ 8036 h 11952"/>
                <a:gd name="connsiteX13" fmla="*/ 8557 w 10000"/>
                <a:gd name="connsiteY13" fmla="*/ 7855 h 11952"/>
                <a:gd name="connsiteX14" fmla="*/ 8778 w 10000"/>
                <a:gd name="connsiteY14" fmla="*/ 7689 h 11952"/>
                <a:gd name="connsiteX15" fmla="*/ 8938 w 10000"/>
                <a:gd name="connsiteY15" fmla="*/ 7492 h 11952"/>
                <a:gd name="connsiteX16" fmla="*/ 9038 w 10000"/>
                <a:gd name="connsiteY16" fmla="*/ 7281 h 11952"/>
                <a:gd name="connsiteX17" fmla="*/ 9098 w 10000"/>
                <a:gd name="connsiteY17" fmla="*/ 7190 h 11952"/>
                <a:gd name="connsiteX18" fmla="*/ 9118 w 10000"/>
                <a:gd name="connsiteY18" fmla="*/ 7069 h 11952"/>
                <a:gd name="connsiteX19" fmla="*/ 9158 w 10000"/>
                <a:gd name="connsiteY19" fmla="*/ 6949 h 11952"/>
                <a:gd name="connsiteX20" fmla="*/ 9158 w 10000"/>
                <a:gd name="connsiteY20" fmla="*/ 6828 h 11952"/>
                <a:gd name="connsiteX21" fmla="*/ 9038 w 10000"/>
                <a:gd name="connsiteY21" fmla="*/ 6526 h 11952"/>
                <a:gd name="connsiteX22" fmla="*/ 8918 w 10000"/>
                <a:gd name="connsiteY22" fmla="*/ 6284 h 11952"/>
                <a:gd name="connsiteX23" fmla="*/ 8958 w 10000"/>
                <a:gd name="connsiteY23" fmla="*/ 6224 h 11952"/>
                <a:gd name="connsiteX24" fmla="*/ 9038 w 10000"/>
                <a:gd name="connsiteY24" fmla="*/ 6148 h 11952"/>
                <a:gd name="connsiteX25" fmla="*/ 9158 w 10000"/>
                <a:gd name="connsiteY25" fmla="*/ 6057 h 11952"/>
                <a:gd name="connsiteX26" fmla="*/ 9319 w 10000"/>
                <a:gd name="connsiteY26" fmla="*/ 5982 h 11952"/>
                <a:gd name="connsiteX27" fmla="*/ 9439 w 10000"/>
                <a:gd name="connsiteY27" fmla="*/ 5906 h 11952"/>
                <a:gd name="connsiteX28" fmla="*/ 9579 w 10000"/>
                <a:gd name="connsiteY28" fmla="*/ 5801 h 11952"/>
                <a:gd name="connsiteX29" fmla="*/ 9679 w 10000"/>
                <a:gd name="connsiteY29" fmla="*/ 5680 h 11952"/>
                <a:gd name="connsiteX30" fmla="*/ 9760 w 10000"/>
                <a:gd name="connsiteY30" fmla="*/ 5559 h 11952"/>
                <a:gd name="connsiteX31" fmla="*/ 9579 w 10000"/>
                <a:gd name="connsiteY31" fmla="*/ 5483 h 11952"/>
                <a:gd name="connsiteX32" fmla="*/ 9319 w 10000"/>
                <a:gd name="connsiteY32" fmla="*/ 5272 h 11952"/>
                <a:gd name="connsiteX33" fmla="*/ 9038 w 10000"/>
                <a:gd name="connsiteY33" fmla="*/ 5091 h 11952"/>
                <a:gd name="connsiteX34" fmla="*/ 8918 w 10000"/>
                <a:gd name="connsiteY34" fmla="*/ 5015 h 11952"/>
                <a:gd name="connsiteX35" fmla="*/ 8938 w 10000"/>
                <a:gd name="connsiteY35" fmla="*/ 4909 h 11952"/>
                <a:gd name="connsiteX36" fmla="*/ 8958 w 10000"/>
                <a:gd name="connsiteY36" fmla="*/ 4849 h 11952"/>
                <a:gd name="connsiteX37" fmla="*/ 9018 w 10000"/>
                <a:gd name="connsiteY37" fmla="*/ 4789 h 11952"/>
                <a:gd name="connsiteX38" fmla="*/ 9078 w 10000"/>
                <a:gd name="connsiteY38" fmla="*/ 4758 h 11952"/>
                <a:gd name="connsiteX39" fmla="*/ 9238 w 10000"/>
                <a:gd name="connsiteY39" fmla="*/ 4668 h 11952"/>
                <a:gd name="connsiteX40" fmla="*/ 9419 w 10000"/>
                <a:gd name="connsiteY40" fmla="*/ 4547 h 11952"/>
                <a:gd name="connsiteX41" fmla="*/ 9339 w 10000"/>
                <a:gd name="connsiteY41" fmla="*/ 4335 h 11952"/>
                <a:gd name="connsiteX42" fmla="*/ 9279 w 10000"/>
                <a:gd name="connsiteY42" fmla="*/ 4109 h 11952"/>
                <a:gd name="connsiteX43" fmla="*/ 9339 w 10000"/>
                <a:gd name="connsiteY43" fmla="*/ 3988 h 11952"/>
                <a:gd name="connsiteX44" fmla="*/ 9499 w 10000"/>
                <a:gd name="connsiteY44" fmla="*/ 3761 h 11952"/>
                <a:gd name="connsiteX45" fmla="*/ 9739 w 10000"/>
                <a:gd name="connsiteY45" fmla="*/ 3489 h 11952"/>
                <a:gd name="connsiteX46" fmla="*/ 10000 w 10000"/>
                <a:gd name="connsiteY46" fmla="*/ 3097 h 11952"/>
                <a:gd name="connsiteX47" fmla="*/ 9479 w 10000"/>
                <a:gd name="connsiteY47" fmla="*/ 2915 h 11952"/>
                <a:gd name="connsiteX48" fmla="*/ 8918 w 10000"/>
                <a:gd name="connsiteY48" fmla="*/ 2779 h 11952"/>
                <a:gd name="connsiteX49" fmla="*/ 8377 w 10000"/>
                <a:gd name="connsiteY49" fmla="*/ 2659 h 11952"/>
                <a:gd name="connsiteX50" fmla="*/ 7816 w 10000"/>
                <a:gd name="connsiteY50" fmla="*/ 2553 h 11952"/>
                <a:gd name="connsiteX51" fmla="*/ 7234 w 10000"/>
                <a:gd name="connsiteY51" fmla="*/ 2462 h 11952"/>
                <a:gd name="connsiteX52" fmla="*/ 6633 w 10000"/>
                <a:gd name="connsiteY52" fmla="*/ 2341 h 11952"/>
                <a:gd name="connsiteX53" fmla="*/ 6052 w 10000"/>
                <a:gd name="connsiteY53" fmla="*/ 2190 h 11952"/>
                <a:gd name="connsiteX54" fmla="*/ 5411 w 10000"/>
                <a:gd name="connsiteY54" fmla="*/ 2009 h 11952"/>
                <a:gd name="connsiteX55" fmla="*/ 5291 w 10000"/>
                <a:gd name="connsiteY55" fmla="*/ 1949 h 11952"/>
                <a:gd name="connsiteX56" fmla="*/ 5150 w 10000"/>
                <a:gd name="connsiteY56" fmla="*/ 1888 h 11952"/>
                <a:gd name="connsiteX57" fmla="*/ 5050 w 10000"/>
                <a:gd name="connsiteY57" fmla="*/ 1813 h 11952"/>
                <a:gd name="connsiteX58" fmla="*/ 4930 w 10000"/>
                <a:gd name="connsiteY58" fmla="*/ 1707 h 11952"/>
                <a:gd name="connsiteX59" fmla="*/ 4749 w 10000"/>
                <a:gd name="connsiteY59" fmla="*/ 1495 h 11952"/>
                <a:gd name="connsiteX60" fmla="*/ 4569 w 10000"/>
                <a:gd name="connsiteY60" fmla="*/ 1254 h 11952"/>
                <a:gd name="connsiteX61" fmla="*/ 4409 w 10000"/>
                <a:gd name="connsiteY61" fmla="*/ 1027 h 11952"/>
                <a:gd name="connsiteX62" fmla="*/ 4188 w 10000"/>
                <a:gd name="connsiteY62" fmla="*/ 831 h 11952"/>
                <a:gd name="connsiteX63" fmla="*/ 4088 w 10000"/>
                <a:gd name="connsiteY63" fmla="*/ 740 h 11952"/>
                <a:gd name="connsiteX64" fmla="*/ 3948 w 10000"/>
                <a:gd name="connsiteY64" fmla="*/ 710 h 11952"/>
                <a:gd name="connsiteX65" fmla="*/ 3788 w 10000"/>
                <a:gd name="connsiteY65" fmla="*/ 665 h 11952"/>
                <a:gd name="connsiteX66" fmla="*/ 3627 w 10000"/>
                <a:gd name="connsiteY66" fmla="*/ 650 h 11952"/>
                <a:gd name="connsiteX67" fmla="*/ 3307 w 10000"/>
                <a:gd name="connsiteY67" fmla="*/ 650 h 11952"/>
                <a:gd name="connsiteX68" fmla="*/ 3066 w 10000"/>
                <a:gd name="connsiteY68" fmla="*/ 650 h 11952"/>
                <a:gd name="connsiteX69" fmla="*/ 2886 w 10000"/>
                <a:gd name="connsiteY69" fmla="*/ 650 h 11952"/>
                <a:gd name="connsiteX70" fmla="*/ 2766 w 10000"/>
                <a:gd name="connsiteY70" fmla="*/ 650 h 11952"/>
                <a:gd name="connsiteX71" fmla="*/ 2585 w 10000"/>
                <a:gd name="connsiteY71" fmla="*/ 619 h 11952"/>
                <a:gd name="connsiteX72" fmla="*/ 2425 w 10000"/>
                <a:gd name="connsiteY72" fmla="*/ 589 h 11952"/>
                <a:gd name="connsiteX73" fmla="*/ 2285 w 10000"/>
                <a:gd name="connsiteY73" fmla="*/ 529 h 11952"/>
                <a:gd name="connsiteX74" fmla="*/ 2204 w 10000"/>
                <a:gd name="connsiteY74" fmla="*/ 423 h 11952"/>
                <a:gd name="connsiteX75" fmla="*/ 2024 w 10000"/>
                <a:gd name="connsiteY75" fmla="*/ 227 h 11952"/>
                <a:gd name="connsiteX76" fmla="*/ 1804 w 10000"/>
                <a:gd name="connsiteY76" fmla="*/ 0 h 11952"/>
                <a:gd name="connsiteX77" fmla="*/ 1643 w 10000"/>
                <a:gd name="connsiteY77" fmla="*/ 121 h 11952"/>
                <a:gd name="connsiteX78" fmla="*/ 1523 w 10000"/>
                <a:gd name="connsiteY78" fmla="*/ 242 h 11952"/>
                <a:gd name="connsiteX79" fmla="*/ 1443 w 10000"/>
                <a:gd name="connsiteY79" fmla="*/ 363 h 11952"/>
                <a:gd name="connsiteX80" fmla="*/ 1363 w 10000"/>
                <a:gd name="connsiteY80" fmla="*/ 498 h 11952"/>
                <a:gd name="connsiteX81" fmla="*/ 1222 w 10000"/>
                <a:gd name="connsiteY81" fmla="*/ 770 h 11952"/>
                <a:gd name="connsiteX82" fmla="*/ 1082 w 10000"/>
                <a:gd name="connsiteY82" fmla="*/ 1012 h 11952"/>
                <a:gd name="connsiteX83" fmla="*/ 962 w 10000"/>
                <a:gd name="connsiteY83" fmla="*/ 1133 h 11952"/>
                <a:gd name="connsiteX84" fmla="*/ 822 w 10000"/>
                <a:gd name="connsiteY84" fmla="*/ 1254 h 11952"/>
                <a:gd name="connsiteX85" fmla="*/ 641 w 10000"/>
                <a:gd name="connsiteY85" fmla="*/ 1329 h 11952"/>
                <a:gd name="connsiteX86" fmla="*/ 441 w 10000"/>
                <a:gd name="connsiteY86" fmla="*/ 1435 h 11952"/>
                <a:gd name="connsiteX87" fmla="*/ 281 w 10000"/>
                <a:gd name="connsiteY87" fmla="*/ 1526 h 11952"/>
                <a:gd name="connsiteX88" fmla="*/ 120 w 10000"/>
                <a:gd name="connsiteY88" fmla="*/ 1631 h 11952"/>
                <a:gd name="connsiteX89" fmla="*/ 80 w 10000"/>
                <a:gd name="connsiteY89" fmla="*/ 1692 h 11952"/>
                <a:gd name="connsiteX90" fmla="*/ 20 w 10000"/>
                <a:gd name="connsiteY90" fmla="*/ 1767 h 11952"/>
                <a:gd name="connsiteX91" fmla="*/ 0 w 10000"/>
                <a:gd name="connsiteY91" fmla="*/ 1828 h 11952"/>
                <a:gd name="connsiteX92" fmla="*/ 0 w 10000"/>
                <a:gd name="connsiteY92" fmla="*/ 1918 h 11952"/>
                <a:gd name="connsiteX93" fmla="*/ 20 w 10000"/>
                <a:gd name="connsiteY93" fmla="*/ 2069 h 11952"/>
                <a:gd name="connsiteX94" fmla="*/ 40 w 10000"/>
                <a:gd name="connsiteY94" fmla="*/ 2221 h 11952"/>
                <a:gd name="connsiteX95" fmla="*/ 100 w 10000"/>
                <a:gd name="connsiteY95" fmla="*/ 2311 h 11952"/>
                <a:gd name="connsiteX96" fmla="*/ 160 w 10000"/>
                <a:gd name="connsiteY96" fmla="*/ 2402 h 11952"/>
                <a:gd name="connsiteX97" fmla="*/ 240 w 10000"/>
                <a:gd name="connsiteY97" fmla="*/ 2477 h 11952"/>
                <a:gd name="connsiteX98" fmla="*/ 321 w 10000"/>
                <a:gd name="connsiteY98" fmla="*/ 2538 h 11952"/>
                <a:gd name="connsiteX99" fmla="*/ 421 w 10000"/>
                <a:gd name="connsiteY99" fmla="*/ 2583 h 11952"/>
                <a:gd name="connsiteX100" fmla="*/ 521 w 10000"/>
                <a:gd name="connsiteY100" fmla="*/ 2613 h 11952"/>
                <a:gd name="connsiteX101" fmla="*/ 741 w 10000"/>
                <a:gd name="connsiteY101" fmla="*/ 2674 h 11952"/>
                <a:gd name="connsiteX102" fmla="*/ 962 w 10000"/>
                <a:gd name="connsiteY102" fmla="*/ 2734 h 11952"/>
                <a:gd name="connsiteX103" fmla="*/ 1062 w 10000"/>
                <a:gd name="connsiteY103" fmla="*/ 2764 h 11952"/>
                <a:gd name="connsiteX104" fmla="*/ 1162 w 10000"/>
                <a:gd name="connsiteY104" fmla="*/ 2795 h 11952"/>
                <a:gd name="connsiteX105" fmla="*/ 1242 w 10000"/>
                <a:gd name="connsiteY105" fmla="*/ 2855 h 11952"/>
                <a:gd name="connsiteX106" fmla="*/ 1323 w 10000"/>
                <a:gd name="connsiteY106" fmla="*/ 2915 h 11952"/>
                <a:gd name="connsiteX107" fmla="*/ 1403 w 10000"/>
                <a:gd name="connsiteY107" fmla="*/ 3036 h 11952"/>
                <a:gd name="connsiteX108" fmla="*/ 1463 w 10000"/>
                <a:gd name="connsiteY108" fmla="*/ 3157 h 11952"/>
                <a:gd name="connsiteX109" fmla="*/ 1523 w 10000"/>
                <a:gd name="connsiteY109" fmla="*/ 3263 h 11952"/>
                <a:gd name="connsiteX110" fmla="*/ 1543 w 10000"/>
                <a:gd name="connsiteY110" fmla="*/ 3384 h 11952"/>
                <a:gd name="connsiteX111" fmla="*/ 1563 w 10000"/>
                <a:gd name="connsiteY111" fmla="*/ 3580 h 11952"/>
                <a:gd name="connsiteX112" fmla="*/ 1563 w 10000"/>
                <a:gd name="connsiteY112" fmla="*/ 3792 h 11952"/>
                <a:gd name="connsiteX113" fmla="*/ 1603 w 10000"/>
                <a:gd name="connsiteY113" fmla="*/ 3988 h 11952"/>
                <a:gd name="connsiteX114" fmla="*/ 1643 w 10000"/>
                <a:gd name="connsiteY114" fmla="*/ 4169 h 11952"/>
                <a:gd name="connsiteX115" fmla="*/ 1683 w 10000"/>
                <a:gd name="connsiteY115" fmla="*/ 4245 h 11952"/>
                <a:gd name="connsiteX116" fmla="*/ 1764 w 10000"/>
                <a:gd name="connsiteY116" fmla="*/ 4335 h 11952"/>
                <a:gd name="connsiteX117" fmla="*/ 1844 w 10000"/>
                <a:gd name="connsiteY117" fmla="*/ 4396 h 11952"/>
                <a:gd name="connsiteX118" fmla="*/ 1924 w 10000"/>
                <a:gd name="connsiteY118" fmla="*/ 4471 h 11952"/>
                <a:gd name="connsiteX119" fmla="*/ 2164 w 10000"/>
                <a:gd name="connsiteY119" fmla="*/ 4547 h 11952"/>
                <a:gd name="connsiteX120" fmla="*/ 2445 w 10000"/>
                <a:gd name="connsiteY120" fmla="*/ 4637 h 11952"/>
                <a:gd name="connsiteX121" fmla="*/ 2806 w 10000"/>
                <a:gd name="connsiteY121" fmla="*/ 4698 h 11952"/>
                <a:gd name="connsiteX122" fmla="*/ 3146 w 10000"/>
                <a:gd name="connsiteY122" fmla="*/ 4758 h 11952"/>
                <a:gd name="connsiteX123" fmla="*/ 3467 w 10000"/>
                <a:gd name="connsiteY123" fmla="*/ 4834 h 11952"/>
                <a:gd name="connsiteX124" fmla="*/ 3727 w 10000"/>
                <a:gd name="connsiteY124" fmla="*/ 4940 h 11952"/>
                <a:gd name="connsiteX125" fmla="*/ 3848 w 10000"/>
                <a:gd name="connsiteY125" fmla="*/ 4970 h 11952"/>
                <a:gd name="connsiteX126" fmla="*/ 3928 w 10000"/>
                <a:gd name="connsiteY126" fmla="*/ 5030 h 11952"/>
                <a:gd name="connsiteX127" fmla="*/ 3968 w 10000"/>
                <a:gd name="connsiteY127" fmla="*/ 5121 h 11952"/>
                <a:gd name="connsiteX128" fmla="*/ 3968 w 10000"/>
                <a:gd name="connsiteY128" fmla="*/ 5196 h 11952"/>
                <a:gd name="connsiteX129" fmla="*/ 3968 w 10000"/>
                <a:gd name="connsiteY129" fmla="*/ 5438 h 11952"/>
                <a:gd name="connsiteX130" fmla="*/ 3968 w 10000"/>
                <a:gd name="connsiteY130" fmla="*/ 5725 h 11952"/>
                <a:gd name="connsiteX131" fmla="*/ 3968 w 10000"/>
                <a:gd name="connsiteY131" fmla="*/ 5997 h 11952"/>
                <a:gd name="connsiteX132" fmla="*/ 3968 w 10000"/>
                <a:gd name="connsiteY132" fmla="*/ 6208 h 11952"/>
                <a:gd name="connsiteX133" fmla="*/ 3948 w 10000"/>
                <a:gd name="connsiteY133" fmla="*/ 6511 h 11952"/>
                <a:gd name="connsiteX134" fmla="*/ 3888 w 10000"/>
                <a:gd name="connsiteY134" fmla="*/ 6782 h 11952"/>
                <a:gd name="connsiteX135" fmla="*/ 3888 w 10000"/>
                <a:gd name="connsiteY135" fmla="*/ 6918 h 11952"/>
                <a:gd name="connsiteX136" fmla="*/ 3928 w 10000"/>
                <a:gd name="connsiteY136" fmla="*/ 7069 h 11952"/>
                <a:gd name="connsiteX137" fmla="*/ 4008 w 10000"/>
                <a:gd name="connsiteY137" fmla="*/ 7205 h 11952"/>
                <a:gd name="connsiteX138" fmla="*/ 4108 w 10000"/>
                <a:gd name="connsiteY138" fmla="*/ 7372 h 11952"/>
                <a:gd name="connsiteX139" fmla="*/ 4168 w 10000"/>
                <a:gd name="connsiteY139" fmla="*/ 7447 h 11952"/>
                <a:gd name="connsiteX140" fmla="*/ 4208 w 10000"/>
                <a:gd name="connsiteY140" fmla="*/ 7508 h 11952"/>
                <a:gd name="connsiteX141" fmla="*/ 4269 w 10000"/>
                <a:gd name="connsiteY141" fmla="*/ 7568 h 11952"/>
                <a:gd name="connsiteX142" fmla="*/ 4349 w 10000"/>
                <a:gd name="connsiteY142" fmla="*/ 7613 h 11952"/>
                <a:gd name="connsiteX143" fmla="*/ 4529 w 10000"/>
                <a:gd name="connsiteY143" fmla="*/ 7644 h 11952"/>
                <a:gd name="connsiteX144" fmla="*/ 4689 w 10000"/>
                <a:gd name="connsiteY144" fmla="*/ 7689 h 11952"/>
                <a:gd name="connsiteX145" fmla="*/ 4890 w 10000"/>
                <a:gd name="connsiteY145" fmla="*/ 7734 h 11952"/>
                <a:gd name="connsiteX146" fmla="*/ 5050 w 10000"/>
                <a:gd name="connsiteY146" fmla="*/ 7795 h 11952"/>
                <a:gd name="connsiteX147" fmla="*/ 5130 w 10000"/>
                <a:gd name="connsiteY147" fmla="*/ 7825 h 11952"/>
                <a:gd name="connsiteX148" fmla="*/ 5210 w 10000"/>
                <a:gd name="connsiteY148" fmla="*/ 7870 h 11952"/>
                <a:gd name="connsiteX149" fmla="*/ 5251 w 10000"/>
                <a:gd name="connsiteY149" fmla="*/ 7931 h 11952"/>
                <a:gd name="connsiteX150" fmla="*/ 5311 w 10000"/>
                <a:gd name="connsiteY150" fmla="*/ 8006 h 11952"/>
                <a:gd name="connsiteX151" fmla="*/ 5711 w 10000"/>
                <a:gd name="connsiteY151" fmla="*/ 8640 h 11952"/>
                <a:gd name="connsiteX152" fmla="*/ 6152 w 10000"/>
                <a:gd name="connsiteY152" fmla="*/ 9275 h 11952"/>
                <a:gd name="connsiteX153" fmla="*/ 6223 w 10000"/>
                <a:gd name="connsiteY153" fmla="*/ 10672 h 11952"/>
                <a:gd name="connsiteX154" fmla="*/ 7348 w 10000"/>
                <a:gd name="connsiteY154" fmla="*/ 11952 h 11952"/>
                <a:gd name="connsiteX0" fmla="*/ 7348 w 10000"/>
                <a:gd name="connsiteY0" fmla="*/ 12802 h 12802"/>
                <a:gd name="connsiteX1" fmla="*/ 7112 w 10000"/>
                <a:gd name="connsiteY1" fmla="*/ 11562 h 12802"/>
                <a:gd name="connsiteX2" fmla="*/ 7111 w 10000"/>
                <a:gd name="connsiteY2" fmla="*/ 11358 h 12802"/>
                <a:gd name="connsiteX3" fmla="*/ 7260 w 10000"/>
                <a:gd name="connsiteY3" fmla="*/ 10858 h 12802"/>
                <a:gd name="connsiteX4" fmla="*/ 7213 w 10000"/>
                <a:gd name="connsiteY4" fmla="*/ 10768 h 12802"/>
                <a:gd name="connsiteX5" fmla="*/ 7340 w 10000"/>
                <a:gd name="connsiteY5" fmla="*/ 10346 h 12802"/>
                <a:gd name="connsiteX6" fmla="*/ 7648 w 10000"/>
                <a:gd name="connsiteY6" fmla="*/ 10201 h 12802"/>
                <a:gd name="connsiteX7" fmla="*/ 7234 w 10000"/>
                <a:gd name="connsiteY7" fmla="*/ 9702 h 12802"/>
                <a:gd name="connsiteX8" fmla="*/ 7435 w 10000"/>
                <a:gd name="connsiteY8" fmla="*/ 9521 h 12802"/>
                <a:gd name="connsiteX9" fmla="*/ 7655 w 10000"/>
                <a:gd name="connsiteY9" fmla="*/ 9370 h 12802"/>
                <a:gd name="connsiteX10" fmla="*/ 7896 w 10000"/>
                <a:gd name="connsiteY10" fmla="*/ 9203 h 12802"/>
                <a:gd name="connsiteX11" fmla="*/ 8136 w 10000"/>
                <a:gd name="connsiteY11" fmla="*/ 9037 h 12802"/>
                <a:gd name="connsiteX12" fmla="*/ 8357 w 10000"/>
                <a:gd name="connsiteY12" fmla="*/ 8886 h 12802"/>
                <a:gd name="connsiteX13" fmla="*/ 8557 w 10000"/>
                <a:gd name="connsiteY13" fmla="*/ 8705 h 12802"/>
                <a:gd name="connsiteX14" fmla="*/ 8778 w 10000"/>
                <a:gd name="connsiteY14" fmla="*/ 8539 h 12802"/>
                <a:gd name="connsiteX15" fmla="*/ 8938 w 10000"/>
                <a:gd name="connsiteY15" fmla="*/ 8342 h 12802"/>
                <a:gd name="connsiteX16" fmla="*/ 9038 w 10000"/>
                <a:gd name="connsiteY16" fmla="*/ 8131 h 12802"/>
                <a:gd name="connsiteX17" fmla="*/ 9098 w 10000"/>
                <a:gd name="connsiteY17" fmla="*/ 8040 h 12802"/>
                <a:gd name="connsiteX18" fmla="*/ 9118 w 10000"/>
                <a:gd name="connsiteY18" fmla="*/ 7919 h 12802"/>
                <a:gd name="connsiteX19" fmla="*/ 9158 w 10000"/>
                <a:gd name="connsiteY19" fmla="*/ 7799 h 12802"/>
                <a:gd name="connsiteX20" fmla="*/ 9158 w 10000"/>
                <a:gd name="connsiteY20" fmla="*/ 7678 h 12802"/>
                <a:gd name="connsiteX21" fmla="*/ 9038 w 10000"/>
                <a:gd name="connsiteY21" fmla="*/ 7376 h 12802"/>
                <a:gd name="connsiteX22" fmla="*/ 8918 w 10000"/>
                <a:gd name="connsiteY22" fmla="*/ 7134 h 12802"/>
                <a:gd name="connsiteX23" fmla="*/ 8958 w 10000"/>
                <a:gd name="connsiteY23" fmla="*/ 7074 h 12802"/>
                <a:gd name="connsiteX24" fmla="*/ 9038 w 10000"/>
                <a:gd name="connsiteY24" fmla="*/ 6998 h 12802"/>
                <a:gd name="connsiteX25" fmla="*/ 9158 w 10000"/>
                <a:gd name="connsiteY25" fmla="*/ 6907 h 12802"/>
                <a:gd name="connsiteX26" fmla="*/ 9319 w 10000"/>
                <a:gd name="connsiteY26" fmla="*/ 6832 h 12802"/>
                <a:gd name="connsiteX27" fmla="*/ 9439 w 10000"/>
                <a:gd name="connsiteY27" fmla="*/ 6756 h 12802"/>
                <a:gd name="connsiteX28" fmla="*/ 9579 w 10000"/>
                <a:gd name="connsiteY28" fmla="*/ 6651 h 12802"/>
                <a:gd name="connsiteX29" fmla="*/ 9679 w 10000"/>
                <a:gd name="connsiteY29" fmla="*/ 6530 h 12802"/>
                <a:gd name="connsiteX30" fmla="*/ 9760 w 10000"/>
                <a:gd name="connsiteY30" fmla="*/ 6409 h 12802"/>
                <a:gd name="connsiteX31" fmla="*/ 9579 w 10000"/>
                <a:gd name="connsiteY31" fmla="*/ 6333 h 12802"/>
                <a:gd name="connsiteX32" fmla="*/ 9319 w 10000"/>
                <a:gd name="connsiteY32" fmla="*/ 6122 h 12802"/>
                <a:gd name="connsiteX33" fmla="*/ 9038 w 10000"/>
                <a:gd name="connsiteY33" fmla="*/ 5941 h 12802"/>
                <a:gd name="connsiteX34" fmla="*/ 8918 w 10000"/>
                <a:gd name="connsiteY34" fmla="*/ 5865 h 12802"/>
                <a:gd name="connsiteX35" fmla="*/ 8938 w 10000"/>
                <a:gd name="connsiteY35" fmla="*/ 5759 h 12802"/>
                <a:gd name="connsiteX36" fmla="*/ 8958 w 10000"/>
                <a:gd name="connsiteY36" fmla="*/ 5699 h 12802"/>
                <a:gd name="connsiteX37" fmla="*/ 9018 w 10000"/>
                <a:gd name="connsiteY37" fmla="*/ 5639 h 12802"/>
                <a:gd name="connsiteX38" fmla="*/ 9078 w 10000"/>
                <a:gd name="connsiteY38" fmla="*/ 5608 h 12802"/>
                <a:gd name="connsiteX39" fmla="*/ 9238 w 10000"/>
                <a:gd name="connsiteY39" fmla="*/ 5518 h 12802"/>
                <a:gd name="connsiteX40" fmla="*/ 9419 w 10000"/>
                <a:gd name="connsiteY40" fmla="*/ 5397 h 12802"/>
                <a:gd name="connsiteX41" fmla="*/ 9339 w 10000"/>
                <a:gd name="connsiteY41" fmla="*/ 5185 h 12802"/>
                <a:gd name="connsiteX42" fmla="*/ 9279 w 10000"/>
                <a:gd name="connsiteY42" fmla="*/ 4959 h 12802"/>
                <a:gd name="connsiteX43" fmla="*/ 9339 w 10000"/>
                <a:gd name="connsiteY43" fmla="*/ 4838 h 12802"/>
                <a:gd name="connsiteX44" fmla="*/ 9499 w 10000"/>
                <a:gd name="connsiteY44" fmla="*/ 4611 h 12802"/>
                <a:gd name="connsiteX45" fmla="*/ 9739 w 10000"/>
                <a:gd name="connsiteY45" fmla="*/ 4339 h 12802"/>
                <a:gd name="connsiteX46" fmla="*/ 10000 w 10000"/>
                <a:gd name="connsiteY46" fmla="*/ 3947 h 12802"/>
                <a:gd name="connsiteX47" fmla="*/ 9479 w 10000"/>
                <a:gd name="connsiteY47" fmla="*/ 3765 h 12802"/>
                <a:gd name="connsiteX48" fmla="*/ 8918 w 10000"/>
                <a:gd name="connsiteY48" fmla="*/ 3629 h 12802"/>
                <a:gd name="connsiteX49" fmla="*/ 8377 w 10000"/>
                <a:gd name="connsiteY49" fmla="*/ 3509 h 12802"/>
                <a:gd name="connsiteX50" fmla="*/ 7816 w 10000"/>
                <a:gd name="connsiteY50" fmla="*/ 3403 h 12802"/>
                <a:gd name="connsiteX51" fmla="*/ 7234 w 10000"/>
                <a:gd name="connsiteY51" fmla="*/ 3312 h 12802"/>
                <a:gd name="connsiteX52" fmla="*/ 6633 w 10000"/>
                <a:gd name="connsiteY52" fmla="*/ 3191 h 12802"/>
                <a:gd name="connsiteX53" fmla="*/ 6052 w 10000"/>
                <a:gd name="connsiteY53" fmla="*/ 3040 h 12802"/>
                <a:gd name="connsiteX54" fmla="*/ 5411 w 10000"/>
                <a:gd name="connsiteY54" fmla="*/ 2859 h 12802"/>
                <a:gd name="connsiteX55" fmla="*/ 5291 w 10000"/>
                <a:gd name="connsiteY55" fmla="*/ 2799 h 12802"/>
                <a:gd name="connsiteX56" fmla="*/ 5150 w 10000"/>
                <a:gd name="connsiteY56" fmla="*/ 2738 h 12802"/>
                <a:gd name="connsiteX57" fmla="*/ 5050 w 10000"/>
                <a:gd name="connsiteY57" fmla="*/ 2663 h 12802"/>
                <a:gd name="connsiteX58" fmla="*/ 4930 w 10000"/>
                <a:gd name="connsiteY58" fmla="*/ 2557 h 12802"/>
                <a:gd name="connsiteX59" fmla="*/ 4749 w 10000"/>
                <a:gd name="connsiteY59" fmla="*/ 2345 h 12802"/>
                <a:gd name="connsiteX60" fmla="*/ 4569 w 10000"/>
                <a:gd name="connsiteY60" fmla="*/ 2104 h 12802"/>
                <a:gd name="connsiteX61" fmla="*/ 4409 w 10000"/>
                <a:gd name="connsiteY61" fmla="*/ 1877 h 12802"/>
                <a:gd name="connsiteX62" fmla="*/ 4188 w 10000"/>
                <a:gd name="connsiteY62" fmla="*/ 1681 h 12802"/>
                <a:gd name="connsiteX63" fmla="*/ 4088 w 10000"/>
                <a:gd name="connsiteY63" fmla="*/ 1590 h 12802"/>
                <a:gd name="connsiteX64" fmla="*/ 3948 w 10000"/>
                <a:gd name="connsiteY64" fmla="*/ 1560 h 12802"/>
                <a:gd name="connsiteX65" fmla="*/ 3788 w 10000"/>
                <a:gd name="connsiteY65" fmla="*/ 1515 h 12802"/>
                <a:gd name="connsiteX66" fmla="*/ 3627 w 10000"/>
                <a:gd name="connsiteY66" fmla="*/ 1500 h 12802"/>
                <a:gd name="connsiteX67" fmla="*/ 3307 w 10000"/>
                <a:gd name="connsiteY67" fmla="*/ 1500 h 12802"/>
                <a:gd name="connsiteX68" fmla="*/ 3066 w 10000"/>
                <a:gd name="connsiteY68" fmla="*/ 1500 h 12802"/>
                <a:gd name="connsiteX69" fmla="*/ 2886 w 10000"/>
                <a:gd name="connsiteY69" fmla="*/ 1500 h 12802"/>
                <a:gd name="connsiteX70" fmla="*/ 2766 w 10000"/>
                <a:gd name="connsiteY70" fmla="*/ 1500 h 12802"/>
                <a:gd name="connsiteX71" fmla="*/ 2585 w 10000"/>
                <a:gd name="connsiteY71" fmla="*/ 1469 h 12802"/>
                <a:gd name="connsiteX72" fmla="*/ 2425 w 10000"/>
                <a:gd name="connsiteY72" fmla="*/ 1439 h 12802"/>
                <a:gd name="connsiteX73" fmla="*/ 2285 w 10000"/>
                <a:gd name="connsiteY73" fmla="*/ 1379 h 12802"/>
                <a:gd name="connsiteX74" fmla="*/ 2204 w 10000"/>
                <a:gd name="connsiteY74" fmla="*/ 1273 h 12802"/>
                <a:gd name="connsiteX75" fmla="*/ 2024 w 10000"/>
                <a:gd name="connsiteY75" fmla="*/ 1077 h 12802"/>
                <a:gd name="connsiteX76" fmla="*/ 1804 w 10000"/>
                <a:gd name="connsiteY76" fmla="*/ 850 h 12802"/>
                <a:gd name="connsiteX77" fmla="*/ 1643 w 10000"/>
                <a:gd name="connsiteY77" fmla="*/ 971 h 12802"/>
                <a:gd name="connsiteX78" fmla="*/ 1523 w 10000"/>
                <a:gd name="connsiteY78" fmla="*/ 1092 h 12802"/>
                <a:gd name="connsiteX79" fmla="*/ 107 w 10000"/>
                <a:gd name="connsiteY79" fmla="*/ 1 h 12802"/>
                <a:gd name="connsiteX80" fmla="*/ 1363 w 10000"/>
                <a:gd name="connsiteY80" fmla="*/ 1348 h 12802"/>
                <a:gd name="connsiteX81" fmla="*/ 1222 w 10000"/>
                <a:gd name="connsiteY81" fmla="*/ 1620 h 12802"/>
                <a:gd name="connsiteX82" fmla="*/ 1082 w 10000"/>
                <a:gd name="connsiteY82" fmla="*/ 1862 h 12802"/>
                <a:gd name="connsiteX83" fmla="*/ 962 w 10000"/>
                <a:gd name="connsiteY83" fmla="*/ 1983 h 12802"/>
                <a:gd name="connsiteX84" fmla="*/ 822 w 10000"/>
                <a:gd name="connsiteY84" fmla="*/ 2104 h 12802"/>
                <a:gd name="connsiteX85" fmla="*/ 641 w 10000"/>
                <a:gd name="connsiteY85" fmla="*/ 2179 h 12802"/>
                <a:gd name="connsiteX86" fmla="*/ 441 w 10000"/>
                <a:gd name="connsiteY86" fmla="*/ 2285 h 12802"/>
                <a:gd name="connsiteX87" fmla="*/ 281 w 10000"/>
                <a:gd name="connsiteY87" fmla="*/ 2376 h 12802"/>
                <a:gd name="connsiteX88" fmla="*/ 120 w 10000"/>
                <a:gd name="connsiteY88" fmla="*/ 2481 h 12802"/>
                <a:gd name="connsiteX89" fmla="*/ 80 w 10000"/>
                <a:gd name="connsiteY89" fmla="*/ 2542 h 12802"/>
                <a:gd name="connsiteX90" fmla="*/ 20 w 10000"/>
                <a:gd name="connsiteY90" fmla="*/ 2617 h 12802"/>
                <a:gd name="connsiteX91" fmla="*/ 0 w 10000"/>
                <a:gd name="connsiteY91" fmla="*/ 2678 h 12802"/>
                <a:gd name="connsiteX92" fmla="*/ 0 w 10000"/>
                <a:gd name="connsiteY92" fmla="*/ 2768 h 12802"/>
                <a:gd name="connsiteX93" fmla="*/ 20 w 10000"/>
                <a:gd name="connsiteY93" fmla="*/ 2919 h 12802"/>
                <a:gd name="connsiteX94" fmla="*/ 40 w 10000"/>
                <a:gd name="connsiteY94" fmla="*/ 3071 h 12802"/>
                <a:gd name="connsiteX95" fmla="*/ 100 w 10000"/>
                <a:gd name="connsiteY95" fmla="*/ 3161 h 12802"/>
                <a:gd name="connsiteX96" fmla="*/ 160 w 10000"/>
                <a:gd name="connsiteY96" fmla="*/ 3252 h 12802"/>
                <a:gd name="connsiteX97" fmla="*/ 240 w 10000"/>
                <a:gd name="connsiteY97" fmla="*/ 3327 h 12802"/>
                <a:gd name="connsiteX98" fmla="*/ 321 w 10000"/>
                <a:gd name="connsiteY98" fmla="*/ 3388 h 12802"/>
                <a:gd name="connsiteX99" fmla="*/ 421 w 10000"/>
                <a:gd name="connsiteY99" fmla="*/ 3433 h 12802"/>
                <a:gd name="connsiteX100" fmla="*/ 521 w 10000"/>
                <a:gd name="connsiteY100" fmla="*/ 3463 h 12802"/>
                <a:gd name="connsiteX101" fmla="*/ 741 w 10000"/>
                <a:gd name="connsiteY101" fmla="*/ 3524 h 12802"/>
                <a:gd name="connsiteX102" fmla="*/ 962 w 10000"/>
                <a:gd name="connsiteY102" fmla="*/ 3584 h 12802"/>
                <a:gd name="connsiteX103" fmla="*/ 1062 w 10000"/>
                <a:gd name="connsiteY103" fmla="*/ 3614 h 12802"/>
                <a:gd name="connsiteX104" fmla="*/ 1162 w 10000"/>
                <a:gd name="connsiteY104" fmla="*/ 3645 h 12802"/>
                <a:gd name="connsiteX105" fmla="*/ 1242 w 10000"/>
                <a:gd name="connsiteY105" fmla="*/ 3705 h 12802"/>
                <a:gd name="connsiteX106" fmla="*/ 1323 w 10000"/>
                <a:gd name="connsiteY106" fmla="*/ 3765 h 12802"/>
                <a:gd name="connsiteX107" fmla="*/ 1403 w 10000"/>
                <a:gd name="connsiteY107" fmla="*/ 3886 h 12802"/>
                <a:gd name="connsiteX108" fmla="*/ 1463 w 10000"/>
                <a:gd name="connsiteY108" fmla="*/ 4007 h 12802"/>
                <a:gd name="connsiteX109" fmla="*/ 1523 w 10000"/>
                <a:gd name="connsiteY109" fmla="*/ 4113 h 12802"/>
                <a:gd name="connsiteX110" fmla="*/ 1543 w 10000"/>
                <a:gd name="connsiteY110" fmla="*/ 4234 h 12802"/>
                <a:gd name="connsiteX111" fmla="*/ 1563 w 10000"/>
                <a:gd name="connsiteY111" fmla="*/ 4430 h 12802"/>
                <a:gd name="connsiteX112" fmla="*/ 1563 w 10000"/>
                <a:gd name="connsiteY112" fmla="*/ 4642 h 12802"/>
                <a:gd name="connsiteX113" fmla="*/ 1603 w 10000"/>
                <a:gd name="connsiteY113" fmla="*/ 4838 h 12802"/>
                <a:gd name="connsiteX114" fmla="*/ 1643 w 10000"/>
                <a:gd name="connsiteY114" fmla="*/ 5019 h 12802"/>
                <a:gd name="connsiteX115" fmla="*/ 1683 w 10000"/>
                <a:gd name="connsiteY115" fmla="*/ 5095 h 12802"/>
                <a:gd name="connsiteX116" fmla="*/ 1764 w 10000"/>
                <a:gd name="connsiteY116" fmla="*/ 5185 h 12802"/>
                <a:gd name="connsiteX117" fmla="*/ 1844 w 10000"/>
                <a:gd name="connsiteY117" fmla="*/ 5246 h 12802"/>
                <a:gd name="connsiteX118" fmla="*/ 1924 w 10000"/>
                <a:gd name="connsiteY118" fmla="*/ 5321 h 12802"/>
                <a:gd name="connsiteX119" fmla="*/ 2164 w 10000"/>
                <a:gd name="connsiteY119" fmla="*/ 5397 h 12802"/>
                <a:gd name="connsiteX120" fmla="*/ 2445 w 10000"/>
                <a:gd name="connsiteY120" fmla="*/ 5487 h 12802"/>
                <a:gd name="connsiteX121" fmla="*/ 2806 w 10000"/>
                <a:gd name="connsiteY121" fmla="*/ 5548 h 12802"/>
                <a:gd name="connsiteX122" fmla="*/ 3146 w 10000"/>
                <a:gd name="connsiteY122" fmla="*/ 5608 h 12802"/>
                <a:gd name="connsiteX123" fmla="*/ 3467 w 10000"/>
                <a:gd name="connsiteY123" fmla="*/ 5684 h 12802"/>
                <a:gd name="connsiteX124" fmla="*/ 3727 w 10000"/>
                <a:gd name="connsiteY124" fmla="*/ 5790 h 12802"/>
                <a:gd name="connsiteX125" fmla="*/ 3848 w 10000"/>
                <a:gd name="connsiteY125" fmla="*/ 5820 h 12802"/>
                <a:gd name="connsiteX126" fmla="*/ 3928 w 10000"/>
                <a:gd name="connsiteY126" fmla="*/ 5880 h 12802"/>
                <a:gd name="connsiteX127" fmla="*/ 3968 w 10000"/>
                <a:gd name="connsiteY127" fmla="*/ 5971 h 12802"/>
                <a:gd name="connsiteX128" fmla="*/ 3968 w 10000"/>
                <a:gd name="connsiteY128" fmla="*/ 6046 h 12802"/>
                <a:gd name="connsiteX129" fmla="*/ 3968 w 10000"/>
                <a:gd name="connsiteY129" fmla="*/ 6288 h 12802"/>
                <a:gd name="connsiteX130" fmla="*/ 3968 w 10000"/>
                <a:gd name="connsiteY130" fmla="*/ 6575 h 12802"/>
                <a:gd name="connsiteX131" fmla="*/ 3968 w 10000"/>
                <a:gd name="connsiteY131" fmla="*/ 6847 h 12802"/>
                <a:gd name="connsiteX132" fmla="*/ 3968 w 10000"/>
                <a:gd name="connsiteY132" fmla="*/ 7058 h 12802"/>
                <a:gd name="connsiteX133" fmla="*/ 3948 w 10000"/>
                <a:gd name="connsiteY133" fmla="*/ 7361 h 12802"/>
                <a:gd name="connsiteX134" fmla="*/ 3888 w 10000"/>
                <a:gd name="connsiteY134" fmla="*/ 7632 h 12802"/>
                <a:gd name="connsiteX135" fmla="*/ 3888 w 10000"/>
                <a:gd name="connsiteY135" fmla="*/ 7768 h 12802"/>
                <a:gd name="connsiteX136" fmla="*/ 3928 w 10000"/>
                <a:gd name="connsiteY136" fmla="*/ 7919 h 12802"/>
                <a:gd name="connsiteX137" fmla="*/ 4008 w 10000"/>
                <a:gd name="connsiteY137" fmla="*/ 8055 h 12802"/>
                <a:gd name="connsiteX138" fmla="*/ 4108 w 10000"/>
                <a:gd name="connsiteY138" fmla="*/ 8222 h 12802"/>
                <a:gd name="connsiteX139" fmla="*/ 4168 w 10000"/>
                <a:gd name="connsiteY139" fmla="*/ 8297 h 12802"/>
                <a:gd name="connsiteX140" fmla="*/ 4208 w 10000"/>
                <a:gd name="connsiteY140" fmla="*/ 8358 h 12802"/>
                <a:gd name="connsiteX141" fmla="*/ 4269 w 10000"/>
                <a:gd name="connsiteY141" fmla="*/ 8418 h 12802"/>
                <a:gd name="connsiteX142" fmla="*/ 4349 w 10000"/>
                <a:gd name="connsiteY142" fmla="*/ 8463 h 12802"/>
                <a:gd name="connsiteX143" fmla="*/ 4529 w 10000"/>
                <a:gd name="connsiteY143" fmla="*/ 8494 h 12802"/>
                <a:gd name="connsiteX144" fmla="*/ 4689 w 10000"/>
                <a:gd name="connsiteY144" fmla="*/ 8539 h 12802"/>
                <a:gd name="connsiteX145" fmla="*/ 4890 w 10000"/>
                <a:gd name="connsiteY145" fmla="*/ 8584 h 12802"/>
                <a:gd name="connsiteX146" fmla="*/ 5050 w 10000"/>
                <a:gd name="connsiteY146" fmla="*/ 8645 h 12802"/>
                <a:gd name="connsiteX147" fmla="*/ 5130 w 10000"/>
                <a:gd name="connsiteY147" fmla="*/ 8675 h 12802"/>
                <a:gd name="connsiteX148" fmla="*/ 5210 w 10000"/>
                <a:gd name="connsiteY148" fmla="*/ 8720 h 12802"/>
                <a:gd name="connsiteX149" fmla="*/ 5251 w 10000"/>
                <a:gd name="connsiteY149" fmla="*/ 8781 h 12802"/>
                <a:gd name="connsiteX150" fmla="*/ 5311 w 10000"/>
                <a:gd name="connsiteY150" fmla="*/ 8856 h 12802"/>
                <a:gd name="connsiteX151" fmla="*/ 5711 w 10000"/>
                <a:gd name="connsiteY151" fmla="*/ 9490 h 12802"/>
                <a:gd name="connsiteX152" fmla="*/ 6152 w 10000"/>
                <a:gd name="connsiteY152" fmla="*/ 10125 h 12802"/>
                <a:gd name="connsiteX153" fmla="*/ 6223 w 10000"/>
                <a:gd name="connsiteY153" fmla="*/ 11522 h 12802"/>
                <a:gd name="connsiteX154" fmla="*/ 7348 w 10000"/>
                <a:gd name="connsiteY154" fmla="*/ 12802 h 12802"/>
                <a:gd name="connsiteX0" fmla="*/ 7348 w 10000"/>
                <a:gd name="connsiteY0" fmla="*/ 12931 h 12931"/>
                <a:gd name="connsiteX1" fmla="*/ 7112 w 10000"/>
                <a:gd name="connsiteY1" fmla="*/ 11691 h 12931"/>
                <a:gd name="connsiteX2" fmla="*/ 7111 w 10000"/>
                <a:gd name="connsiteY2" fmla="*/ 11487 h 12931"/>
                <a:gd name="connsiteX3" fmla="*/ 7260 w 10000"/>
                <a:gd name="connsiteY3" fmla="*/ 10987 h 12931"/>
                <a:gd name="connsiteX4" fmla="*/ 7213 w 10000"/>
                <a:gd name="connsiteY4" fmla="*/ 10897 h 12931"/>
                <a:gd name="connsiteX5" fmla="*/ 7340 w 10000"/>
                <a:gd name="connsiteY5" fmla="*/ 10475 h 12931"/>
                <a:gd name="connsiteX6" fmla="*/ 7648 w 10000"/>
                <a:gd name="connsiteY6" fmla="*/ 10330 h 12931"/>
                <a:gd name="connsiteX7" fmla="*/ 7234 w 10000"/>
                <a:gd name="connsiteY7" fmla="*/ 9831 h 12931"/>
                <a:gd name="connsiteX8" fmla="*/ 7435 w 10000"/>
                <a:gd name="connsiteY8" fmla="*/ 9650 h 12931"/>
                <a:gd name="connsiteX9" fmla="*/ 7655 w 10000"/>
                <a:gd name="connsiteY9" fmla="*/ 9499 h 12931"/>
                <a:gd name="connsiteX10" fmla="*/ 7896 w 10000"/>
                <a:gd name="connsiteY10" fmla="*/ 9332 h 12931"/>
                <a:gd name="connsiteX11" fmla="*/ 8136 w 10000"/>
                <a:gd name="connsiteY11" fmla="*/ 9166 h 12931"/>
                <a:gd name="connsiteX12" fmla="*/ 8357 w 10000"/>
                <a:gd name="connsiteY12" fmla="*/ 9015 h 12931"/>
                <a:gd name="connsiteX13" fmla="*/ 8557 w 10000"/>
                <a:gd name="connsiteY13" fmla="*/ 8834 h 12931"/>
                <a:gd name="connsiteX14" fmla="*/ 8778 w 10000"/>
                <a:gd name="connsiteY14" fmla="*/ 8668 h 12931"/>
                <a:gd name="connsiteX15" fmla="*/ 8938 w 10000"/>
                <a:gd name="connsiteY15" fmla="*/ 8471 h 12931"/>
                <a:gd name="connsiteX16" fmla="*/ 9038 w 10000"/>
                <a:gd name="connsiteY16" fmla="*/ 8260 h 12931"/>
                <a:gd name="connsiteX17" fmla="*/ 9098 w 10000"/>
                <a:gd name="connsiteY17" fmla="*/ 8169 h 12931"/>
                <a:gd name="connsiteX18" fmla="*/ 9118 w 10000"/>
                <a:gd name="connsiteY18" fmla="*/ 8048 h 12931"/>
                <a:gd name="connsiteX19" fmla="*/ 9158 w 10000"/>
                <a:gd name="connsiteY19" fmla="*/ 7928 h 12931"/>
                <a:gd name="connsiteX20" fmla="*/ 9158 w 10000"/>
                <a:gd name="connsiteY20" fmla="*/ 7807 h 12931"/>
                <a:gd name="connsiteX21" fmla="*/ 9038 w 10000"/>
                <a:gd name="connsiteY21" fmla="*/ 7505 h 12931"/>
                <a:gd name="connsiteX22" fmla="*/ 8918 w 10000"/>
                <a:gd name="connsiteY22" fmla="*/ 7263 h 12931"/>
                <a:gd name="connsiteX23" fmla="*/ 8958 w 10000"/>
                <a:gd name="connsiteY23" fmla="*/ 7203 h 12931"/>
                <a:gd name="connsiteX24" fmla="*/ 9038 w 10000"/>
                <a:gd name="connsiteY24" fmla="*/ 7127 h 12931"/>
                <a:gd name="connsiteX25" fmla="*/ 9158 w 10000"/>
                <a:gd name="connsiteY25" fmla="*/ 7036 h 12931"/>
                <a:gd name="connsiteX26" fmla="*/ 9319 w 10000"/>
                <a:gd name="connsiteY26" fmla="*/ 6961 h 12931"/>
                <a:gd name="connsiteX27" fmla="*/ 9439 w 10000"/>
                <a:gd name="connsiteY27" fmla="*/ 6885 h 12931"/>
                <a:gd name="connsiteX28" fmla="*/ 9579 w 10000"/>
                <a:gd name="connsiteY28" fmla="*/ 6780 h 12931"/>
                <a:gd name="connsiteX29" fmla="*/ 9679 w 10000"/>
                <a:gd name="connsiteY29" fmla="*/ 6659 h 12931"/>
                <a:gd name="connsiteX30" fmla="*/ 9760 w 10000"/>
                <a:gd name="connsiteY30" fmla="*/ 6538 h 12931"/>
                <a:gd name="connsiteX31" fmla="*/ 9579 w 10000"/>
                <a:gd name="connsiteY31" fmla="*/ 6462 h 12931"/>
                <a:gd name="connsiteX32" fmla="*/ 9319 w 10000"/>
                <a:gd name="connsiteY32" fmla="*/ 6251 h 12931"/>
                <a:gd name="connsiteX33" fmla="*/ 9038 w 10000"/>
                <a:gd name="connsiteY33" fmla="*/ 6070 h 12931"/>
                <a:gd name="connsiteX34" fmla="*/ 8918 w 10000"/>
                <a:gd name="connsiteY34" fmla="*/ 5994 h 12931"/>
                <a:gd name="connsiteX35" fmla="*/ 8938 w 10000"/>
                <a:gd name="connsiteY35" fmla="*/ 5888 h 12931"/>
                <a:gd name="connsiteX36" fmla="*/ 8958 w 10000"/>
                <a:gd name="connsiteY36" fmla="*/ 5828 h 12931"/>
                <a:gd name="connsiteX37" fmla="*/ 9018 w 10000"/>
                <a:gd name="connsiteY37" fmla="*/ 5768 h 12931"/>
                <a:gd name="connsiteX38" fmla="*/ 9078 w 10000"/>
                <a:gd name="connsiteY38" fmla="*/ 5737 h 12931"/>
                <a:gd name="connsiteX39" fmla="*/ 9238 w 10000"/>
                <a:gd name="connsiteY39" fmla="*/ 5647 h 12931"/>
                <a:gd name="connsiteX40" fmla="*/ 9419 w 10000"/>
                <a:gd name="connsiteY40" fmla="*/ 5526 h 12931"/>
                <a:gd name="connsiteX41" fmla="*/ 9339 w 10000"/>
                <a:gd name="connsiteY41" fmla="*/ 5314 h 12931"/>
                <a:gd name="connsiteX42" fmla="*/ 9279 w 10000"/>
                <a:gd name="connsiteY42" fmla="*/ 5088 h 12931"/>
                <a:gd name="connsiteX43" fmla="*/ 9339 w 10000"/>
                <a:gd name="connsiteY43" fmla="*/ 4967 h 12931"/>
                <a:gd name="connsiteX44" fmla="*/ 9499 w 10000"/>
                <a:gd name="connsiteY44" fmla="*/ 4740 h 12931"/>
                <a:gd name="connsiteX45" fmla="*/ 9739 w 10000"/>
                <a:gd name="connsiteY45" fmla="*/ 4468 h 12931"/>
                <a:gd name="connsiteX46" fmla="*/ 10000 w 10000"/>
                <a:gd name="connsiteY46" fmla="*/ 4076 h 12931"/>
                <a:gd name="connsiteX47" fmla="*/ 9479 w 10000"/>
                <a:gd name="connsiteY47" fmla="*/ 3894 h 12931"/>
                <a:gd name="connsiteX48" fmla="*/ 8918 w 10000"/>
                <a:gd name="connsiteY48" fmla="*/ 3758 h 12931"/>
                <a:gd name="connsiteX49" fmla="*/ 8377 w 10000"/>
                <a:gd name="connsiteY49" fmla="*/ 3638 h 12931"/>
                <a:gd name="connsiteX50" fmla="*/ 7816 w 10000"/>
                <a:gd name="connsiteY50" fmla="*/ 3532 h 12931"/>
                <a:gd name="connsiteX51" fmla="*/ 7234 w 10000"/>
                <a:gd name="connsiteY51" fmla="*/ 3441 h 12931"/>
                <a:gd name="connsiteX52" fmla="*/ 6633 w 10000"/>
                <a:gd name="connsiteY52" fmla="*/ 3320 h 12931"/>
                <a:gd name="connsiteX53" fmla="*/ 6052 w 10000"/>
                <a:gd name="connsiteY53" fmla="*/ 3169 h 12931"/>
                <a:gd name="connsiteX54" fmla="*/ 5411 w 10000"/>
                <a:gd name="connsiteY54" fmla="*/ 2988 h 12931"/>
                <a:gd name="connsiteX55" fmla="*/ 5291 w 10000"/>
                <a:gd name="connsiteY55" fmla="*/ 2928 h 12931"/>
                <a:gd name="connsiteX56" fmla="*/ 5150 w 10000"/>
                <a:gd name="connsiteY56" fmla="*/ 2867 h 12931"/>
                <a:gd name="connsiteX57" fmla="*/ 5050 w 10000"/>
                <a:gd name="connsiteY57" fmla="*/ 2792 h 12931"/>
                <a:gd name="connsiteX58" fmla="*/ 4930 w 10000"/>
                <a:gd name="connsiteY58" fmla="*/ 2686 h 12931"/>
                <a:gd name="connsiteX59" fmla="*/ 4749 w 10000"/>
                <a:gd name="connsiteY59" fmla="*/ 2474 h 12931"/>
                <a:gd name="connsiteX60" fmla="*/ 4569 w 10000"/>
                <a:gd name="connsiteY60" fmla="*/ 2233 h 12931"/>
                <a:gd name="connsiteX61" fmla="*/ 4409 w 10000"/>
                <a:gd name="connsiteY61" fmla="*/ 2006 h 12931"/>
                <a:gd name="connsiteX62" fmla="*/ 4188 w 10000"/>
                <a:gd name="connsiteY62" fmla="*/ 1810 h 12931"/>
                <a:gd name="connsiteX63" fmla="*/ 4088 w 10000"/>
                <a:gd name="connsiteY63" fmla="*/ 1719 h 12931"/>
                <a:gd name="connsiteX64" fmla="*/ 3948 w 10000"/>
                <a:gd name="connsiteY64" fmla="*/ 1689 h 12931"/>
                <a:gd name="connsiteX65" fmla="*/ 3788 w 10000"/>
                <a:gd name="connsiteY65" fmla="*/ 1644 h 12931"/>
                <a:gd name="connsiteX66" fmla="*/ 3627 w 10000"/>
                <a:gd name="connsiteY66" fmla="*/ 1629 h 12931"/>
                <a:gd name="connsiteX67" fmla="*/ 3307 w 10000"/>
                <a:gd name="connsiteY67" fmla="*/ 1629 h 12931"/>
                <a:gd name="connsiteX68" fmla="*/ 3066 w 10000"/>
                <a:gd name="connsiteY68" fmla="*/ 1629 h 12931"/>
                <a:gd name="connsiteX69" fmla="*/ 2886 w 10000"/>
                <a:gd name="connsiteY69" fmla="*/ 1629 h 12931"/>
                <a:gd name="connsiteX70" fmla="*/ 2766 w 10000"/>
                <a:gd name="connsiteY70" fmla="*/ 1629 h 12931"/>
                <a:gd name="connsiteX71" fmla="*/ 2585 w 10000"/>
                <a:gd name="connsiteY71" fmla="*/ 1598 h 12931"/>
                <a:gd name="connsiteX72" fmla="*/ 2425 w 10000"/>
                <a:gd name="connsiteY72" fmla="*/ 1568 h 12931"/>
                <a:gd name="connsiteX73" fmla="*/ 2285 w 10000"/>
                <a:gd name="connsiteY73" fmla="*/ 1508 h 12931"/>
                <a:gd name="connsiteX74" fmla="*/ 2204 w 10000"/>
                <a:gd name="connsiteY74" fmla="*/ 1402 h 12931"/>
                <a:gd name="connsiteX75" fmla="*/ 2024 w 10000"/>
                <a:gd name="connsiteY75" fmla="*/ 1206 h 12931"/>
                <a:gd name="connsiteX76" fmla="*/ 1804 w 10000"/>
                <a:gd name="connsiteY76" fmla="*/ 979 h 12931"/>
                <a:gd name="connsiteX77" fmla="*/ 1225 w 10000"/>
                <a:gd name="connsiteY77" fmla="*/ 1 h 12931"/>
                <a:gd name="connsiteX78" fmla="*/ 1523 w 10000"/>
                <a:gd name="connsiteY78" fmla="*/ 1221 h 12931"/>
                <a:gd name="connsiteX79" fmla="*/ 107 w 10000"/>
                <a:gd name="connsiteY79" fmla="*/ 130 h 12931"/>
                <a:gd name="connsiteX80" fmla="*/ 1363 w 10000"/>
                <a:gd name="connsiteY80" fmla="*/ 1477 h 12931"/>
                <a:gd name="connsiteX81" fmla="*/ 1222 w 10000"/>
                <a:gd name="connsiteY81" fmla="*/ 1749 h 12931"/>
                <a:gd name="connsiteX82" fmla="*/ 1082 w 10000"/>
                <a:gd name="connsiteY82" fmla="*/ 1991 h 12931"/>
                <a:gd name="connsiteX83" fmla="*/ 962 w 10000"/>
                <a:gd name="connsiteY83" fmla="*/ 2112 h 12931"/>
                <a:gd name="connsiteX84" fmla="*/ 822 w 10000"/>
                <a:gd name="connsiteY84" fmla="*/ 2233 h 12931"/>
                <a:gd name="connsiteX85" fmla="*/ 641 w 10000"/>
                <a:gd name="connsiteY85" fmla="*/ 2308 h 12931"/>
                <a:gd name="connsiteX86" fmla="*/ 441 w 10000"/>
                <a:gd name="connsiteY86" fmla="*/ 2414 h 12931"/>
                <a:gd name="connsiteX87" fmla="*/ 281 w 10000"/>
                <a:gd name="connsiteY87" fmla="*/ 2505 h 12931"/>
                <a:gd name="connsiteX88" fmla="*/ 120 w 10000"/>
                <a:gd name="connsiteY88" fmla="*/ 2610 h 12931"/>
                <a:gd name="connsiteX89" fmla="*/ 80 w 10000"/>
                <a:gd name="connsiteY89" fmla="*/ 2671 h 12931"/>
                <a:gd name="connsiteX90" fmla="*/ 20 w 10000"/>
                <a:gd name="connsiteY90" fmla="*/ 2746 h 12931"/>
                <a:gd name="connsiteX91" fmla="*/ 0 w 10000"/>
                <a:gd name="connsiteY91" fmla="*/ 2807 h 12931"/>
                <a:gd name="connsiteX92" fmla="*/ 0 w 10000"/>
                <a:gd name="connsiteY92" fmla="*/ 2897 h 12931"/>
                <a:gd name="connsiteX93" fmla="*/ 20 w 10000"/>
                <a:gd name="connsiteY93" fmla="*/ 3048 h 12931"/>
                <a:gd name="connsiteX94" fmla="*/ 40 w 10000"/>
                <a:gd name="connsiteY94" fmla="*/ 3200 h 12931"/>
                <a:gd name="connsiteX95" fmla="*/ 100 w 10000"/>
                <a:gd name="connsiteY95" fmla="*/ 3290 h 12931"/>
                <a:gd name="connsiteX96" fmla="*/ 160 w 10000"/>
                <a:gd name="connsiteY96" fmla="*/ 3381 h 12931"/>
                <a:gd name="connsiteX97" fmla="*/ 240 w 10000"/>
                <a:gd name="connsiteY97" fmla="*/ 3456 h 12931"/>
                <a:gd name="connsiteX98" fmla="*/ 321 w 10000"/>
                <a:gd name="connsiteY98" fmla="*/ 3517 h 12931"/>
                <a:gd name="connsiteX99" fmla="*/ 421 w 10000"/>
                <a:gd name="connsiteY99" fmla="*/ 3562 h 12931"/>
                <a:gd name="connsiteX100" fmla="*/ 521 w 10000"/>
                <a:gd name="connsiteY100" fmla="*/ 3592 h 12931"/>
                <a:gd name="connsiteX101" fmla="*/ 741 w 10000"/>
                <a:gd name="connsiteY101" fmla="*/ 3653 h 12931"/>
                <a:gd name="connsiteX102" fmla="*/ 962 w 10000"/>
                <a:gd name="connsiteY102" fmla="*/ 3713 h 12931"/>
                <a:gd name="connsiteX103" fmla="*/ 1062 w 10000"/>
                <a:gd name="connsiteY103" fmla="*/ 3743 h 12931"/>
                <a:gd name="connsiteX104" fmla="*/ 1162 w 10000"/>
                <a:gd name="connsiteY104" fmla="*/ 3774 h 12931"/>
                <a:gd name="connsiteX105" fmla="*/ 1242 w 10000"/>
                <a:gd name="connsiteY105" fmla="*/ 3834 h 12931"/>
                <a:gd name="connsiteX106" fmla="*/ 1323 w 10000"/>
                <a:gd name="connsiteY106" fmla="*/ 3894 h 12931"/>
                <a:gd name="connsiteX107" fmla="*/ 1403 w 10000"/>
                <a:gd name="connsiteY107" fmla="*/ 4015 h 12931"/>
                <a:gd name="connsiteX108" fmla="*/ 1463 w 10000"/>
                <a:gd name="connsiteY108" fmla="*/ 4136 h 12931"/>
                <a:gd name="connsiteX109" fmla="*/ 1523 w 10000"/>
                <a:gd name="connsiteY109" fmla="*/ 4242 h 12931"/>
                <a:gd name="connsiteX110" fmla="*/ 1543 w 10000"/>
                <a:gd name="connsiteY110" fmla="*/ 4363 h 12931"/>
                <a:gd name="connsiteX111" fmla="*/ 1563 w 10000"/>
                <a:gd name="connsiteY111" fmla="*/ 4559 h 12931"/>
                <a:gd name="connsiteX112" fmla="*/ 1563 w 10000"/>
                <a:gd name="connsiteY112" fmla="*/ 4771 h 12931"/>
                <a:gd name="connsiteX113" fmla="*/ 1603 w 10000"/>
                <a:gd name="connsiteY113" fmla="*/ 4967 h 12931"/>
                <a:gd name="connsiteX114" fmla="*/ 1643 w 10000"/>
                <a:gd name="connsiteY114" fmla="*/ 5148 h 12931"/>
                <a:gd name="connsiteX115" fmla="*/ 1683 w 10000"/>
                <a:gd name="connsiteY115" fmla="*/ 5224 h 12931"/>
                <a:gd name="connsiteX116" fmla="*/ 1764 w 10000"/>
                <a:gd name="connsiteY116" fmla="*/ 5314 h 12931"/>
                <a:gd name="connsiteX117" fmla="*/ 1844 w 10000"/>
                <a:gd name="connsiteY117" fmla="*/ 5375 h 12931"/>
                <a:gd name="connsiteX118" fmla="*/ 1924 w 10000"/>
                <a:gd name="connsiteY118" fmla="*/ 5450 h 12931"/>
                <a:gd name="connsiteX119" fmla="*/ 2164 w 10000"/>
                <a:gd name="connsiteY119" fmla="*/ 5526 h 12931"/>
                <a:gd name="connsiteX120" fmla="*/ 2445 w 10000"/>
                <a:gd name="connsiteY120" fmla="*/ 5616 h 12931"/>
                <a:gd name="connsiteX121" fmla="*/ 2806 w 10000"/>
                <a:gd name="connsiteY121" fmla="*/ 5677 h 12931"/>
                <a:gd name="connsiteX122" fmla="*/ 3146 w 10000"/>
                <a:gd name="connsiteY122" fmla="*/ 5737 h 12931"/>
                <a:gd name="connsiteX123" fmla="*/ 3467 w 10000"/>
                <a:gd name="connsiteY123" fmla="*/ 5813 h 12931"/>
                <a:gd name="connsiteX124" fmla="*/ 3727 w 10000"/>
                <a:gd name="connsiteY124" fmla="*/ 5919 h 12931"/>
                <a:gd name="connsiteX125" fmla="*/ 3848 w 10000"/>
                <a:gd name="connsiteY125" fmla="*/ 5949 h 12931"/>
                <a:gd name="connsiteX126" fmla="*/ 3928 w 10000"/>
                <a:gd name="connsiteY126" fmla="*/ 6009 h 12931"/>
                <a:gd name="connsiteX127" fmla="*/ 3968 w 10000"/>
                <a:gd name="connsiteY127" fmla="*/ 6100 h 12931"/>
                <a:gd name="connsiteX128" fmla="*/ 3968 w 10000"/>
                <a:gd name="connsiteY128" fmla="*/ 6175 h 12931"/>
                <a:gd name="connsiteX129" fmla="*/ 3968 w 10000"/>
                <a:gd name="connsiteY129" fmla="*/ 6417 h 12931"/>
                <a:gd name="connsiteX130" fmla="*/ 3968 w 10000"/>
                <a:gd name="connsiteY130" fmla="*/ 6704 h 12931"/>
                <a:gd name="connsiteX131" fmla="*/ 3968 w 10000"/>
                <a:gd name="connsiteY131" fmla="*/ 6976 h 12931"/>
                <a:gd name="connsiteX132" fmla="*/ 3968 w 10000"/>
                <a:gd name="connsiteY132" fmla="*/ 7187 h 12931"/>
                <a:gd name="connsiteX133" fmla="*/ 3948 w 10000"/>
                <a:gd name="connsiteY133" fmla="*/ 7490 h 12931"/>
                <a:gd name="connsiteX134" fmla="*/ 3888 w 10000"/>
                <a:gd name="connsiteY134" fmla="*/ 7761 h 12931"/>
                <a:gd name="connsiteX135" fmla="*/ 3888 w 10000"/>
                <a:gd name="connsiteY135" fmla="*/ 7897 h 12931"/>
                <a:gd name="connsiteX136" fmla="*/ 3928 w 10000"/>
                <a:gd name="connsiteY136" fmla="*/ 8048 h 12931"/>
                <a:gd name="connsiteX137" fmla="*/ 4008 w 10000"/>
                <a:gd name="connsiteY137" fmla="*/ 8184 h 12931"/>
                <a:gd name="connsiteX138" fmla="*/ 4108 w 10000"/>
                <a:gd name="connsiteY138" fmla="*/ 8351 h 12931"/>
                <a:gd name="connsiteX139" fmla="*/ 4168 w 10000"/>
                <a:gd name="connsiteY139" fmla="*/ 8426 h 12931"/>
                <a:gd name="connsiteX140" fmla="*/ 4208 w 10000"/>
                <a:gd name="connsiteY140" fmla="*/ 8487 h 12931"/>
                <a:gd name="connsiteX141" fmla="*/ 4269 w 10000"/>
                <a:gd name="connsiteY141" fmla="*/ 8547 h 12931"/>
                <a:gd name="connsiteX142" fmla="*/ 4349 w 10000"/>
                <a:gd name="connsiteY142" fmla="*/ 8592 h 12931"/>
                <a:gd name="connsiteX143" fmla="*/ 4529 w 10000"/>
                <a:gd name="connsiteY143" fmla="*/ 8623 h 12931"/>
                <a:gd name="connsiteX144" fmla="*/ 4689 w 10000"/>
                <a:gd name="connsiteY144" fmla="*/ 8668 h 12931"/>
                <a:gd name="connsiteX145" fmla="*/ 4890 w 10000"/>
                <a:gd name="connsiteY145" fmla="*/ 8713 h 12931"/>
                <a:gd name="connsiteX146" fmla="*/ 5050 w 10000"/>
                <a:gd name="connsiteY146" fmla="*/ 8774 h 12931"/>
                <a:gd name="connsiteX147" fmla="*/ 5130 w 10000"/>
                <a:gd name="connsiteY147" fmla="*/ 8804 h 12931"/>
                <a:gd name="connsiteX148" fmla="*/ 5210 w 10000"/>
                <a:gd name="connsiteY148" fmla="*/ 8849 h 12931"/>
                <a:gd name="connsiteX149" fmla="*/ 5251 w 10000"/>
                <a:gd name="connsiteY149" fmla="*/ 8910 h 12931"/>
                <a:gd name="connsiteX150" fmla="*/ 5311 w 10000"/>
                <a:gd name="connsiteY150" fmla="*/ 8985 h 12931"/>
                <a:gd name="connsiteX151" fmla="*/ 5711 w 10000"/>
                <a:gd name="connsiteY151" fmla="*/ 9619 h 12931"/>
                <a:gd name="connsiteX152" fmla="*/ 6152 w 10000"/>
                <a:gd name="connsiteY152" fmla="*/ 10254 h 12931"/>
                <a:gd name="connsiteX153" fmla="*/ 6223 w 10000"/>
                <a:gd name="connsiteY153" fmla="*/ 11651 h 12931"/>
                <a:gd name="connsiteX154" fmla="*/ 7348 w 10000"/>
                <a:gd name="connsiteY154" fmla="*/ 12931 h 12931"/>
                <a:gd name="connsiteX0" fmla="*/ 7522 w 10174"/>
                <a:gd name="connsiteY0" fmla="*/ 13597 h 13597"/>
                <a:gd name="connsiteX1" fmla="*/ 7286 w 10174"/>
                <a:gd name="connsiteY1" fmla="*/ 12357 h 13597"/>
                <a:gd name="connsiteX2" fmla="*/ 7285 w 10174"/>
                <a:gd name="connsiteY2" fmla="*/ 12153 h 13597"/>
                <a:gd name="connsiteX3" fmla="*/ 7434 w 10174"/>
                <a:gd name="connsiteY3" fmla="*/ 11653 h 13597"/>
                <a:gd name="connsiteX4" fmla="*/ 7387 w 10174"/>
                <a:gd name="connsiteY4" fmla="*/ 11563 h 13597"/>
                <a:gd name="connsiteX5" fmla="*/ 7514 w 10174"/>
                <a:gd name="connsiteY5" fmla="*/ 11141 h 13597"/>
                <a:gd name="connsiteX6" fmla="*/ 7822 w 10174"/>
                <a:gd name="connsiteY6" fmla="*/ 10996 h 13597"/>
                <a:gd name="connsiteX7" fmla="*/ 7408 w 10174"/>
                <a:gd name="connsiteY7" fmla="*/ 10497 h 13597"/>
                <a:gd name="connsiteX8" fmla="*/ 7609 w 10174"/>
                <a:gd name="connsiteY8" fmla="*/ 10316 h 13597"/>
                <a:gd name="connsiteX9" fmla="*/ 7829 w 10174"/>
                <a:gd name="connsiteY9" fmla="*/ 10165 h 13597"/>
                <a:gd name="connsiteX10" fmla="*/ 8070 w 10174"/>
                <a:gd name="connsiteY10" fmla="*/ 9998 h 13597"/>
                <a:gd name="connsiteX11" fmla="*/ 8310 w 10174"/>
                <a:gd name="connsiteY11" fmla="*/ 9832 h 13597"/>
                <a:gd name="connsiteX12" fmla="*/ 8531 w 10174"/>
                <a:gd name="connsiteY12" fmla="*/ 9681 h 13597"/>
                <a:gd name="connsiteX13" fmla="*/ 8731 w 10174"/>
                <a:gd name="connsiteY13" fmla="*/ 9500 h 13597"/>
                <a:gd name="connsiteX14" fmla="*/ 8952 w 10174"/>
                <a:gd name="connsiteY14" fmla="*/ 9334 h 13597"/>
                <a:gd name="connsiteX15" fmla="*/ 9112 w 10174"/>
                <a:gd name="connsiteY15" fmla="*/ 9137 h 13597"/>
                <a:gd name="connsiteX16" fmla="*/ 9212 w 10174"/>
                <a:gd name="connsiteY16" fmla="*/ 8926 h 13597"/>
                <a:gd name="connsiteX17" fmla="*/ 9272 w 10174"/>
                <a:gd name="connsiteY17" fmla="*/ 8835 h 13597"/>
                <a:gd name="connsiteX18" fmla="*/ 9292 w 10174"/>
                <a:gd name="connsiteY18" fmla="*/ 8714 h 13597"/>
                <a:gd name="connsiteX19" fmla="*/ 9332 w 10174"/>
                <a:gd name="connsiteY19" fmla="*/ 8594 h 13597"/>
                <a:gd name="connsiteX20" fmla="*/ 9332 w 10174"/>
                <a:gd name="connsiteY20" fmla="*/ 8473 h 13597"/>
                <a:gd name="connsiteX21" fmla="*/ 9212 w 10174"/>
                <a:gd name="connsiteY21" fmla="*/ 8171 h 13597"/>
                <a:gd name="connsiteX22" fmla="*/ 9092 w 10174"/>
                <a:gd name="connsiteY22" fmla="*/ 7929 h 13597"/>
                <a:gd name="connsiteX23" fmla="*/ 9132 w 10174"/>
                <a:gd name="connsiteY23" fmla="*/ 7869 h 13597"/>
                <a:gd name="connsiteX24" fmla="*/ 9212 w 10174"/>
                <a:gd name="connsiteY24" fmla="*/ 7793 h 13597"/>
                <a:gd name="connsiteX25" fmla="*/ 9332 w 10174"/>
                <a:gd name="connsiteY25" fmla="*/ 7702 h 13597"/>
                <a:gd name="connsiteX26" fmla="*/ 9493 w 10174"/>
                <a:gd name="connsiteY26" fmla="*/ 7627 h 13597"/>
                <a:gd name="connsiteX27" fmla="*/ 9613 w 10174"/>
                <a:gd name="connsiteY27" fmla="*/ 7551 h 13597"/>
                <a:gd name="connsiteX28" fmla="*/ 9753 w 10174"/>
                <a:gd name="connsiteY28" fmla="*/ 7446 h 13597"/>
                <a:gd name="connsiteX29" fmla="*/ 9853 w 10174"/>
                <a:gd name="connsiteY29" fmla="*/ 7325 h 13597"/>
                <a:gd name="connsiteX30" fmla="*/ 9934 w 10174"/>
                <a:gd name="connsiteY30" fmla="*/ 7204 h 13597"/>
                <a:gd name="connsiteX31" fmla="*/ 9753 w 10174"/>
                <a:gd name="connsiteY31" fmla="*/ 7128 h 13597"/>
                <a:gd name="connsiteX32" fmla="*/ 9493 w 10174"/>
                <a:gd name="connsiteY32" fmla="*/ 6917 h 13597"/>
                <a:gd name="connsiteX33" fmla="*/ 9212 w 10174"/>
                <a:gd name="connsiteY33" fmla="*/ 6736 h 13597"/>
                <a:gd name="connsiteX34" fmla="*/ 9092 w 10174"/>
                <a:gd name="connsiteY34" fmla="*/ 6660 h 13597"/>
                <a:gd name="connsiteX35" fmla="*/ 9112 w 10174"/>
                <a:gd name="connsiteY35" fmla="*/ 6554 h 13597"/>
                <a:gd name="connsiteX36" fmla="*/ 9132 w 10174"/>
                <a:gd name="connsiteY36" fmla="*/ 6494 h 13597"/>
                <a:gd name="connsiteX37" fmla="*/ 9192 w 10174"/>
                <a:gd name="connsiteY37" fmla="*/ 6434 h 13597"/>
                <a:gd name="connsiteX38" fmla="*/ 9252 w 10174"/>
                <a:gd name="connsiteY38" fmla="*/ 6403 h 13597"/>
                <a:gd name="connsiteX39" fmla="*/ 9412 w 10174"/>
                <a:gd name="connsiteY39" fmla="*/ 6313 h 13597"/>
                <a:gd name="connsiteX40" fmla="*/ 9593 w 10174"/>
                <a:gd name="connsiteY40" fmla="*/ 6192 h 13597"/>
                <a:gd name="connsiteX41" fmla="*/ 9513 w 10174"/>
                <a:gd name="connsiteY41" fmla="*/ 5980 h 13597"/>
                <a:gd name="connsiteX42" fmla="*/ 9453 w 10174"/>
                <a:gd name="connsiteY42" fmla="*/ 5754 h 13597"/>
                <a:gd name="connsiteX43" fmla="*/ 9513 w 10174"/>
                <a:gd name="connsiteY43" fmla="*/ 5633 h 13597"/>
                <a:gd name="connsiteX44" fmla="*/ 9673 w 10174"/>
                <a:gd name="connsiteY44" fmla="*/ 5406 h 13597"/>
                <a:gd name="connsiteX45" fmla="*/ 9913 w 10174"/>
                <a:gd name="connsiteY45" fmla="*/ 5134 h 13597"/>
                <a:gd name="connsiteX46" fmla="*/ 10174 w 10174"/>
                <a:gd name="connsiteY46" fmla="*/ 4742 h 13597"/>
                <a:gd name="connsiteX47" fmla="*/ 9653 w 10174"/>
                <a:gd name="connsiteY47" fmla="*/ 4560 h 13597"/>
                <a:gd name="connsiteX48" fmla="*/ 9092 w 10174"/>
                <a:gd name="connsiteY48" fmla="*/ 4424 h 13597"/>
                <a:gd name="connsiteX49" fmla="*/ 8551 w 10174"/>
                <a:gd name="connsiteY49" fmla="*/ 4304 h 13597"/>
                <a:gd name="connsiteX50" fmla="*/ 7990 w 10174"/>
                <a:gd name="connsiteY50" fmla="*/ 4198 h 13597"/>
                <a:gd name="connsiteX51" fmla="*/ 7408 w 10174"/>
                <a:gd name="connsiteY51" fmla="*/ 4107 h 13597"/>
                <a:gd name="connsiteX52" fmla="*/ 6807 w 10174"/>
                <a:gd name="connsiteY52" fmla="*/ 3986 h 13597"/>
                <a:gd name="connsiteX53" fmla="*/ 6226 w 10174"/>
                <a:gd name="connsiteY53" fmla="*/ 3835 h 13597"/>
                <a:gd name="connsiteX54" fmla="*/ 5585 w 10174"/>
                <a:gd name="connsiteY54" fmla="*/ 3654 h 13597"/>
                <a:gd name="connsiteX55" fmla="*/ 5465 w 10174"/>
                <a:gd name="connsiteY55" fmla="*/ 3594 h 13597"/>
                <a:gd name="connsiteX56" fmla="*/ 5324 w 10174"/>
                <a:gd name="connsiteY56" fmla="*/ 3533 h 13597"/>
                <a:gd name="connsiteX57" fmla="*/ 5224 w 10174"/>
                <a:gd name="connsiteY57" fmla="*/ 3458 h 13597"/>
                <a:gd name="connsiteX58" fmla="*/ 5104 w 10174"/>
                <a:gd name="connsiteY58" fmla="*/ 3352 h 13597"/>
                <a:gd name="connsiteX59" fmla="*/ 4923 w 10174"/>
                <a:gd name="connsiteY59" fmla="*/ 3140 h 13597"/>
                <a:gd name="connsiteX60" fmla="*/ 4743 w 10174"/>
                <a:gd name="connsiteY60" fmla="*/ 2899 h 13597"/>
                <a:gd name="connsiteX61" fmla="*/ 4583 w 10174"/>
                <a:gd name="connsiteY61" fmla="*/ 2672 h 13597"/>
                <a:gd name="connsiteX62" fmla="*/ 4362 w 10174"/>
                <a:gd name="connsiteY62" fmla="*/ 2476 h 13597"/>
                <a:gd name="connsiteX63" fmla="*/ 4262 w 10174"/>
                <a:gd name="connsiteY63" fmla="*/ 2385 h 13597"/>
                <a:gd name="connsiteX64" fmla="*/ 4122 w 10174"/>
                <a:gd name="connsiteY64" fmla="*/ 2355 h 13597"/>
                <a:gd name="connsiteX65" fmla="*/ 3962 w 10174"/>
                <a:gd name="connsiteY65" fmla="*/ 2310 h 13597"/>
                <a:gd name="connsiteX66" fmla="*/ 3801 w 10174"/>
                <a:gd name="connsiteY66" fmla="*/ 2295 h 13597"/>
                <a:gd name="connsiteX67" fmla="*/ 3481 w 10174"/>
                <a:gd name="connsiteY67" fmla="*/ 2295 h 13597"/>
                <a:gd name="connsiteX68" fmla="*/ 3240 w 10174"/>
                <a:gd name="connsiteY68" fmla="*/ 2295 h 13597"/>
                <a:gd name="connsiteX69" fmla="*/ 3060 w 10174"/>
                <a:gd name="connsiteY69" fmla="*/ 2295 h 13597"/>
                <a:gd name="connsiteX70" fmla="*/ 2940 w 10174"/>
                <a:gd name="connsiteY70" fmla="*/ 2295 h 13597"/>
                <a:gd name="connsiteX71" fmla="*/ 2759 w 10174"/>
                <a:gd name="connsiteY71" fmla="*/ 2264 h 13597"/>
                <a:gd name="connsiteX72" fmla="*/ 2599 w 10174"/>
                <a:gd name="connsiteY72" fmla="*/ 2234 h 13597"/>
                <a:gd name="connsiteX73" fmla="*/ 2459 w 10174"/>
                <a:gd name="connsiteY73" fmla="*/ 2174 h 13597"/>
                <a:gd name="connsiteX74" fmla="*/ 2378 w 10174"/>
                <a:gd name="connsiteY74" fmla="*/ 2068 h 13597"/>
                <a:gd name="connsiteX75" fmla="*/ 2198 w 10174"/>
                <a:gd name="connsiteY75" fmla="*/ 1872 h 13597"/>
                <a:gd name="connsiteX76" fmla="*/ 1978 w 10174"/>
                <a:gd name="connsiteY76" fmla="*/ 1645 h 13597"/>
                <a:gd name="connsiteX77" fmla="*/ 1399 w 10174"/>
                <a:gd name="connsiteY77" fmla="*/ 667 h 13597"/>
                <a:gd name="connsiteX78" fmla="*/ 4 w 10174"/>
                <a:gd name="connsiteY78" fmla="*/ 74 h 13597"/>
                <a:gd name="connsiteX79" fmla="*/ 281 w 10174"/>
                <a:gd name="connsiteY79" fmla="*/ 796 h 13597"/>
                <a:gd name="connsiteX80" fmla="*/ 1537 w 10174"/>
                <a:gd name="connsiteY80" fmla="*/ 2143 h 13597"/>
                <a:gd name="connsiteX81" fmla="*/ 1396 w 10174"/>
                <a:gd name="connsiteY81" fmla="*/ 2415 h 13597"/>
                <a:gd name="connsiteX82" fmla="*/ 1256 w 10174"/>
                <a:gd name="connsiteY82" fmla="*/ 2657 h 13597"/>
                <a:gd name="connsiteX83" fmla="*/ 1136 w 10174"/>
                <a:gd name="connsiteY83" fmla="*/ 2778 h 13597"/>
                <a:gd name="connsiteX84" fmla="*/ 996 w 10174"/>
                <a:gd name="connsiteY84" fmla="*/ 2899 h 13597"/>
                <a:gd name="connsiteX85" fmla="*/ 815 w 10174"/>
                <a:gd name="connsiteY85" fmla="*/ 2974 h 13597"/>
                <a:gd name="connsiteX86" fmla="*/ 615 w 10174"/>
                <a:gd name="connsiteY86" fmla="*/ 3080 h 13597"/>
                <a:gd name="connsiteX87" fmla="*/ 455 w 10174"/>
                <a:gd name="connsiteY87" fmla="*/ 3171 h 13597"/>
                <a:gd name="connsiteX88" fmla="*/ 294 w 10174"/>
                <a:gd name="connsiteY88" fmla="*/ 3276 h 13597"/>
                <a:gd name="connsiteX89" fmla="*/ 254 w 10174"/>
                <a:gd name="connsiteY89" fmla="*/ 3337 h 13597"/>
                <a:gd name="connsiteX90" fmla="*/ 194 w 10174"/>
                <a:gd name="connsiteY90" fmla="*/ 3412 h 13597"/>
                <a:gd name="connsiteX91" fmla="*/ 174 w 10174"/>
                <a:gd name="connsiteY91" fmla="*/ 3473 h 13597"/>
                <a:gd name="connsiteX92" fmla="*/ 174 w 10174"/>
                <a:gd name="connsiteY92" fmla="*/ 3563 h 13597"/>
                <a:gd name="connsiteX93" fmla="*/ 194 w 10174"/>
                <a:gd name="connsiteY93" fmla="*/ 3714 h 13597"/>
                <a:gd name="connsiteX94" fmla="*/ 214 w 10174"/>
                <a:gd name="connsiteY94" fmla="*/ 3866 h 13597"/>
                <a:gd name="connsiteX95" fmla="*/ 274 w 10174"/>
                <a:gd name="connsiteY95" fmla="*/ 3956 h 13597"/>
                <a:gd name="connsiteX96" fmla="*/ 334 w 10174"/>
                <a:gd name="connsiteY96" fmla="*/ 4047 h 13597"/>
                <a:gd name="connsiteX97" fmla="*/ 414 w 10174"/>
                <a:gd name="connsiteY97" fmla="*/ 4122 h 13597"/>
                <a:gd name="connsiteX98" fmla="*/ 495 w 10174"/>
                <a:gd name="connsiteY98" fmla="*/ 4183 h 13597"/>
                <a:gd name="connsiteX99" fmla="*/ 595 w 10174"/>
                <a:gd name="connsiteY99" fmla="*/ 4228 h 13597"/>
                <a:gd name="connsiteX100" fmla="*/ 695 w 10174"/>
                <a:gd name="connsiteY100" fmla="*/ 4258 h 13597"/>
                <a:gd name="connsiteX101" fmla="*/ 915 w 10174"/>
                <a:gd name="connsiteY101" fmla="*/ 4319 h 13597"/>
                <a:gd name="connsiteX102" fmla="*/ 1136 w 10174"/>
                <a:gd name="connsiteY102" fmla="*/ 4379 h 13597"/>
                <a:gd name="connsiteX103" fmla="*/ 1236 w 10174"/>
                <a:gd name="connsiteY103" fmla="*/ 4409 h 13597"/>
                <a:gd name="connsiteX104" fmla="*/ 1336 w 10174"/>
                <a:gd name="connsiteY104" fmla="*/ 4440 h 13597"/>
                <a:gd name="connsiteX105" fmla="*/ 1416 w 10174"/>
                <a:gd name="connsiteY105" fmla="*/ 4500 h 13597"/>
                <a:gd name="connsiteX106" fmla="*/ 1497 w 10174"/>
                <a:gd name="connsiteY106" fmla="*/ 4560 h 13597"/>
                <a:gd name="connsiteX107" fmla="*/ 1577 w 10174"/>
                <a:gd name="connsiteY107" fmla="*/ 4681 h 13597"/>
                <a:gd name="connsiteX108" fmla="*/ 1637 w 10174"/>
                <a:gd name="connsiteY108" fmla="*/ 4802 h 13597"/>
                <a:gd name="connsiteX109" fmla="*/ 1697 w 10174"/>
                <a:gd name="connsiteY109" fmla="*/ 4908 h 13597"/>
                <a:gd name="connsiteX110" fmla="*/ 1717 w 10174"/>
                <a:gd name="connsiteY110" fmla="*/ 5029 h 13597"/>
                <a:gd name="connsiteX111" fmla="*/ 1737 w 10174"/>
                <a:gd name="connsiteY111" fmla="*/ 5225 h 13597"/>
                <a:gd name="connsiteX112" fmla="*/ 1737 w 10174"/>
                <a:gd name="connsiteY112" fmla="*/ 5437 h 13597"/>
                <a:gd name="connsiteX113" fmla="*/ 1777 w 10174"/>
                <a:gd name="connsiteY113" fmla="*/ 5633 h 13597"/>
                <a:gd name="connsiteX114" fmla="*/ 1817 w 10174"/>
                <a:gd name="connsiteY114" fmla="*/ 5814 h 13597"/>
                <a:gd name="connsiteX115" fmla="*/ 1857 w 10174"/>
                <a:gd name="connsiteY115" fmla="*/ 5890 h 13597"/>
                <a:gd name="connsiteX116" fmla="*/ 1938 w 10174"/>
                <a:gd name="connsiteY116" fmla="*/ 5980 h 13597"/>
                <a:gd name="connsiteX117" fmla="*/ 2018 w 10174"/>
                <a:gd name="connsiteY117" fmla="*/ 6041 h 13597"/>
                <a:gd name="connsiteX118" fmla="*/ 2098 w 10174"/>
                <a:gd name="connsiteY118" fmla="*/ 6116 h 13597"/>
                <a:gd name="connsiteX119" fmla="*/ 2338 w 10174"/>
                <a:gd name="connsiteY119" fmla="*/ 6192 h 13597"/>
                <a:gd name="connsiteX120" fmla="*/ 2619 w 10174"/>
                <a:gd name="connsiteY120" fmla="*/ 6282 h 13597"/>
                <a:gd name="connsiteX121" fmla="*/ 2980 w 10174"/>
                <a:gd name="connsiteY121" fmla="*/ 6343 h 13597"/>
                <a:gd name="connsiteX122" fmla="*/ 3320 w 10174"/>
                <a:gd name="connsiteY122" fmla="*/ 6403 h 13597"/>
                <a:gd name="connsiteX123" fmla="*/ 3641 w 10174"/>
                <a:gd name="connsiteY123" fmla="*/ 6479 h 13597"/>
                <a:gd name="connsiteX124" fmla="*/ 3901 w 10174"/>
                <a:gd name="connsiteY124" fmla="*/ 6585 h 13597"/>
                <a:gd name="connsiteX125" fmla="*/ 4022 w 10174"/>
                <a:gd name="connsiteY125" fmla="*/ 6615 h 13597"/>
                <a:gd name="connsiteX126" fmla="*/ 4102 w 10174"/>
                <a:gd name="connsiteY126" fmla="*/ 6675 h 13597"/>
                <a:gd name="connsiteX127" fmla="*/ 4142 w 10174"/>
                <a:gd name="connsiteY127" fmla="*/ 6766 h 13597"/>
                <a:gd name="connsiteX128" fmla="*/ 4142 w 10174"/>
                <a:gd name="connsiteY128" fmla="*/ 6841 h 13597"/>
                <a:gd name="connsiteX129" fmla="*/ 4142 w 10174"/>
                <a:gd name="connsiteY129" fmla="*/ 7083 h 13597"/>
                <a:gd name="connsiteX130" fmla="*/ 4142 w 10174"/>
                <a:gd name="connsiteY130" fmla="*/ 7370 h 13597"/>
                <a:gd name="connsiteX131" fmla="*/ 4142 w 10174"/>
                <a:gd name="connsiteY131" fmla="*/ 7642 h 13597"/>
                <a:gd name="connsiteX132" fmla="*/ 4142 w 10174"/>
                <a:gd name="connsiteY132" fmla="*/ 7853 h 13597"/>
                <a:gd name="connsiteX133" fmla="*/ 4122 w 10174"/>
                <a:gd name="connsiteY133" fmla="*/ 8156 h 13597"/>
                <a:gd name="connsiteX134" fmla="*/ 4062 w 10174"/>
                <a:gd name="connsiteY134" fmla="*/ 8427 h 13597"/>
                <a:gd name="connsiteX135" fmla="*/ 4062 w 10174"/>
                <a:gd name="connsiteY135" fmla="*/ 8563 h 13597"/>
                <a:gd name="connsiteX136" fmla="*/ 4102 w 10174"/>
                <a:gd name="connsiteY136" fmla="*/ 8714 h 13597"/>
                <a:gd name="connsiteX137" fmla="*/ 4182 w 10174"/>
                <a:gd name="connsiteY137" fmla="*/ 8850 h 13597"/>
                <a:gd name="connsiteX138" fmla="*/ 4282 w 10174"/>
                <a:gd name="connsiteY138" fmla="*/ 9017 h 13597"/>
                <a:gd name="connsiteX139" fmla="*/ 4342 w 10174"/>
                <a:gd name="connsiteY139" fmla="*/ 9092 h 13597"/>
                <a:gd name="connsiteX140" fmla="*/ 4382 w 10174"/>
                <a:gd name="connsiteY140" fmla="*/ 9153 h 13597"/>
                <a:gd name="connsiteX141" fmla="*/ 4443 w 10174"/>
                <a:gd name="connsiteY141" fmla="*/ 9213 h 13597"/>
                <a:gd name="connsiteX142" fmla="*/ 4523 w 10174"/>
                <a:gd name="connsiteY142" fmla="*/ 9258 h 13597"/>
                <a:gd name="connsiteX143" fmla="*/ 4703 w 10174"/>
                <a:gd name="connsiteY143" fmla="*/ 9289 h 13597"/>
                <a:gd name="connsiteX144" fmla="*/ 4863 w 10174"/>
                <a:gd name="connsiteY144" fmla="*/ 9334 h 13597"/>
                <a:gd name="connsiteX145" fmla="*/ 5064 w 10174"/>
                <a:gd name="connsiteY145" fmla="*/ 9379 h 13597"/>
                <a:gd name="connsiteX146" fmla="*/ 5224 w 10174"/>
                <a:gd name="connsiteY146" fmla="*/ 9440 h 13597"/>
                <a:gd name="connsiteX147" fmla="*/ 5304 w 10174"/>
                <a:gd name="connsiteY147" fmla="*/ 9470 h 13597"/>
                <a:gd name="connsiteX148" fmla="*/ 5384 w 10174"/>
                <a:gd name="connsiteY148" fmla="*/ 9515 h 13597"/>
                <a:gd name="connsiteX149" fmla="*/ 5425 w 10174"/>
                <a:gd name="connsiteY149" fmla="*/ 9576 h 13597"/>
                <a:gd name="connsiteX150" fmla="*/ 5485 w 10174"/>
                <a:gd name="connsiteY150" fmla="*/ 9651 h 13597"/>
                <a:gd name="connsiteX151" fmla="*/ 5885 w 10174"/>
                <a:gd name="connsiteY151" fmla="*/ 10285 h 13597"/>
                <a:gd name="connsiteX152" fmla="*/ 6326 w 10174"/>
                <a:gd name="connsiteY152" fmla="*/ 10920 h 13597"/>
                <a:gd name="connsiteX153" fmla="*/ 6397 w 10174"/>
                <a:gd name="connsiteY153" fmla="*/ 12317 h 13597"/>
                <a:gd name="connsiteX154" fmla="*/ 7522 w 10174"/>
                <a:gd name="connsiteY154" fmla="*/ 13597 h 13597"/>
                <a:gd name="connsiteX0" fmla="*/ 7522 w 10174"/>
                <a:gd name="connsiteY0" fmla="*/ 13592 h 13592"/>
                <a:gd name="connsiteX1" fmla="*/ 7286 w 10174"/>
                <a:gd name="connsiteY1" fmla="*/ 12352 h 13592"/>
                <a:gd name="connsiteX2" fmla="*/ 7285 w 10174"/>
                <a:gd name="connsiteY2" fmla="*/ 12148 h 13592"/>
                <a:gd name="connsiteX3" fmla="*/ 7434 w 10174"/>
                <a:gd name="connsiteY3" fmla="*/ 11648 h 13592"/>
                <a:gd name="connsiteX4" fmla="*/ 7387 w 10174"/>
                <a:gd name="connsiteY4" fmla="*/ 11558 h 13592"/>
                <a:gd name="connsiteX5" fmla="*/ 7514 w 10174"/>
                <a:gd name="connsiteY5" fmla="*/ 11136 h 13592"/>
                <a:gd name="connsiteX6" fmla="*/ 7822 w 10174"/>
                <a:gd name="connsiteY6" fmla="*/ 10991 h 13592"/>
                <a:gd name="connsiteX7" fmla="*/ 7408 w 10174"/>
                <a:gd name="connsiteY7" fmla="*/ 10492 h 13592"/>
                <a:gd name="connsiteX8" fmla="*/ 7609 w 10174"/>
                <a:gd name="connsiteY8" fmla="*/ 10311 h 13592"/>
                <a:gd name="connsiteX9" fmla="*/ 7829 w 10174"/>
                <a:gd name="connsiteY9" fmla="*/ 10160 h 13592"/>
                <a:gd name="connsiteX10" fmla="*/ 8070 w 10174"/>
                <a:gd name="connsiteY10" fmla="*/ 9993 h 13592"/>
                <a:gd name="connsiteX11" fmla="*/ 8310 w 10174"/>
                <a:gd name="connsiteY11" fmla="*/ 9827 h 13592"/>
                <a:gd name="connsiteX12" fmla="*/ 8531 w 10174"/>
                <a:gd name="connsiteY12" fmla="*/ 9676 h 13592"/>
                <a:gd name="connsiteX13" fmla="*/ 8731 w 10174"/>
                <a:gd name="connsiteY13" fmla="*/ 9495 h 13592"/>
                <a:gd name="connsiteX14" fmla="*/ 8952 w 10174"/>
                <a:gd name="connsiteY14" fmla="*/ 9329 h 13592"/>
                <a:gd name="connsiteX15" fmla="*/ 9112 w 10174"/>
                <a:gd name="connsiteY15" fmla="*/ 9132 h 13592"/>
                <a:gd name="connsiteX16" fmla="*/ 9212 w 10174"/>
                <a:gd name="connsiteY16" fmla="*/ 8921 h 13592"/>
                <a:gd name="connsiteX17" fmla="*/ 9272 w 10174"/>
                <a:gd name="connsiteY17" fmla="*/ 8830 h 13592"/>
                <a:gd name="connsiteX18" fmla="*/ 9292 w 10174"/>
                <a:gd name="connsiteY18" fmla="*/ 8709 h 13592"/>
                <a:gd name="connsiteX19" fmla="*/ 9332 w 10174"/>
                <a:gd name="connsiteY19" fmla="*/ 8589 h 13592"/>
                <a:gd name="connsiteX20" fmla="*/ 9332 w 10174"/>
                <a:gd name="connsiteY20" fmla="*/ 8468 h 13592"/>
                <a:gd name="connsiteX21" fmla="*/ 9212 w 10174"/>
                <a:gd name="connsiteY21" fmla="*/ 8166 h 13592"/>
                <a:gd name="connsiteX22" fmla="*/ 9092 w 10174"/>
                <a:gd name="connsiteY22" fmla="*/ 7924 h 13592"/>
                <a:gd name="connsiteX23" fmla="*/ 9132 w 10174"/>
                <a:gd name="connsiteY23" fmla="*/ 7864 h 13592"/>
                <a:gd name="connsiteX24" fmla="*/ 9212 w 10174"/>
                <a:gd name="connsiteY24" fmla="*/ 7788 h 13592"/>
                <a:gd name="connsiteX25" fmla="*/ 9332 w 10174"/>
                <a:gd name="connsiteY25" fmla="*/ 7697 h 13592"/>
                <a:gd name="connsiteX26" fmla="*/ 9493 w 10174"/>
                <a:gd name="connsiteY26" fmla="*/ 7622 h 13592"/>
                <a:gd name="connsiteX27" fmla="*/ 9613 w 10174"/>
                <a:gd name="connsiteY27" fmla="*/ 7546 h 13592"/>
                <a:gd name="connsiteX28" fmla="*/ 9753 w 10174"/>
                <a:gd name="connsiteY28" fmla="*/ 7441 h 13592"/>
                <a:gd name="connsiteX29" fmla="*/ 9853 w 10174"/>
                <a:gd name="connsiteY29" fmla="*/ 7320 h 13592"/>
                <a:gd name="connsiteX30" fmla="*/ 9934 w 10174"/>
                <a:gd name="connsiteY30" fmla="*/ 7199 h 13592"/>
                <a:gd name="connsiteX31" fmla="*/ 9753 w 10174"/>
                <a:gd name="connsiteY31" fmla="*/ 7123 h 13592"/>
                <a:gd name="connsiteX32" fmla="*/ 9493 w 10174"/>
                <a:gd name="connsiteY32" fmla="*/ 6912 h 13592"/>
                <a:gd name="connsiteX33" fmla="*/ 9212 w 10174"/>
                <a:gd name="connsiteY33" fmla="*/ 6731 h 13592"/>
                <a:gd name="connsiteX34" fmla="*/ 9092 w 10174"/>
                <a:gd name="connsiteY34" fmla="*/ 6655 h 13592"/>
                <a:gd name="connsiteX35" fmla="*/ 9112 w 10174"/>
                <a:gd name="connsiteY35" fmla="*/ 6549 h 13592"/>
                <a:gd name="connsiteX36" fmla="*/ 9132 w 10174"/>
                <a:gd name="connsiteY36" fmla="*/ 6489 h 13592"/>
                <a:gd name="connsiteX37" fmla="*/ 9192 w 10174"/>
                <a:gd name="connsiteY37" fmla="*/ 6429 h 13592"/>
                <a:gd name="connsiteX38" fmla="*/ 9252 w 10174"/>
                <a:gd name="connsiteY38" fmla="*/ 6398 h 13592"/>
                <a:gd name="connsiteX39" fmla="*/ 9412 w 10174"/>
                <a:gd name="connsiteY39" fmla="*/ 6308 h 13592"/>
                <a:gd name="connsiteX40" fmla="*/ 9593 w 10174"/>
                <a:gd name="connsiteY40" fmla="*/ 6187 h 13592"/>
                <a:gd name="connsiteX41" fmla="*/ 9513 w 10174"/>
                <a:gd name="connsiteY41" fmla="*/ 5975 h 13592"/>
                <a:gd name="connsiteX42" fmla="*/ 9453 w 10174"/>
                <a:gd name="connsiteY42" fmla="*/ 5749 h 13592"/>
                <a:gd name="connsiteX43" fmla="*/ 9513 w 10174"/>
                <a:gd name="connsiteY43" fmla="*/ 5628 h 13592"/>
                <a:gd name="connsiteX44" fmla="*/ 9673 w 10174"/>
                <a:gd name="connsiteY44" fmla="*/ 5401 h 13592"/>
                <a:gd name="connsiteX45" fmla="*/ 9913 w 10174"/>
                <a:gd name="connsiteY45" fmla="*/ 5129 h 13592"/>
                <a:gd name="connsiteX46" fmla="*/ 10174 w 10174"/>
                <a:gd name="connsiteY46" fmla="*/ 4737 h 13592"/>
                <a:gd name="connsiteX47" fmla="*/ 9653 w 10174"/>
                <a:gd name="connsiteY47" fmla="*/ 4555 h 13592"/>
                <a:gd name="connsiteX48" fmla="*/ 9092 w 10174"/>
                <a:gd name="connsiteY48" fmla="*/ 4419 h 13592"/>
                <a:gd name="connsiteX49" fmla="*/ 8551 w 10174"/>
                <a:gd name="connsiteY49" fmla="*/ 4299 h 13592"/>
                <a:gd name="connsiteX50" fmla="*/ 7990 w 10174"/>
                <a:gd name="connsiteY50" fmla="*/ 4193 h 13592"/>
                <a:gd name="connsiteX51" fmla="*/ 7408 w 10174"/>
                <a:gd name="connsiteY51" fmla="*/ 4102 h 13592"/>
                <a:gd name="connsiteX52" fmla="*/ 6807 w 10174"/>
                <a:gd name="connsiteY52" fmla="*/ 3981 h 13592"/>
                <a:gd name="connsiteX53" fmla="*/ 6226 w 10174"/>
                <a:gd name="connsiteY53" fmla="*/ 3830 h 13592"/>
                <a:gd name="connsiteX54" fmla="*/ 5585 w 10174"/>
                <a:gd name="connsiteY54" fmla="*/ 3649 h 13592"/>
                <a:gd name="connsiteX55" fmla="*/ 5465 w 10174"/>
                <a:gd name="connsiteY55" fmla="*/ 3589 h 13592"/>
                <a:gd name="connsiteX56" fmla="*/ 5324 w 10174"/>
                <a:gd name="connsiteY56" fmla="*/ 3528 h 13592"/>
                <a:gd name="connsiteX57" fmla="*/ 5224 w 10174"/>
                <a:gd name="connsiteY57" fmla="*/ 3453 h 13592"/>
                <a:gd name="connsiteX58" fmla="*/ 5104 w 10174"/>
                <a:gd name="connsiteY58" fmla="*/ 3347 h 13592"/>
                <a:gd name="connsiteX59" fmla="*/ 4923 w 10174"/>
                <a:gd name="connsiteY59" fmla="*/ 3135 h 13592"/>
                <a:gd name="connsiteX60" fmla="*/ 4743 w 10174"/>
                <a:gd name="connsiteY60" fmla="*/ 2894 h 13592"/>
                <a:gd name="connsiteX61" fmla="*/ 4583 w 10174"/>
                <a:gd name="connsiteY61" fmla="*/ 2667 h 13592"/>
                <a:gd name="connsiteX62" fmla="*/ 4362 w 10174"/>
                <a:gd name="connsiteY62" fmla="*/ 2471 h 13592"/>
                <a:gd name="connsiteX63" fmla="*/ 4262 w 10174"/>
                <a:gd name="connsiteY63" fmla="*/ 2380 h 13592"/>
                <a:gd name="connsiteX64" fmla="*/ 4122 w 10174"/>
                <a:gd name="connsiteY64" fmla="*/ 2350 h 13592"/>
                <a:gd name="connsiteX65" fmla="*/ 3962 w 10174"/>
                <a:gd name="connsiteY65" fmla="*/ 2305 h 13592"/>
                <a:gd name="connsiteX66" fmla="*/ 3801 w 10174"/>
                <a:gd name="connsiteY66" fmla="*/ 2290 h 13592"/>
                <a:gd name="connsiteX67" fmla="*/ 3481 w 10174"/>
                <a:gd name="connsiteY67" fmla="*/ 2290 h 13592"/>
                <a:gd name="connsiteX68" fmla="*/ 3240 w 10174"/>
                <a:gd name="connsiteY68" fmla="*/ 2290 h 13592"/>
                <a:gd name="connsiteX69" fmla="*/ 3060 w 10174"/>
                <a:gd name="connsiteY69" fmla="*/ 2290 h 13592"/>
                <a:gd name="connsiteX70" fmla="*/ 2940 w 10174"/>
                <a:gd name="connsiteY70" fmla="*/ 2290 h 13592"/>
                <a:gd name="connsiteX71" fmla="*/ 2759 w 10174"/>
                <a:gd name="connsiteY71" fmla="*/ 2259 h 13592"/>
                <a:gd name="connsiteX72" fmla="*/ 2599 w 10174"/>
                <a:gd name="connsiteY72" fmla="*/ 2229 h 13592"/>
                <a:gd name="connsiteX73" fmla="*/ 2459 w 10174"/>
                <a:gd name="connsiteY73" fmla="*/ 2169 h 13592"/>
                <a:gd name="connsiteX74" fmla="*/ 2378 w 10174"/>
                <a:gd name="connsiteY74" fmla="*/ 2063 h 13592"/>
                <a:gd name="connsiteX75" fmla="*/ 2198 w 10174"/>
                <a:gd name="connsiteY75" fmla="*/ 1867 h 13592"/>
                <a:gd name="connsiteX76" fmla="*/ 1978 w 10174"/>
                <a:gd name="connsiteY76" fmla="*/ 1640 h 13592"/>
                <a:gd name="connsiteX77" fmla="*/ 1406 w 10174"/>
                <a:gd name="connsiteY77" fmla="*/ 801 h 13592"/>
                <a:gd name="connsiteX78" fmla="*/ 4 w 10174"/>
                <a:gd name="connsiteY78" fmla="*/ 69 h 13592"/>
                <a:gd name="connsiteX79" fmla="*/ 281 w 10174"/>
                <a:gd name="connsiteY79" fmla="*/ 791 h 13592"/>
                <a:gd name="connsiteX80" fmla="*/ 1537 w 10174"/>
                <a:gd name="connsiteY80" fmla="*/ 2138 h 13592"/>
                <a:gd name="connsiteX81" fmla="*/ 1396 w 10174"/>
                <a:gd name="connsiteY81" fmla="*/ 2410 h 13592"/>
                <a:gd name="connsiteX82" fmla="*/ 1256 w 10174"/>
                <a:gd name="connsiteY82" fmla="*/ 2652 h 13592"/>
                <a:gd name="connsiteX83" fmla="*/ 1136 w 10174"/>
                <a:gd name="connsiteY83" fmla="*/ 2773 h 13592"/>
                <a:gd name="connsiteX84" fmla="*/ 996 w 10174"/>
                <a:gd name="connsiteY84" fmla="*/ 2894 h 13592"/>
                <a:gd name="connsiteX85" fmla="*/ 815 w 10174"/>
                <a:gd name="connsiteY85" fmla="*/ 2969 h 13592"/>
                <a:gd name="connsiteX86" fmla="*/ 615 w 10174"/>
                <a:gd name="connsiteY86" fmla="*/ 3075 h 13592"/>
                <a:gd name="connsiteX87" fmla="*/ 455 w 10174"/>
                <a:gd name="connsiteY87" fmla="*/ 3166 h 13592"/>
                <a:gd name="connsiteX88" fmla="*/ 294 w 10174"/>
                <a:gd name="connsiteY88" fmla="*/ 3271 h 13592"/>
                <a:gd name="connsiteX89" fmla="*/ 254 w 10174"/>
                <a:gd name="connsiteY89" fmla="*/ 3332 h 13592"/>
                <a:gd name="connsiteX90" fmla="*/ 194 w 10174"/>
                <a:gd name="connsiteY90" fmla="*/ 3407 h 13592"/>
                <a:gd name="connsiteX91" fmla="*/ 174 w 10174"/>
                <a:gd name="connsiteY91" fmla="*/ 3468 h 13592"/>
                <a:gd name="connsiteX92" fmla="*/ 174 w 10174"/>
                <a:gd name="connsiteY92" fmla="*/ 3558 h 13592"/>
                <a:gd name="connsiteX93" fmla="*/ 194 w 10174"/>
                <a:gd name="connsiteY93" fmla="*/ 3709 h 13592"/>
                <a:gd name="connsiteX94" fmla="*/ 214 w 10174"/>
                <a:gd name="connsiteY94" fmla="*/ 3861 h 13592"/>
                <a:gd name="connsiteX95" fmla="*/ 274 w 10174"/>
                <a:gd name="connsiteY95" fmla="*/ 3951 h 13592"/>
                <a:gd name="connsiteX96" fmla="*/ 334 w 10174"/>
                <a:gd name="connsiteY96" fmla="*/ 4042 h 13592"/>
                <a:gd name="connsiteX97" fmla="*/ 414 w 10174"/>
                <a:gd name="connsiteY97" fmla="*/ 4117 h 13592"/>
                <a:gd name="connsiteX98" fmla="*/ 495 w 10174"/>
                <a:gd name="connsiteY98" fmla="*/ 4178 h 13592"/>
                <a:gd name="connsiteX99" fmla="*/ 595 w 10174"/>
                <a:gd name="connsiteY99" fmla="*/ 4223 h 13592"/>
                <a:gd name="connsiteX100" fmla="*/ 695 w 10174"/>
                <a:gd name="connsiteY100" fmla="*/ 4253 h 13592"/>
                <a:gd name="connsiteX101" fmla="*/ 915 w 10174"/>
                <a:gd name="connsiteY101" fmla="*/ 4314 h 13592"/>
                <a:gd name="connsiteX102" fmla="*/ 1136 w 10174"/>
                <a:gd name="connsiteY102" fmla="*/ 4374 h 13592"/>
                <a:gd name="connsiteX103" fmla="*/ 1236 w 10174"/>
                <a:gd name="connsiteY103" fmla="*/ 4404 h 13592"/>
                <a:gd name="connsiteX104" fmla="*/ 1336 w 10174"/>
                <a:gd name="connsiteY104" fmla="*/ 4435 h 13592"/>
                <a:gd name="connsiteX105" fmla="*/ 1416 w 10174"/>
                <a:gd name="connsiteY105" fmla="*/ 4495 h 13592"/>
                <a:gd name="connsiteX106" fmla="*/ 1497 w 10174"/>
                <a:gd name="connsiteY106" fmla="*/ 4555 h 13592"/>
                <a:gd name="connsiteX107" fmla="*/ 1577 w 10174"/>
                <a:gd name="connsiteY107" fmla="*/ 4676 h 13592"/>
                <a:gd name="connsiteX108" fmla="*/ 1637 w 10174"/>
                <a:gd name="connsiteY108" fmla="*/ 4797 h 13592"/>
                <a:gd name="connsiteX109" fmla="*/ 1697 w 10174"/>
                <a:gd name="connsiteY109" fmla="*/ 4903 h 13592"/>
                <a:gd name="connsiteX110" fmla="*/ 1717 w 10174"/>
                <a:gd name="connsiteY110" fmla="*/ 5024 h 13592"/>
                <a:gd name="connsiteX111" fmla="*/ 1737 w 10174"/>
                <a:gd name="connsiteY111" fmla="*/ 5220 h 13592"/>
                <a:gd name="connsiteX112" fmla="*/ 1737 w 10174"/>
                <a:gd name="connsiteY112" fmla="*/ 5432 h 13592"/>
                <a:gd name="connsiteX113" fmla="*/ 1777 w 10174"/>
                <a:gd name="connsiteY113" fmla="*/ 5628 h 13592"/>
                <a:gd name="connsiteX114" fmla="*/ 1817 w 10174"/>
                <a:gd name="connsiteY114" fmla="*/ 5809 h 13592"/>
                <a:gd name="connsiteX115" fmla="*/ 1857 w 10174"/>
                <a:gd name="connsiteY115" fmla="*/ 5885 h 13592"/>
                <a:gd name="connsiteX116" fmla="*/ 1938 w 10174"/>
                <a:gd name="connsiteY116" fmla="*/ 5975 h 13592"/>
                <a:gd name="connsiteX117" fmla="*/ 2018 w 10174"/>
                <a:gd name="connsiteY117" fmla="*/ 6036 h 13592"/>
                <a:gd name="connsiteX118" fmla="*/ 2098 w 10174"/>
                <a:gd name="connsiteY118" fmla="*/ 6111 h 13592"/>
                <a:gd name="connsiteX119" fmla="*/ 2338 w 10174"/>
                <a:gd name="connsiteY119" fmla="*/ 6187 h 13592"/>
                <a:gd name="connsiteX120" fmla="*/ 2619 w 10174"/>
                <a:gd name="connsiteY120" fmla="*/ 6277 h 13592"/>
                <a:gd name="connsiteX121" fmla="*/ 2980 w 10174"/>
                <a:gd name="connsiteY121" fmla="*/ 6338 h 13592"/>
                <a:gd name="connsiteX122" fmla="*/ 3320 w 10174"/>
                <a:gd name="connsiteY122" fmla="*/ 6398 h 13592"/>
                <a:gd name="connsiteX123" fmla="*/ 3641 w 10174"/>
                <a:gd name="connsiteY123" fmla="*/ 6474 h 13592"/>
                <a:gd name="connsiteX124" fmla="*/ 3901 w 10174"/>
                <a:gd name="connsiteY124" fmla="*/ 6580 h 13592"/>
                <a:gd name="connsiteX125" fmla="*/ 4022 w 10174"/>
                <a:gd name="connsiteY125" fmla="*/ 6610 h 13592"/>
                <a:gd name="connsiteX126" fmla="*/ 4102 w 10174"/>
                <a:gd name="connsiteY126" fmla="*/ 6670 h 13592"/>
                <a:gd name="connsiteX127" fmla="*/ 4142 w 10174"/>
                <a:gd name="connsiteY127" fmla="*/ 6761 h 13592"/>
                <a:gd name="connsiteX128" fmla="*/ 4142 w 10174"/>
                <a:gd name="connsiteY128" fmla="*/ 6836 h 13592"/>
                <a:gd name="connsiteX129" fmla="*/ 4142 w 10174"/>
                <a:gd name="connsiteY129" fmla="*/ 7078 h 13592"/>
                <a:gd name="connsiteX130" fmla="*/ 4142 w 10174"/>
                <a:gd name="connsiteY130" fmla="*/ 7365 h 13592"/>
                <a:gd name="connsiteX131" fmla="*/ 4142 w 10174"/>
                <a:gd name="connsiteY131" fmla="*/ 7637 h 13592"/>
                <a:gd name="connsiteX132" fmla="*/ 4142 w 10174"/>
                <a:gd name="connsiteY132" fmla="*/ 7848 h 13592"/>
                <a:gd name="connsiteX133" fmla="*/ 4122 w 10174"/>
                <a:gd name="connsiteY133" fmla="*/ 8151 h 13592"/>
                <a:gd name="connsiteX134" fmla="*/ 4062 w 10174"/>
                <a:gd name="connsiteY134" fmla="*/ 8422 h 13592"/>
                <a:gd name="connsiteX135" fmla="*/ 4062 w 10174"/>
                <a:gd name="connsiteY135" fmla="*/ 8558 h 13592"/>
                <a:gd name="connsiteX136" fmla="*/ 4102 w 10174"/>
                <a:gd name="connsiteY136" fmla="*/ 8709 h 13592"/>
                <a:gd name="connsiteX137" fmla="*/ 4182 w 10174"/>
                <a:gd name="connsiteY137" fmla="*/ 8845 h 13592"/>
                <a:gd name="connsiteX138" fmla="*/ 4282 w 10174"/>
                <a:gd name="connsiteY138" fmla="*/ 9012 h 13592"/>
                <a:gd name="connsiteX139" fmla="*/ 4342 w 10174"/>
                <a:gd name="connsiteY139" fmla="*/ 9087 h 13592"/>
                <a:gd name="connsiteX140" fmla="*/ 4382 w 10174"/>
                <a:gd name="connsiteY140" fmla="*/ 9148 h 13592"/>
                <a:gd name="connsiteX141" fmla="*/ 4443 w 10174"/>
                <a:gd name="connsiteY141" fmla="*/ 9208 h 13592"/>
                <a:gd name="connsiteX142" fmla="*/ 4523 w 10174"/>
                <a:gd name="connsiteY142" fmla="*/ 9253 h 13592"/>
                <a:gd name="connsiteX143" fmla="*/ 4703 w 10174"/>
                <a:gd name="connsiteY143" fmla="*/ 9284 h 13592"/>
                <a:gd name="connsiteX144" fmla="*/ 4863 w 10174"/>
                <a:gd name="connsiteY144" fmla="*/ 9329 h 13592"/>
                <a:gd name="connsiteX145" fmla="*/ 5064 w 10174"/>
                <a:gd name="connsiteY145" fmla="*/ 9374 h 13592"/>
                <a:gd name="connsiteX146" fmla="*/ 5224 w 10174"/>
                <a:gd name="connsiteY146" fmla="*/ 9435 h 13592"/>
                <a:gd name="connsiteX147" fmla="*/ 5304 w 10174"/>
                <a:gd name="connsiteY147" fmla="*/ 9465 h 13592"/>
                <a:gd name="connsiteX148" fmla="*/ 5384 w 10174"/>
                <a:gd name="connsiteY148" fmla="*/ 9510 h 13592"/>
                <a:gd name="connsiteX149" fmla="*/ 5425 w 10174"/>
                <a:gd name="connsiteY149" fmla="*/ 9571 h 13592"/>
                <a:gd name="connsiteX150" fmla="*/ 5485 w 10174"/>
                <a:gd name="connsiteY150" fmla="*/ 9646 h 13592"/>
                <a:gd name="connsiteX151" fmla="*/ 5885 w 10174"/>
                <a:gd name="connsiteY151" fmla="*/ 10280 h 13592"/>
                <a:gd name="connsiteX152" fmla="*/ 6326 w 10174"/>
                <a:gd name="connsiteY152" fmla="*/ 10915 h 13592"/>
                <a:gd name="connsiteX153" fmla="*/ 6397 w 10174"/>
                <a:gd name="connsiteY153" fmla="*/ 12312 h 13592"/>
                <a:gd name="connsiteX154" fmla="*/ 7522 w 10174"/>
                <a:gd name="connsiteY154" fmla="*/ 13592 h 13592"/>
                <a:gd name="connsiteX0" fmla="*/ 7520 w 10172"/>
                <a:gd name="connsiteY0" fmla="*/ 13617 h 13617"/>
                <a:gd name="connsiteX1" fmla="*/ 7284 w 10172"/>
                <a:gd name="connsiteY1" fmla="*/ 12377 h 13617"/>
                <a:gd name="connsiteX2" fmla="*/ 7283 w 10172"/>
                <a:gd name="connsiteY2" fmla="*/ 12173 h 13617"/>
                <a:gd name="connsiteX3" fmla="*/ 7432 w 10172"/>
                <a:gd name="connsiteY3" fmla="*/ 11673 h 13617"/>
                <a:gd name="connsiteX4" fmla="*/ 7385 w 10172"/>
                <a:gd name="connsiteY4" fmla="*/ 11583 h 13617"/>
                <a:gd name="connsiteX5" fmla="*/ 7512 w 10172"/>
                <a:gd name="connsiteY5" fmla="*/ 11161 h 13617"/>
                <a:gd name="connsiteX6" fmla="*/ 7820 w 10172"/>
                <a:gd name="connsiteY6" fmla="*/ 11016 h 13617"/>
                <a:gd name="connsiteX7" fmla="*/ 7406 w 10172"/>
                <a:gd name="connsiteY7" fmla="*/ 10517 h 13617"/>
                <a:gd name="connsiteX8" fmla="*/ 7607 w 10172"/>
                <a:gd name="connsiteY8" fmla="*/ 10336 h 13617"/>
                <a:gd name="connsiteX9" fmla="*/ 7827 w 10172"/>
                <a:gd name="connsiteY9" fmla="*/ 10185 h 13617"/>
                <a:gd name="connsiteX10" fmla="*/ 8068 w 10172"/>
                <a:gd name="connsiteY10" fmla="*/ 10018 h 13617"/>
                <a:gd name="connsiteX11" fmla="*/ 8308 w 10172"/>
                <a:gd name="connsiteY11" fmla="*/ 9852 h 13617"/>
                <a:gd name="connsiteX12" fmla="*/ 8529 w 10172"/>
                <a:gd name="connsiteY12" fmla="*/ 9701 h 13617"/>
                <a:gd name="connsiteX13" fmla="*/ 8729 w 10172"/>
                <a:gd name="connsiteY13" fmla="*/ 9520 h 13617"/>
                <a:gd name="connsiteX14" fmla="*/ 8950 w 10172"/>
                <a:gd name="connsiteY14" fmla="*/ 9354 h 13617"/>
                <a:gd name="connsiteX15" fmla="*/ 9110 w 10172"/>
                <a:gd name="connsiteY15" fmla="*/ 9157 h 13617"/>
                <a:gd name="connsiteX16" fmla="*/ 9210 w 10172"/>
                <a:gd name="connsiteY16" fmla="*/ 8946 h 13617"/>
                <a:gd name="connsiteX17" fmla="*/ 9270 w 10172"/>
                <a:gd name="connsiteY17" fmla="*/ 8855 h 13617"/>
                <a:gd name="connsiteX18" fmla="*/ 9290 w 10172"/>
                <a:gd name="connsiteY18" fmla="*/ 8734 h 13617"/>
                <a:gd name="connsiteX19" fmla="*/ 9330 w 10172"/>
                <a:gd name="connsiteY19" fmla="*/ 8614 h 13617"/>
                <a:gd name="connsiteX20" fmla="*/ 9330 w 10172"/>
                <a:gd name="connsiteY20" fmla="*/ 8493 h 13617"/>
                <a:gd name="connsiteX21" fmla="*/ 9210 w 10172"/>
                <a:gd name="connsiteY21" fmla="*/ 8191 h 13617"/>
                <a:gd name="connsiteX22" fmla="*/ 9090 w 10172"/>
                <a:gd name="connsiteY22" fmla="*/ 7949 h 13617"/>
                <a:gd name="connsiteX23" fmla="*/ 9130 w 10172"/>
                <a:gd name="connsiteY23" fmla="*/ 7889 h 13617"/>
                <a:gd name="connsiteX24" fmla="*/ 9210 w 10172"/>
                <a:gd name="connsiteY24" fmla="*/ 7813 h 13617"/>
                <a:gd name="connsiteX25" fmla="*/ 9330 w 10172"/>
                <a:gd name="connsiteY25" fmla="*/ 7722 h 13617"/>
                <a:gd name="connsiteX26" fmla="*/ 9491 w 10172"/>
                <a:gd name="connsiteY26" fmla="*/ 7647 h 13617"/>
                <a:gd name="connsiteX27" fmla="*/ 9611 w 10172"/>
                <a:gd name="connsiteY27" fmla="*/ 7571 h 13617"/>
                <a:gd name="connsiteX28" fmla="*/ 9751 w 10172"/>
                <a:gd name="connsiteY28" fmla="*/ 7466 h 13617"/>
                <a:gd name="connsiteX29" fmla="*/ 9851 w 10172"/>
                <a:gd name="connsiteY29" fmla="*/ 7345 h 13617"/>
                <a:gd name="connsiteX30" fmla="*/ 9932 w 10172"/>
                <a:gd name="connsiteY30" fmla="*/ 7224 h 13617"/>
                <a:gd name="connsiteX31" fmla="*/ 9751 w 10172"/>
                <a:gd name="connsiteY31" fmla="*/ 7148 h 13617"/>
                <a:gd name="connsiteX32" fmla="*/ 9491 w 10172"/>
                <a:gd name="connsiteY32" fmla="*/ 6937 h 13617"/>
                <a:gd name="connsiteX33" fmla="*/ 9210 w 10172"/>
                <a:gd name="connsiteY33" fmla="*/ 6756 h 13617"/>
                <a:gd name="connsiteX34" fmla="*/ 9090 w 10172"/>
                <a:gd name="connsiteY34" fmla="*/ 6680 h 13617"/>
                <a:gd name="connsiteX35" fmla="*/ 9110 w 10172"/>
                <a:gd name="connsiteY35" fmla="*/ 6574 h 13617"/>
                <a:gd name="connsiteX36" fmla="*/ 9130 w 10172"/>
                <a:gd name="connsiteY36" fmla="*/ 6514 h 13617"/>
                <a:gd name="connsiteX37" fmla="*/ 9190 w 10172"/>
                <a:gd name="connsiteY37" fmla="*/ 6454 h 13617"/>
                <a:gd name="connsiteX38" fmla="*/ 9250 w 10172"/>
                <a:gd name="connsiteY38" fmla="*/ 6423 h 13617"/>
                <a:gd name="connsiteX39" fmla="*/ 9410 w 10172"/>
                <a:gd name="connsiteY39" fmla="*/ 6333 h 13617"/>
                <a:gd name="connsiteX40" fmla="*/ 9591 w 10172"/>
                <a:gd name="connsiteY40" fmla="*/ 6212 h 13617"/>
                <a:gd name="connsiteX41" fmla="*/ 9511 w 10172"/>
                <a:gd name="connsiteY41" fmla="*/ 6000 h 13617"/>
                <a:gd name="connsiteX42" fmla="*/ 9451 w 10172"/>
                <a:gd name="connsiteY42" fmla="*/ 5774 h 13617"/>
                <a:gd name="connsiteX43" fmla="*/ 9511 w 10172"/>
                <a:gd name="connsiteY43" fmla="*/ 5653 h 13617"/>
                <a:gd name="connsiteX44" fmla="*/ 9671 w 10172"/>
                <a:gd name="connsiteY44" fmla="*/ 5426 h 13617"/>
                <a:gd name="connsiteX45" fmla="*/ 9911 w 10172"/>
                <a:gd name="connsiteY45" fmla="*/ 5154 h 13617"/>
                <a:gd name="connsiteX46" fmla="*/ 10172 w 10172"/>
                <a:gd name="connsiteY46" fmla="*/ 4762 h 13617"/>
                <a:gd name="connsiteX47" fmla="*/ 9651 w 10172"/>
                <a:gd name="connsiteY47" fmla="*/ 4580 h 13617"/>
                <a:gd name="connsiteX48" fmla="*/ 9090 w 10172"/>
                <a:gd name="connsiteY48" fmla="*/ 4444 h 13617"/>
                <a:gd name="connsiteX49" fmla="*/ 8549 w 10172"/>
                <a:gd name="connsiteY49" fmla="*/ 4324 h 13617"/>
                <a:gd name="connsiteX50" fmla="*/ 7988 w 10172"/>
                <a:gd name="connsiteY50" fmla="*/ 4218 h 13617"/>
                <a:gd name="connsiteX51" fmla="*/ 7406 w 10172"/>
                <a:gd name="connsiteY51" fmla="*/ 4127 h 13617"/>
                <a:gd name="connsiteX52" fmla="*/ 6805 w 10172"/>
                <a:gd name="connsiteY52" fmla="*/ 4006 h 13617"/>
                <a:gd name="connsiteX53" fmla="*/ 6224 w 10172"/>
                <a:gd name="connsiteY53" fmla="*/ 3855 h 13617"/>
                <a:gd name="connsiteX54" fmla="*/ 5583 w 10172"/>
                <a:gd name="connsiteY54" fmla="*/ 3674 h 13617"/>
                <a:gd name="connsiteX55" fmla="*/ 5463 w 10172"/>
                <a:gd name="connsiteY55" fmla="*/ 3614 h 13617"/>
                <a:gd name="connsiteX56" fmla="*/ 5322 w 10172"/>
                <a:gd name="connsiteY56" fmla="*/ 3553 h 13617"/>
                <a:gd name="connsiteX57" fmla="*/ 5222 w 10172"/>
                <a:gd name="connsiteY57" fmla="*/ 3478 h 13617"/>
                <a:gd name="connsiteX58" fmla="*/ 5102 w 10172"/>
                <a:gd name="connsiteY58" fmla="*/ 3372 h 13617"/>
                <a:gd name="connsiteX59" fmla="*/ 4921 w 10172"/>
                <a:gd name="connsiteY59" fmla="*/ 3160 h 13617"/>
                <a:gd name="connsiteX60" fmla="*/ 4741 w 10172"/>
                <a:gd name="connsiteY60" fmla="*/ 2919 h 13617"/>
                <a:gd name="connsiteX61" fmla="*/ 4581 w 10172"/>
                <a:gd name="connsiteY61" fmla="*/ 2692 h 13617"/>
                <a:gd name="connsiteX62" fmla="*/ 4360 w 10172"/>
                <a:gd name="connsiteY62" fmla="*/ 2496 h 13617"/>
                <a:gd name="connsiteX63" fmla="*/ 4260 w 10172"/>
                <a:gd name="connsiteY63" fmla="*/ 2405 h 13617"/>
                <a:gd name="connsiteX64" fmla="*/ 4120 w 10172"/>
                <a:gd name="connsiteY64" fmla="*/ 2375 h 13617"/>
                <a:gd name="connsiteX65" fmla="*/ 3960 w 10172"/>
                <a:gd name="connsiteY65" fmla="*/ 2330 h 13617"/>
                <a:gd name="connsiteX66" fmla="*/ 3799 w 10172"/>
                <a:gd name="connsiteY66" fmla="*/ 2315 h 13617"/>
                <a:gd name="connsiteX67" fmla="*/ 3479 w 10172"/>
                <a:gd name="connsiteY67" fmla="*/ 2315 h 13617"/>
                <a:gd name="connsiteX68" fmla="*/ 3238 w 10172"/>
                <a:gd name="connsiteY68" fmla="*/ 2315 h 13617"/>
                <a:gd name="connsiteX69" fmla="*/ 3058 w 10172"/>
                <a:gd name="connsiteY69" fmla="*/ 2315 h 13617"/>
                <a:gd name="connsiteX70" fmla="*/ 2938 w 10172"/>
                <a:gd name="connsiteY70" fmla="*/ 2315 h 13617"/>
                <a:gd name="connsiteX71" fmla="*/ 2757 w 10172"/>
                <a:gd name="connsiteY71" fmla="*/ 2284 h 13617"/>
                <a:gd name="connsiteX72" fmla="*/ 2597 w 10172"/>
                <a:gd name="connsiteY72" fmla="*/ 2254 h 13617"/>
                <a:gd name="connsiteX73" fmla="*/ 2457 w 10172"/>
                <a:gd name="connsiteY73" fmla="*/ 2194 h 13617"/>
                <a:gd name="connsiteX74" fmla="*/ 2376 w 10172"/>
                <a:gd name="connsiteY74" fmla="*/ 2088 h 13617"/>
                <a:gd name="connsiteX75" fmla="*/ 2196 w 10172"/>
                <a:gd name="connsiteY75" fmla="*/ 1892 h 13617"/>
                <a:gd name="connsiteX76" fmla="*/ 1976 w 10172"/>
                <a:gd name="connsiteY76" fmla="*/ 1665 h 13617"/>
                <a:gd name="connsiteX77" fmla="*/ 3752 w 10172"/>
                <a:gd name="connsiteY77" fmla="*/ 343 h 13617"/>
                <a:gd name="connsiteX78" fmla="*/ 2 w 10172"/>
                <a:gd name="connsiteY78" fmla="*/ 94 h 13617"/>
                <a:gd name="connsiteX79" fmla="*/ 279 w 10172"/>
                <a:gd name="connsiteY79" fmla="*/ 816 h 13617"/>
                <a:gd name="connsiteX80" fmla="*/ 1535 w 10172"/>
                <a:gd name="connsiteY80" fmla="*/ 2163 h 13617"/>
                <a:gd name="connsiteX81" fmla="*/ 1394 w 10172"/>
                <a:gd name="connsiteY81" fmla="*/ 2435 h 13617"/>
                <a:gd name="connsiteX82" fmla="*/ 1254 w 10172"/>
                <a:gd name="connsiteY82" fmla="*/ 2677 h 13617"/>
                <a:gd name="connsiteX83" fmla="*/ 1134 w 10172"/>
                <a:gd name="connsiteY83" fmla="*/ 2798 h 13617"/>
                <a:gd name="connsiteX84" fmla="*/ 994 w 10172"/>
                <a:gd name="connsiteY84" fmla="*/ 2919 h 13617"/>
                <a:gd name="connsiteX85" fmla="*/ 813 w 10172"/>
                <a:gd name="connsiteY85" fmla="*/ 2994 h 13617"/>
                <a:gd name="connsiteX86" fmla="*/ 613 w 10172"/>
                <a:gd name="connsiteY86" fmla="*/ 3100 h 13617"/>
                <a:gd name="connsiteX87" fmla="*/ 453 w 10172"/>
                <a:gd name="connsiteY87" fmla="*/ 3191 h 13617"/>
                <a:gd name="connsiteX88" fmla="*/ 292 w 10172"/>
                <a:gd name="connsiteY88" fmla="*/ 3296 h 13617"/>
                <a:gd name="connsiteX89" fmla="*/ 252 w 10172"/>
                <a:gd name="connsiteY89" fmla="*/ 3357 h 13617"/>
                <a:gd name="connsiteX90" fmla="*/ 192 w 10172"/>
                <a:gd name="connsiteY90" fmla="*/ 3432 h 13617"/>
                <a:gd name="connsiteX91" fmla="*/ 172 w 10172"/>
                <a:gd name="connsiteY91" fmla="*/ 3493 h 13617"/>
                <a:gd name="connsiteX92" fmla="*/ 172 w 10172"/>
                <a:gd name="connsiteY92" fmla="*/ 3583 h 13617"/>
                <a:gd name="connsiteX93" fmla="*/ 192 w 10172"/>
                <a:gd name="connsiteY93" fmla="*/ 3734 h 13617"/>
                <a:gd name="connsiteX94" fmla="*/ 212 w 10172"/>
                <a:gd name="connsiteY94" fmla="*/ 3886 h 13617"/>
                <a:gd name="connsiteX95" fmla="*/ 272 w 10172"/>
                <a:gd name="connsiteY95" fmla="*/ 3976 h 13617"/>
                <a:gd name="connsiteX96" fmla="*/ 332 w 10172"/>
                <a:gd name="connsiteY96" fmla="*/ 4067 h 13617"/>
                <a:gd name="connsiteX97" fmla="*/ 412 w 10172"/>
                <a:gd name="connsiteY97" fmla="*/ 4142 h 13617"/>
                <a:gd name="connsiteX98" fmla="*/ 493 w 10172"/>
                <a:gd name="connsiteY98" fmla="*/ 4203 h 13617"/>
                <a:gd name="connsiteX99" fmla="*/ 593 w 10172"/>
                <a:gd name="connsiteY99" fmla="*/ 4248 h 13617"/>
                <a:gd name="connsiteX100" fmla="*/ 693 w 10172"/>
                <a:gd name="connsiteY100" fmla="*/ 4278 h 13617"/>
                <a:gd name="connsiteX101" fmla="*/ 913 w 10172"/>
                <a:gd name="connsiteY101" fmla="*/ 4339 h 13617"/>
                <a:gd name="connsiteX102" fmla="*/ 1134 w 10172"/>
                <a:gd name="connsiteY102" fmla="*/ 4399 h 13617"/>
                <a:gd name="connsiteX103" fmla="*/ 1234 w 10172"/>
                <a:gd name="connsiteY103" fmla="*/ 4429 h 13617"/>
                <a:gd name="connsiteX104" fmla="*/ 1334 w 10172"/>
                <a:gd name="connsiteY104" fmla="*/ 4460 h 13617"/>
                <a:gd name="connsiteX105" fmla="*/ 1414 w 10172"/>
                <a:gd name="connsiteY105" fmla="*/ 4520 h 13617"/>
                <a:gd name="connsiteX106" fmla="*/ 1495 w 10172"/>
                <a:gd name="connsiteY106" fmla="*/ 4580 h 13617"/>
                <a:gd name="connsiteX107" fmla="*/ 1575 w 10172"/>
                <a:gd name="connsiteY107" fmla="*/ 4701 h 13617"/>
                <a:gd name="connsiteX108" fmla="*/ 1635 w 10172"/>
                <a:gd name="connsiteY108" fmla="*/ 4822 h 13617"/>
                <a:gd name="connsiteX109" fmla="*/ 1695 w 10172"/>
                <a:gd name="connsiteY109" fmla="*/ 4928 h 13617"/>
                <a:gd name="connsiteX110" fmla="*/ 1715 w 10172"/>
                <a:gd name="connsiteY110" fmla="*/ 5049 h 13617"/>
                <a:gd name="connsiteX111" fmla="*/ 1735 w 10172"/>
                <a:gd name="connsiteY111" fmla="*/ 5245 h 13617"/>
                <a:gd name="connsiteX112" fmla="*/ 1735 w 10172"/>
                <a:gd name="connsiteY112" fmla="*/ 5457 h 13617"/>
                <a:gd name="connsiteX113" fmla="*/ 1775 w 10172"/>
                <a:gd name="connsiteY113" fmla="*/ 5653 h 13617"/>
                <a:gd name="connsiteX114" fmla="*/ 1815 w 10172"/>
                <a:gd name="connsiteY114" fmla="*/ 5834 h 13617"/>
                <a:gd name="connsiteX115" fmla="*/ 1855 w 10172"/>
                <a:gd name="connsiteY115" fmla="*/ 5910 h 13617"/>
                <a:gd name="connsiteX116" fmla="*/ 1936 w 10172"/>
                <a:gd name="connsiteY116" fmla="*/ 6000 h 13617"/>
                <a:gd name="connsiteX117" fmla="*/ 2016 w 10172"/>
                <a:gd name="connsiteY117" fmla="*/ 6061 h 13617"/>
                <a:gd name="connsiteX118" fmla="*/ 2096 w 10172"/>
                <a:gd name="connsiteY118" fmla="*/ 6136 h 13617"/>
                <a:gd name="connsiteX119" fmla="*/ 2336 w 10172"/>
                <a:gd name="connsiteY119" fmla="*/ 6212 h 13617"/>
                <a:gd name="connsiteX120" fmla="*/ 2617 w 10172"/>
                <a:gd name="connsiteY120" fmla="*/ 6302 h 13617"/>
                <a:gd name="connsiteX121" fmla="*/ 2978 w 10172"/>
                <a:gd name="connsiteY121" fmla="*/ 6363 h 13617"/>
                <a:gd name="connsiteX122" fmla="*/ 3318 w 10172"/>
                <a:gd name="connsiteY122" fmla="*/ 6423 h 13617"/>
                <a:gd name="connsiteX123" fmla="*/ 3639 w 10172"/>
                <a:gd name="connsiteY123" fmla="*/ 6499 h 13617"/>
                <a:gd name="connsiteX124" fmla="*/ 3899 w 10172"/>
                <a:gd name="connsiteY124" fmla="*/ 6605 h 13617"/>
                <a:gd name="connsiteX125" fmla="*/ 4020 w 10172"/>
                <a:gd name="connsiteY125" fmla="*/ 6635 h 13617"/>
                <a:gd name="connsiteX126" fmla="*/ 4100 w 10172"/>
                <a:gd name="connsiteY126" fmla="*/ 6695 h 13617"/>
                <a:gd name="connsiteX127" fmla="*/ 4140 w 10172"/>
                <a:gd name="connsiteY127" fmla="*/ 6786 h 13617"/>
                <a:gd name="connsiteX128" fmla="*/ 4140 w 10172"/>
                <a:gd name="connsiteY128" fmla="*/ 6861 h 13617"/>
                <a:gd name="connsiteX129" fmla="*/ 4140 w 10172"/>
                <a:gd name="connsiteY129" fmla="*/ 7103 h 13617"/>
                <a:gd name="connsiteX130" fmla="*/ 4140 w 10172"/>
                <a:gd name="connsiteY130" fmla="*/ 7390 h 13617"/>
                <a:gd name="connsiteX131" fmla="*/ 4140 w 10172"/>
                <a:gd name="connsiteY131" fmla="*/ 7662 h 13617"/>
                <a:gd name="connsiteX132" fmla="*/ 4140 w 10172"/>
                <a:gd name="connsiteY132" fmla="*/ 7873 h 13617"/>
                <a:gd name="connsiteX133" fmla="*/ 4120 w 10172"/>
                <a:gd name="connsiteY133" fmla="*/ 8176 h 13617"/>
                <a:gd name="connsiteX134" fmla="*/ 4060 w 10172"/>
                <a:gd name="connsiteY134" fmla="*/ 8447 h 13617"/>
                <a:gd name="connsiteX135" fmla="*/ 4060 w 10172"/>
                <a:gd name="connsiteY135" fmla="*/ 8583 h 13617"/>
                <a:gd name="connsiteX136" fmla="*/ 4100 w 10172"/>
                <a:gd name="connsiteY136" fmla="*/ 8734 h 13617"/>
                <a:gd name="connsiteX137" fmla="*/ 4180 w 10172"/>
                <a:gd name="connsiteY137" fmla="*/ 8870 h 13617"/>
                <a:gd name="connsiteX138" fmla="*/ 4280 w 10172"/>
                <a:gd name="connsiteY138" fmla="*/ 9037 h 13617"/>
                <a:gd name="connsiteX139" fmla="*/ 4340 w 10172"/>
                <a:gd name="connsiteY139" fmla="*/ 9112 h 13617"/>
                <a:gd name="connsiteX140" fmla="*/ 4380 w 10172"/>
                <a:gd name="connsiteY140" fmla="*/ 9173 h 13617"/>
                <a:gd name="connsiteX141" fmla="*/ 4441 w 10172"/>
                <a:gd name="connsiteY141" fmla="*/ 9233 h 13617"/>
                <a:gd name="connsiteX142" fmla="*/ 4521 w 10172"/>
                <a:gd name="connsiteY142" fmla="*/ 9278 h 13617"/>
                <a:gd name="connsiteX143" fmla="*/ 4701 w 10172"/>
                <a:gd name="connsiteY143" fmla="*/ 9309 h 13617"/>
                <a:gd name="connsiteX144" fmla="*/ 4861 w 10172"/>
                <a:gd name="connsiteY144" fmla="*/ 9354 h 13617"/>
                <a:gd name="connsiteX145" fmla="*/ 5062 w 10172"/>
                <a:gd name="connsiteY145" fmla="*/ 9399 h 13617"/>
                <a:gd name="connsiteX146" fmla="*/ 5222 w 10172"/>
                <a:gd name="connsiteY146" fmla="*/ 9460 h 13617"/>
                <a:gd name="connsiteX147" fmla="*/ 5302 w 10172"/>
                <a:gd name="connsiteY147" fmla="*/ 9490 h 13617"/>
                <a:gd name="connsiteX148" fmla="*/ 5382 w 10172"/>
                <a:gd name="connsiteY148" fmla="*/ 9535 h 13617"/>
                <a:gd name="connsiteX149" fmla="*/ 5423 w 10172"/>
                <a:gd name="connsiteY149" fmla="*/ 9596 h 13617"/>
                <a:gd name="connsiteX150" fmla="*/ 5483 w 10172"/>
                <a:gd name="connsiteY150" fmla="*/ 9671 h 13617"/>
                <a:gd name="connsiteX151" fmla="*/ 5883 w 10172"/>
                <a:gd name="connsiteY151" fmla="*/ 10305 h 13617"/>
                <a:gd name="connsiteX152" fmla="*/ 6324 w 10172"/>
                <a:gd name="connsiteY152" fmla="*/ 10940 h 13617"/>
                <a:gd name="connsiteX153" fmla="*/ 6395 w 10172"/>
                <a:gd name="connsiteY153" fmla="*/ 12337 h 13617"/>
                <a:gd name="connsiteX154" fmla="*/ 7520 w 10172"/>
                <a:gd name="connsiteY154" fmla="*/ 13617 h 13617"/>
                <a:gd name="connsiteX0" fmla="*/ 7520 w 10172"/>
                <a:gd name="connsiteY0" fmla="*/ 13587 h 13587"/>
                <a:gd name="connsiteX1" fmla="*/ 7284 w 10172"/>
                <a:gd name="connsiteY1" fmla="*/ 12347 h 13587"/>
                <a:gd name="connsiteX2" fmla="*/ 7283 w 10172"/>
                <a:gd name="connsiteY2" fmla="*/ 12143 h 13587"/>
                <a:gd name="connsiteX3" fmla="*/ 7432 w 10172"/>
                <a:gd name="connsiteY3" fmla="*/ 11643 h 13587"/>
                <a:gd name="connsiteX4" fmla="*/ 7385 w 10172"/>
                <a:gd name="connsiteY4" fmla="*/ 11553 h 13587"/>
                <a:gd name="connsiteX5" fmla="*/ 7512 w 10172"/>
                <a:gd name="connsiteY5" fmla="*/ 11131 h 13587"/>
                <a:gd name="connsiteX6" fmla="*/ 7820 w 10172"/>
                <a:gd name="connsiteY6" fmla="*/ 10986 h 13587"/>
                <a:gd name="connsiteX7" fmla="*/ 7406 w 10172"/>
                <a:gd name="connsiteY7" fmla="*/ 10487 h 13587"/>
                <a:gd name="connsiteX8" fmla="*/ 7607 w 10172"/>
                <a:gd name="connsiteY8" fmla="*/ 10306 h 13587"/>
                <a:gd name="connsiteX9" fmla="*/ 7827 w 10172"/>
                <a:gd name="connsiteY9" fmla="*/ 10155 h 13587"/>
                <a:gd name="connsiteX10" fmla="*/ 8068 w 10172"/>
                <a:gd name="connsiteY10" fmla="*/ 9988 h 13587"/>
                <a:gd name="connsiteX11" fmla="*/ 8308 w 10172"/>
                <a:gd name="connsiteY11" fmla="*/ 9822 h 13587"/>
                <a:gd name="connsiteX12" fmla="*/ 8529 w 10172"/>
                <a:gd name="connsiteY12" fmla="*/ 9671 h 13587"/>
                <a:gd name="connsiteX13" fmla="*/ 8729 w 10172"/>
                <a:gd name="connsiteY13" fmla="*/ 9490 h 13587"/>
                <a:gd name="connsiteX14" fmla="*/ 8950 w 10172"/>
                <a:gd name="connsiteY14" fmla="*/ 9324 h 13587"/>
                <a:gd name="connsiteX15" fmla="*/ 9110 w 10172"/>
                <a:gd name="connsiteY15" fmla="*/ 9127 h 13587"/>
                <a:gd name="connsiteX16" fmla="*/ 9210 w 10172"/>
                <a:gd name="connsiteY16" fmla="*/ 8916 h 13587"/>
                <a:gd name="connsiteX17" fmla="*/ 9270 w 10172"/>
                <a:gd name="connsiteY17" fmla="*/ 8825 h 13587"/>
                <a:gd name="connsiteX18" fmla="*/ 9290 w 10172"/>
                <a:gd name="connsiteY18" fmla="*/ 8704 h 13587"/>
                <a:gd name="connsiteX19" fmla="*/ 9330 w 10172"/>
                <a:gd name="connsiteY19" fmla="*/ 8584 h 13587"/>
                <a:gd name="connsiteX20" fmla="*/ 9330 w 10172"/>
                <a:gd name="connsiteY20" fmla="*/ 8463 h 13587"/>
                <a:gd name="connsiteX21" fmla="*/ 9210 w 10172"/>
                <a:gd name="connsiteY21" fmla="*/ 8161 h 13587"/>
                <a:gd name="connsiteX22" fmla="*/ 9090 w 10172"/>
                <a:gd name="connsiteY22" fmla="*/ 7919 h 13587"/>
                <a:gd name="connsiteX23" fmla="*/ 9130 w 10172"/>
                <a:gd name="connsiteY23" fmla="*/ 7859 h 13587"/>
                <a:gd name="connsiteX24" fmla="*/ 9210 w 10172"/>
                <a:gd name="connsiteY24" fmla="*/ 7783 h 13587"/>
                <a:gd name="connsiteX25" fmla="*/ 9330 w 10172"/>
                <a:gd name="connsiteY25" fmla="*/ 7692 h 13587"/>
                <a:gd name="connsiteX26" fmla="*/ 9491 w 10172"/>
                <a:gd name="connsiteY26" fmla="*/ 7617 h 13587"/>
                <a:gd name="connsiteX27" fmla="*/ 9611 w 10172"/>
                <a:gd name="connsiteY27" fmla="*/ 7541 h 13587"/>
                <a:gd name="connsiteX28" fmla="*/ 9751 w 10172"/>
                <a:gd name="connsiteY28" fmla="*/ 7436 h 13587"/>
                <a:gd name="connsiteX29" fmla="*/ 9851 w 10172"/>
                <a:gd name="connsiteY29" fmla="*/ 7315 h 13587"/>
                <a:gd name="connsiteX30" fmla="*/ 9932 w 10172"/>
                <a:gd name="connsiteY30" fmla="*/ 7194 h 13587"/>
                <a:gd name="connsiteX31" fmla="*/ 9751 w 10172"/>
                <a:gd name="connsiteY31" fmla="*/ 7118 h 13587"/>
                <a:gd name="connsiteX32" fmla="*/ 9491 w 10172"/>
                <a:gd name="connsiteY32" fmla="*/ 6907 h 13587"/>
                <a:gd name="connsiteX33" fmla="*/ 9210 w 10172"/>
                <a:gd name="connsiteY33" fmla="*/ 6726 h 13587"/>
                <a:gd name="connsiteX34" fmla="*/ 9090 w 10172"/>
                <a:gd name="connsiteY34" fmla="*/ 6650 h 13587"/>
                <a:gd name="connsiteX35" fmla="*/ 9110 w 10172"/>
                <a:gd name="connsiteY35" fmla="*/ 6544 h 13587"/>
                <a:gd name="connsiteX36" fmla="*/ 9130 w 10172"/>
                <a:gd name="connsiteY36" fmla="*/ 6484 h 13587"/>
                <a:gd name="connsiteX37" fmla="*/ 9190 w 10172"/>
                <a:gd name="connsiteY37" fmla="*/ 6424 h 13587"/>
                <a:gd name="connsiteX38" fmla="*/ 9250 w 10172"/>
                <a:gd name="connsiteY38" fmla="*/ 6393 h 13587"/>
                <a:gd name="connsiteX39" fmla="*/ 9410 w 10172"/>
                <a:gd name="connsiteY39" fmla="*/ 6303 h 13587"/>
                <a:gd name="connsiteX40" fmla="*/ 9591 w 10172"/>
                <a:gd name="connsiteY40" fmla="*/ 6182 h 13587"/>
                <a:gd name="connsiteX41" fmla="*/ 9511 w 10172"/>
                <a:gd name="connsiteY41" fmla="*/ 5970 h 13587"/>
                <a:gd name="connsiteX42" fmla="*/ 9451 w 10172"/>
                <a:gd name="connsiteY42" fmla="*/ 5744 h 13587"/>
                <a:gd name="connsiteX43" fmla="*/ 9511 w 10172"/>
                <a:gd name="connsiteY43" fmla="*/ 5623 h 13587"/>
                <a:gd name="connsiteX44" fmla="*/ 9671 w 10172"/>
                <a:gd name="connsiteY44" fmla="*/ 5396 h 13587"/>
                <a:gd name="connsiteX45" fmla="*/ 9911 w 10172"/>
                <a:gd name="connsiteY45" fmla="*/ 5124 h 13587"/>
                <a:gd name="connsiteX46" fmla="*/ 10172 w 10172"/>
                <a:gd name="connsiteY46" fmla="*/ 4732 h 13587"/>
                <a:gd name="connsiteX47" fmla="*/ 9651 w 10172"/>
                <a:gd name="connsiteY47" fmla="*/ 4550 h 13587"/>
                <a:gd name="connsiteX48" fmla="*/ 9090 w 10172"/>
                <a:gd name="connsiteY48" fmla="*/ 4414 h 13587"/>
                <a:gd name="connsiteX49" fmla="*/ 8549 w 10172"/>
                <a:gd name="connsiteY49" fmla="*/ 4294 h 13587"/>
                <a:gd name="connsiteX50" fmla="*/ 7988 w 10172"/>
                <a:gd name="connsiteY50" fmla="*/ 4188 h 13587"/>
                <a:gd name="connsiteX51" fmla="*/ 7406 w 10172"/>
                <a:gd name="connsiteY51" fmla="*/ 4097 h 13587"/>
                <a:gd name="connsiteX52" fmla="*/ 6805 w 10172"/>
                <a:gd name="connsiteY52" fmla="*/ 3976 h 13587"/>
                <a:gd name="connsiteX53" fmla="*/ 6224 w 10172"/>
                <a:gd name="connsiteY53" fmla="*/ 3825 h 13587"/>
                <a:gd name="connsiteX54" fmla="*/ 5583 w 10172"/>
                <a:gd name="connsiteY54" fmla="*/ 3644 h 13587"/>
                <a:gd name="connsiteX55" fmla="*/ 5463 w 10172"/>
                <a:gd name="connsiteY55" fmla="*/ 3584 h 13587"/>
                <a:gd name="connsiteX56" fmla="*/ 5322 w 10172"/>
                <a:gd name="connsiteY56" fmla="*/ 3523 h 13587"/>
                <a:gd name="connsiteX57" fmla="*/ 5222 w 10172"/>
                <a:gd name="connsiteY57" fmla="*/ 3448 h 13587"/>
                <a:gd name="connsiteX58" fmla="*/ 5102 w 10172"/>
                <a:gd name="connsiteY58" fmla="*/ 3342 h 13587"/>
                <a:gd name="connsiteX59" fmla="*/ 4921 w 10172"/>
                <a:gd name="connsiteY59" fmla="*/ 3130 h 13587"/>
                <a:gd name="connsiteX60" fmla="*/ 4741 w 10172"/>
                <a:gd name="connsiteY60" fmla="*/ 2889 h 13587"/>
                <a:gd name="connsiteX61" fmla="*/ 4581 w 10172"/>
                <a:gd name="connsiteY61" fmla="*/ 2662 h 13587"/>
                <a:gd name="connsiteX62" fmla="*/ 4360 w 10172"/>
                <a:gd name="connsiteY62" fmla="*/ 2466 h 13587"/>
                <a:gd name="connsiteX63" fmla="*/ 4260 w 10172"/>
                <a:gd name="connsiteY63" fmla="*/ 2375 h 13587"/>
                <a:gd name="connsiteX64" fmla="*/ 4120 w 10172"/>
                <a:gd name="connsiteY64" fmla="*/ 2345 h 13587"/>
                <a:gd name="connsiteX65" fmla="*/ 3960 w 10172"/>
                <a:gd name="connsiteY65" fmla="*/ 2300 h 13587"/>
                <a:gd name="connsiteX66" fmla="*/ 3799 w 10172"/>
                <a:gd name="connsiteY66" fmla="*/ 2285 h 13587"/>
                <a:gd name="connsiteX67" fmla="*/ 3479 w 10172"/>
                <a:gd name="connsiteY67" fmla="*/ 2285 h 13587"/>
                <a:gd name="connsiteX68" fmla="*/ 3238 w 10172"/>
                <a:gd name="connsiteY68" fmla="*/ 2285 h 13587"/>
                <a:gd name="connsiteX69" fmla="*/ 3058 w 10172"/>
                <a:gd name="connsiteY69" fmla="*/ 2285 h 13587"/>
                <a:gd name="connsiteX70" fmla="*/ 2938 w 10172"/>
                <a:gd name="connsiteY70" fmla="*/ 2285 h 13587"/>
                <a:gd name="connsiteX71" fmla="*/ 2757 w 10172"/>
                <a:gd name="connsiteY71" fmla="*/ 2254 h 13587"/>
                <a:gd name="connsiteX72" fmla="*/ 2597 w 10172"/>
                <a:gd name="connsiteY72" fmla="*/ 2224 h 13587"/>
                <a:gd name="connsiteX73" fmla="*/ 2457 w 10172"/>
                <a:gd name="connsiteY73" fmla="*/ 2164 h 13587"/>
                <a:gd name="connsiteX74" fmla="*/ 2376 w 10172"/>
                <a:gd name="connsiteY74" fmla="*/ 2058 h 13587"/>
                <a:gd name="connsiteX75" fmla="*/ 2196 w 10172"/>
                <a:gd name="connsiteY75" fmla="*/ 1862 h 13587"/>
                <a:gd name="connsiteX76" fmla="*/ 1976 w 10172"/>
                <a:gd name="connsiteY76" fmla="*/ 1635 h 13587"/>
                <a:gd name="connsiteX77" fmla="*/ 5425 w 10172"/>
                <a:gd name="connsiteY77" fmla="*/ 960 h 13587"/>
                <a:gd name="connsiteX78" fmla="*/ 2 w 10172"/>
                <a:gd name="connsiteY78" fmla="*/ 64 h 13587"/>
                <a:gd name="connsiteX79" fmla="*/ 279 w 10172"/>
                <a:gd name="connsiteY79" fmla="*/ 786 h 13587"/>
                <a:gd name="connsiteX80" fmla="*/ 1535 w 10172"/>
                <a:gd name="connsiteY80" fmla="*/ 2133 h 13587"/>
                <a:gd name="connsiteX81" fmla="*/ 1394 w 10172"/>
                <a:gd name="connsiteY81" fmla="*/ 2405 h 13587"/>
                <a:gd name="connsiteX82" fmla="*/ 1254 w 10172"/>
                <a:gd name="connsiteY82" fmla="*/ 2647 h 13587"/>
                <a:gd name="connsiteX83" fmla="*/ 1134 w 10172"/>
                <a:gd name="connsiteY83" fmla="*/ 2768 h 13587"/>
                <a:gd name="connsiteX84" fmla="*/ 994 w 10172"/>
                <a:gd name="connsiteY84" fmla="*/ 2889 h 13587"/>
                <a:gd name="connsiteX85" fmla="*/ 813 w 10172"/>
                <a:gd name="connsiteY85" fmla="*/ 2964 h 13587"/>
                <a:gd name="connsiteX86" fmla="*/ 613 w 10172"/>
                <a:gd name="connsiteY86" fmla="*/ 3070 h 13587"/>
                <a:gd name="connsiteX87" fmla="*/ 453 w 10172"/>
                <a:gd name="connsiteY87" fmla="*/ 3161 h 13587"/>
                <a:gd name="connsiteX88" fmla="*/ 292 w 10172"/>
                <a:gd name="connsiteY88" fmla="*/ 3266 h 13587"/>
                <a:gd name="connsiteX89" fmla="*/ 252 w 10172"/>
                <a:gd name="connsiteY89" fmla="*/ 3327 h 13587"/>
                <a:gd name="connsiteX90" fmla="*/ 192 w 10172"/>
                <a:gd name="connsiteY90" fmla="*/ 3402 h 13587"/>
                <a:gd name="connsiteX91" fmla="*/ 172 w 10172"/>
                <a:gd name="connsiteY91" fmla="*/ 3463 h 13587"/>
                <a:gd name="connsiteX92" fmla="*/ 172 w 10172"/>
                <a:gd name="connsiteY92" fmla="*/ 3553 h 13587"/>
                <a:gd name="connsiteX93" fmla="*/ 192 w 10172"/>
                <a:gd name="connsiteY93" fmla="*/ 3704 h 13587"/>
                <a:gd name="connsiteX94" fmla="*/ 212 w 10172"/>
                <a:gd name="connsiteY94" fmla="*/ 3856 h 13587"/>
                <a:gd name="connsiteX95" fmla="*/ 272 w 10172"/>
                <a:gd name="connsiteY95" fmla="*/ 3946 h 13587"/>
                <a:gd name="connsiteX96" fmla="*/ 332 w 10172"/>
                <a:gd name="connsiteY96" fmla="*/ 4037 h 13587"/>
                <a:gd name="connsiteX97" fmla="*/ 412 w 10172"/>
                <a:gd name="connsiteY97" fmla="*/ 4112 h 13587"/>
                <a:gd name="connsiteX98" fmla="*/ 493 w 10172"/>
                <a:gd name="connsiteY98" fmla="*/ 4173 h 13587"/>
                <a:gd name="connsiteX99" fmla="*/ 593 w 10172"/>
                <a:gd name="connsiteY99" fmla="*/ 4218 h 13587"/>
                <a:gd name="connsiteX100" fmla="*/ 693 w 10172"/>
                <a:gd name="connsiteY100" fmla="*/ 4248 h 13587"/>
                <a:gd name="connsiteX101" fmla="*/ 913 w 10172"/>
                <a:gd name="connsiteY101" fmla="*/ 4309 h 13587"/>
                <a:gd name="connsiteX102" fmla="*/ 1134 w 10172"/>
                <a:gd name="connsiteY102" fmla="*/ 4369 h 13587"/>
                <a:gd name="connsiteX103" fmla="*/ 1234 w 10172"/>
                <a:gd name="connsiteY103" fmla="*/ 4399 h 13587"/>
                <a:gd name="connsiteX104" fmla="*/ 1334 w 10172"/>
                <a:gd name="connsiteY104" fmla="*/ 4430 h 13587"/>
                <a:gd name="connsiteX105" fmla="*/ 1414 w 10172"/>
                <a:gd name="connsiteY105" fmla="*/ 4490 h 13587"/>
                <a:gd name="connsiteX106" fmla="*/ 1495 w 10172"/>
                <a:gd name="connsiteY106" fmla="*/ 4550 h 13587"/>
                <a:gd name="connsiteX107" fmla="*/ 1575 w 10172"/>
                <a:gd name="connsiteY107" fmla="*/ 4671 h 13587"/>
                <a:gd name="connsiteX108" fmla="*/ 1635 w 10172"/>
                <a:gd name="connsiteY108" fmla="*/ 4792 h 13587"/>
                <a:gd name="connsiteX109" fmla="*/ 1695 w 10172"/>
                <a:gd name="connsiteY109" fmla="*/ 4898 h 13587"/>
                <a:gd name="connsiteX110" fmla="*/ 1715 w 10172"/>
                <a:gd name="connsiteY110" fmla="*/ 5019 h 13587"/>
                <a:gd name="connsiteX111" fmla="*/ 1735 w 10172"/>
                <a:gd name="connsiteY111" fmla="*/ 5215 h 13587"/>
                <a:gd name="connsiteX112" fmla="*/ 1735 w 10172"/>
                <a:gd name="connsiteY112" fmla="*/ 5427 h 13587"/>
                <a:gd name="connsiteX113" fmla="*/ 1775 w 10172"/>
                <a:gd name="connsiteY113" fmla="*/ 5623 h 13587"/>
                <a:gd name="connsiteX114" fmla="*/ 1815 w 10172"/>
                <a:gd name="connsiteY114" fmla="*/ 5804 h 13587"/>
                <a:gd name="connsiteX115" fmla="*/ 1855 w 10172"/>
                <a:gd name="connsiteY115" fmla="*/ 5880 h 13587"/>
                <a:gd name="connsiteX116" fmla="*/ 1936 w 10172"/>
                <a:gd name="connsiteY116" fmla="*/ 5970 h 13587"/>
                <a:gd name="connsiteX117" fmla="*/ 2016 w 10172"/>
                <a:gd name="connsiteY117" fmla="*/ 6031 h 13587"/>
                <a:gd name="connsiteX118" fmla="*/ 2096 w 10172"/>
                <a:gd name="connsiteY118" fmla="*/ 6106 h 13587"/>
                <a:gd name="connsiteX119" fmla="*/ 2336 w 10172"/>
                <a:gd name="connsiteY119" fmla="*/ 6182 h 13587"/>
                <a:gd name="connsiteX120" fmla="*/ 2617 w 10172"/>
                <a:gd name="connsiteY120" fmla="*/ 6272 h 13587"/>
                <a:gd name="connsiteX121" fmla="*/ 2978 w 10172"/>
                <a:gd name="connsiteY121" fmla="*/ 6333 h 13587"/>
                <a:gd name="connsiteX122" fmla="*/ 3318 w 10172"/>
                <a:gd name="connsiteY122" fmla="*/ 6393 h 13587"/>
                <a:gd name="connsiteX123" fmla="*/ 3639 w 10172"/>
                <a:gd name="connsiteY123" fmla="*/ 6469 h 13587"/>
                <a:gd name="connsiteX124" fmla="*/ 3899 w 10172"/>
                <a:gd name="connsiteY124" fmla="*/ 6575 h 13587"/>
                <a:gd name="connsiteX125" fmla="*/ 4020 w 10172"/>
                <a:gd name="connsiteY125" fmla="*/ 6605 h 13587"/>
                <a:gd name="connsiteX126" fmla="*/ 4100 w 10172"/>
                <a:gd name="connsiteY126" fmla="*/ 6665 h 13587"/>
                <a:gd name="connsiteX127" fmla="*/ 4140 w 10172"/>
                <a:gd name="connsiteY127" fmla="*/ 6756 h 13587"/>
                <a:gd name="connsiteX128" fmla="*/ 4140 w 10172"/>
                <a:gd name="connsiteY128" fmla="*/ 6831 h 13587"/>
                <a:gd name="connsiteX129" fmla="*/ 4140 w 10172"/>
                <a:gd name="connsiteY129" fmla="*/ 7073 h 13587"/>
                <a:gd name="connsiteX130" fmla="*/ 4140 w 10172"/>
                <a:gd name="connsiteY130" fmla="*/ 7360 h 13587"/>
                <a:gd name="connsiteX131" fmla="*/ 4140 w 10172"/>
                <a:gd name="connsiteY131" fmla="*/ 7632 h 13587"/>
                <a:gd name="connsiteX132" fmla="*/ 4140 w 10172"/>
                <a:gd name="connsiteY132" fmla="*/ 7843 h 13587"/>
                <a:gd name="connsiteX133" fmla="*/ 4120 w 10172"/>
                <a:gd name="connsiteY133" fmla="*/ 8146 h 13587"/>
                <a:gd name="connsiteX134" fmla="*/ 4060 w 10172"/>
                <a:gd name="connsiteY134" fmla="*/ 8417 h 13587"/>
                <a:gd name="connsiteX135" fmla="*/ 4060 w 10172"/>
                <a:gd name="connsiteY135" fmla="*/ 8553 h 13587"/>
                <a:gd name="connsiteX136" fmla="*/ 4100 w 10172"/>
                <a:gd name="connsiteY136" fmla="*/ 8704 h 13587"/>
                <a:gd name="connsiteX137" fmla="*/ 4180 w 10172"/>
                <a:gd name="connsiteY137" fmla="*/ 8840 h 13587"/>
                <a:gd name="connsiteX138" fmla="*/ 4280 w 10172"/>
                <a:gd name="connsiteY138" fmla="*/ 9007 h 13587"/>
                <a:gd name="connsiteX139" fmla="*/ 4340 w 10172"/>
                <a:gd name="connsiteY139" fmla="*/ 9082 h 13587"/>
                <a:gd name="connsiteX140" fmla="*/ 4380 w 10172"/>
                <a:gd name="connsiteY140" fmla="*/ 9143 h 13587"/>
                <a:gd name="connsiteX141" fmla="*/ 4441 w 10172"/>
                <a:gd name="connsiteY141" fmla="*/ 9203 h 13587"/>
                <a:gd name="connsiteX142" fmla="*/ 4521 w 10172"/>
                <a:gd name="connsiteY142" fmla="*/ 9248 h 13587"/>
                <a:gd name="connsiteX143" fmla="*/ 4701 w 10172"/>
                <a:gd name="connsiteY143" fmla="*/ 9279 h 13587"/>
                <a:gd name="connsiteX144" fmla="*/ 4861 w 10172"/>
                <a:gd name="connsiteY144" fmla="*/ 9324 h 13587"/>
                <a:gd name="connsiteX145" fmla="*/ 5062 w 10172"/>
                <a:gd name="connsiteY145" fmla="*/ 9369 h 13587"/>
                <a:gd name="connsiteX146" fmla="*/ 5222 w 10172"/>
                <a:gd name="connsiteY146" fmla="*/ 9430 h 13587"/>
                <a:gd name="connsiteX147" fmla="*/ 5302 w 10172"/>
                <a:gd name="connsiteY147" fmla="*/ 9460 h 13587"/>
                <a:gd name="connsiteX148" fmla="*/ 5382 w 10172"/>
                <a:gd name="connsiteY148" fmla="*/ 9505 h 13587"/>
                <a:gd name="connsiteX149" fmla="*/ 5423 w 10172"/>
                <a:gd name="connsiteY149" fmla="*/ 9566 h 13587"/>
                <a:gd name="connsiteX150" fmla="*/ 5483 w 10172"/>
                <a:gd name="connsiteY150" fmla="*/ 9641 h 13587"/>
                <a:gd name="connsiteX151" fmla="*/ 5883 w 10172"/>
                <a:gd name="connsiteY151" fmla="*/ 10275 h 13587"/>
                <a:gd name="connsiteX152" fmla="*/ 6324 w 10172"/>
                <a:gd name="connsiteY152" fmla="*/ 10910 h 13587"/>
                <a:gd name="connsiteX153" fmla="*/ 6395 w 10172"/>
                <a:gd name="connsiteY153" fmla="*/ 12307 h 13587"/>
                <a:gd name="connsiteX154" fmla="*/ 7520 w 10172"/>
                <a:gd name="connsiteY154" fmla="*/ 13587 h 13587"/>
                <a:gd name="connsiteX0" fmla="*/ 7523 w 10175"/>
                <a:gd name="connsiteY0" fmla="*/ 13612 h 13612"/>
                <a:gd name="connsiteX1" fmla="*/ 7287 w 10175"/>
                <a:gd name="connsiteY1" fmla="*/ 12372 h 13612"/>
                <a:gd name="connsiteX2" fmla="*/ 7286 w 10175"/>
                <a:gd name="connsiteY2" fmla="*/ 12168 h 13612"/>
                <a:gd name="connsiteX3" fmla="*/ 7435 w 10175"/>
                <a:gd name="connsiteY3" fmla="*/ 11668 h 13612"/>
                <a:gd name="connsiteX4" fmla="*/ 7388 w 10175"/>
                <a:gd name="connsiteY4" fmla="*/ 11578 h 13612"/>
                <a:gd name="connsiteX5" fmla="*/ 7515 w 10175"/>
                <a:gd name="connsiteY5" fmla="*/ 11156 h 13612"/>
                <a:gd name="connsiteX6" fmla="*/ 7823 w 10175"/>
                <a:gd name="connsiteY6" fmla="*/ 11011 h 13612"/>
                <a:gd name="connsiteX7" fmla="*/ 7409 w 10175"/>
                <a:gd name="connsiteY7" fmla="*/ 10512 h 13612"/>
                <a:gd name="connsiteX8" fmla="*/ 7610 w 10175"/>
                <a:gd name="connsiteY8" fmla="*/ 10331 h 13612"/>
                <a:gd name="connsiteX9" fmla="*/ 7830 w 10175"/>
                <a:gd name="connsiteY9" fmla="*/ 10180 h 13612"/>
                <a:gd name="connsiteX10" fmla="*/ 8071 w 10175"/>
                <a:gd name="connsiteY10" fmla="*/ 10013 h 13612"/>
                <a:gd name="connsiteX11" fmla="*/ 8311 w 10175"/>
                <a:gd name="connsiteY11" fmla="*/ 9847 h 13612"/>
                <a:gd name="connsiteX12" fmla="*/ 8532 w 10175"/>
                <a:gd name="connsiteY12" fmla="*/ 9696 h 13612"/>
                <a:gd name="connsiteX13" fmla="*/ 8732 w 10175"/>
                <a:gd name="connsiteY13" fmla="*/ 9515 h 13612"/>
                <a:gd name="connsiteX14" fmla="*/ 8953 w 10175"/>
                <a:gd name="connsiteY14" fmla="*/ 9349 h 13612"/>
                <a:gd name="connsiteX15" fmla="*/ 9113 w 10175"/>
                <a:gd name="connsiteY15" fmla="*/ 9152 h 13612"/>
                <a:gd name="connsiteX16" fmla="*/ 9213 w 10175"/>
                <a:gd name="connsiteY16" fmla="*/ 8941 h 13612"/>
                <a:gd name="connsiteX17" fmla="*/ 9273 w 10175"/>
                <a:gd name="connsiteY17" fmla="*/ 8850 h 13612"/>
                <a:gd name="connsiteX18" fmla="*/ 9293 w 10175"/>
                <a:gd name="connsiteY18" fmla="*/ 8729 h 13612"/>
                <a:gd name="connsiteX19" fmla="*/ 9333 w 10175"/>
                <a:gd name="connsiteY19" fmla="*/ 8609 h 13612"/>
                <a:gd name="connsiteX20" fmla="*/ 9333 w 10175"/>
                <a:gd name="connsiteY20" fmla="*/ 8488 h 13612"/>
                <a:gd name="connsiteX21" fmla="*/ 9213 w 10175"/>
                <a:gd name="connsiteY21" fmla="*/ 8186 h 13612"/>
                <a:gd name="connsiteX22" fmla="*/ 9093 w 10175"/>
                <a:gd name="connsiteY22" fmla="*/ 7944 h 13612"/>
                <a:gd name="connsiteX23" fmla="*/ 9133 w 10175"/>
                <a:gd name="connsiteY23" fmla="*/ 7884 h 13612"/>
                <a:gd name="connsiteX24" fmla="*/ 9213 w 10175"/>
                <a:gd name="connsiteY24" fmla="*/ 7808 h 13612"/>
                <a:gd name="connsiteX25" fmla="*/ 9333 w 10175"/>
                <a:gd name="connsiteY25" fmla="*/ 7717 h 13612"/>
                <a:gd name="connsiteX26" fmla="*/ 9494 w 10175"/>
                <a:gd name="connsiteY26" fmla="*/ 7642 h 13612"/>
                <a:gd name="connsiteX27" fmla="*/ 9614 w 10175"/>
                <a:gd name="connsiteY27" fmla="*/ 7566 h 13612"/>
                <a:gd name="connsiteX28" fmla="*/ 9754 w 10175"/>
                <a:gd name="connsiteY28" fmla="*/ 7461 h 13612"/>
                <a:gd name="connsiteX29" fmla="*/ 9854 w 10175"/>
                <a:gd name="connsiteY29" fmla="*/ 7340 h 13612"/>
                <a:gd name="connsiteX30" fmla="*/ 9935 w 10175"/>
                <a:gd name="connsiteY30" fmla="*/ 7219 h 13612"/>
                <a:gd name="connsiteX31" fmla="*/ 9754 w 10175"/>
                <a:gd name="connsiteY31" fmla="*/ 7143 h 13612"/>
                <a:gd name="connsiteX32" fmla="*/ 9494 w 10175"/>
                <a:gd name="connsiteY32" fmla="*/ 6932 h 13612"/>
                <a:gd name="connsiteX33" fmla="*/ 9213 w 10175"/>
                <a:gd name="connsiteY33" fmla="*/ 6751 h 13612"/>
                <a:gd name="connsiteX34" fmla="*/ 9093 w 10175"/>
                <a:gd name="connsiteY34" fmla="*/ 6675 h 13612"/>
                <a:gd name="connsiteX35" fmla="*/ 9113 w 10175"/>
                <a:gd name="connsiteY35" fmla="*/ 6569 h 13612"/>
                <a:gd name="connsiteX36" fmla="*/ 9133 w 10175"/>
                <a:gd name="connsiteY36" fmla="*/ 6509 h 13612"/>
                <a:gd name="connsiteX37" fmla="*/ 9193 w 10175"/>
                <a:gd name="connsiteY37" fmla="*/ 6449 h 13612"/>
                <a:gd name="connsiteX38" fmla="*/ 9253 w 10175"/>
                <a:gd name="connsiteY38" fmla="*/ 6418 h 13612"/>
                <a:gd name="connsiteX39" fmla="*/ 9413 w 10175"/>
                <a:gd name="connsiteY39" fmla="*/ 6328 h 13612"/>
                <a:gd name="connsiteX40" fmla="*/ 9594 w 10175"/>
                <a:gd name="connsiteY40" fmla="*/ 6207 h 13612"/>
                <a:gd name="connsiteX41" fmla="*/ 9514 w 10175"/>
                <a:gd name="connsiteY41" fmla="*/ 5995 h 13612"/>
                <a:gd name="connsiteX42" fmla="*/ 9454 w 10175"/>
                <a:gd name="connsiteY42" fmla="*/ 5769 h 13612"/>
                <a:gd name="connsiteX43" fmla="*/ 9514 w 10175"/>
                <a:gd name="connsiteY43" fmla="*/ 5648 h 13612"/>
                <a:gd name="connsiteX44" fmla="*/ 9674 w 10175"/>
                <a:gd name="connsiteY44" fmla="*/ 5421 h 13612"/>
                <a:gd name="connsiteX45" fmla="*/ 9914 w 10175"/>
                <a:gd name="connsiteY45" fmla="*/ 5149 h 13612"/>
                <a:gd name="connsiteX46" fmla="*/ 10175 w 10175"/>
                <a:gd name="connsiteY46" fmla="*/ 4757 h 13612"/>
                <a:gd name="connsiteX47" fmla="*/ 9654 w 10175"/>
                <a:gd name="connsiteY47" fmla="*/ 4575 h 13612"/>
                <a:gd name="connsiteX48" fmla="*/ 9093 w 10175"/>
                <a:gd name="connsiteY48" fmla="*/ 4439 h 13612"/>
                <a:gd name="connsiteX49" fmla="*/ 8552 w 10175"/>
                <a:gd name="connsiteY49" fmla="*/ 4319 h 13612"/>
                <a:gd name="connsiteX50" fmla="*/ 7991 w 10175"/>
                <a:gd name="connsiteY50" fmla="*/ 4213 h 13612"/>
                <a:gd name="connsiteX51" fmla="*/ 7409 w 10175"/>
                <a:gd name="connsiteY51" fmla="*/ 4122 h 13612"/>
                <a:gd name="connsiteX52" fmla="*/ 6808 w 10175"/>
                <a:gd name="connsiteY52" fmla="*/ 4001 h 13612"/>
                <a:gd name="connsiteX53" fmla="*/ 6227 w 10175"/>
                <a:gd name="connsiteY53" fmla="*/ 3850 h 13612"/>
                <a:gd name="connsiteX54" fmla="*/ 5586 w 10175"/>
                <a:gd name="connsiteY54" fmla="*/ 3669 h 13612"/>
                <a:gd name="connsiteX55" fmla="*/ 5466 w 10175"/>
                <a:gd name="connsiteY55" fmla="*/ 3609 h 13612"/>
                <a:gd name="connsiteX56" fmla="*/ 5325 w 10175"/>
                <a:gd name="connsiteY56" fmla="*/ 3548 h 13612"/>
                <a:gd name="connsiteX57" fmla="*/ 5225 w 10175"/>
                <a:gd name="connsiteY57" fmla="*/ 3473 h 13612"/>
                <a:gd name="connsiteX58" fmla="*/ 5105 w 10175"/>
                <a:gd name="connsiteY58" fmla="*/ 3367 h 13612"/>
                <a:gd name="connsiteX59" fmla="*/ 4924 w 10175"/>
                <a:gd name="connsiteY59" fmla="*/ 3155 h 13612"/>
                <a:gd name="connsiteX60" fmla="*/ 4744 w 10175"/>
                <a:gd name="connsiteY60" fmla="*/ 2914 h 13612"/>
                <a:gd name="connsiteX61" fmla="*/ 4584 w 10175"/>
                <a:gd name="connsiteY61" fmla="*/ 2687 h 13612"/>
                <a:gd name="connsiteX62" fmla="*/ 4363 w 10175"/>
                <a:gd name="connsiteY62" fmla="*/ 2491 h 13612"/>
                <a:gd name="connsiteX63" fmla="*/ 4263 w 10175"/>
                <a:gd name="connsiteY63" fmla="*/ 2400 h 13612"/>
                <a:gd name="connsiteX64" fmla="*/ 4123 w 10175"/>
                <a:gd name="connsiteY64" fmla="*/ 2370 h 13612"/>
                <a:gd name="connsiteX65" fmla="*/ 3963 w 10175"/>
                <a:gd name="connsiteY65" fmla="*/ 2325 h 13612"/>
                <a:gd name="connsiteX66" fmla="*/ 3802 w 10175"/>
                <a:gd name="connsiteY66" fmla="*/ 2310 h 13612"/>
                <a:gd name="connsiteX67" fmla="*/ 3482 w 10175"/>
                <a:gd name="connsiteY67" fmla="*/ 2310 h 13612"/>
                <a:gd name="connsiteX68" fmla="*/ 3241 w 10175"/>
                <a:gd name="connsiteY68" fmla="*/ 2310 h 13612"/>
                <a:gd name="connsiteX69" fmla="*/ 3061 w 10175"/>
                <a:gd name="connsiteY69" fmla="*/ 2310 h 13612"/>
                <a:gd name="connsiteX70" fmla="*/ 2941 w 10175"/>
                <a:gd name="connsiteY70" fmla="*/ 2310 h 13612"/>
                <a:gd name="connsiteX71" fmla="*/ 2760 w 10175"/>
                <a:gd name="connsiteY71" fmla="*/ 2279 h 13612"/>
                <a:gd name="connsiteX72" fmla="*/ 2600 w 10175"/>
                <a:gd name="connsiteY72" fmla="*/ 2249 h 13612"/>
                <a:gd name="connsiteX73" fmla="*/ 2460 w 10175"/>
                <a:gd name="connsiteY73" fmla="*/ 2189 h 13612"/>
                <a:gd name="connsiteX74" fmla="*/ 2379 w 10175"/>
                <a:gd name="connsiteY74" fmla="*/ 2083 h 13612"/>
                <a:gd name="connsiteX75" fmla="*/ 2199 w 10175"/>
                <a:gd name="connsiteY75" fmla="*/ 1887 h 13612"/>
                <a:gd name="connsiteX76" fmla="*/ 1979 w 10175"/>
                <a:gd name="connsiteY76" fmla="*/ 1660 h 13612"/>
                <a:gd name="connsiteX77" fmla="*/ 1022 w 10175"/>
                <a:gd name="connsiteY77" fmla="*/ 414 h 13612"/>
                <a:gd name="connsiteX78" fmla="*/ 5 w 10175"/>
                <a:gd name="connsiteY78" fmla="*/ 89 h 13612"/>
                <a:gd name="connsiteX79" fmla="*/ 282 w 10175"/>
                <a:gd name="connsiteY79" fmla="*/ 811 h 13612"/>
                <a:gd name="connsiteX80" fmla="*/ 1538 w 10175"/>
                <a:gd name="connsiteY80" fmla="*/ 2158 h 13612"/>
                <a:gd name="connsiteX81" fmla="*/ 1397 w 10175"/>
                <a:gd name="connsiteY81" fmla="*/ 2430 h 13612"/>
                <a:gd name="connsiteX82" fmla="*/ 1257 w 10175"/>
                <a:gd name="connsiteY82" fmla="*/ 2672 h 13612"/>
                <a:gd name="connsiteX83" fmla="*/ 1137 w 10175"/>
                <a:gd name="connsiteY83" fmla="*/ 2793 h 13612"/>
                <a:gd name="connsiteX84" fmla="*/ 997 w 10175"/>
                <a:gd name="connsiteY84" fmla="*/ 2914 h 13612"/>
                <a:gd name="connsiteX85" fmla="*/ 816 w 10175"/>
                <a:gd name="connsiteY85" fmla="*/ 2989 h 13612"/>
                <a:gd name="connsiteX86" fmla="*/ 616 w 10175"/>
                <a:gd name="connsiteY86" fmla="*/ 3095 h 13612"/>
                <a:gd name="connsiteX87" fmla="*/ 456 w 10175"/>
                <a:gd name="connsiteY87" fmla="*/ 3186 h 13612"/>
                <a:gd name="connsiteX88" fmla="*/ 295 w 10175"/>
                <a:gd name="connsiteY88" fmla="*/ 3291 h 13612"/>
                <a:gd name="connsiteX89" fmla="*/ 255 w 10175"/>
                <a:gd name="connsiteY89" fmla="*/ 3352 h 13612"/>
                <a:gd name="connsiteX90" fmla="*/ 195 w 10175"/>
                <a:gd name="connsiteY90" fmla="*/ 3427 h 13612"/>
                <a:gd name="connsiteX91" fmla="*/ 175 w 10175"/>
                <a:gd name="connsiteY91" fmla="*/ 3488 h 13612"/>
                <a:gd name="connsiteX92" fmla="*/ 175 w 10175"/>
                <a:gd name="connsiteY92" fmla="*/ 3578 h 13612"/>
                <a:gd name="connsiteX93" fmla="*/ 195 w 10175"/>
                <a:gd name="connsiteY93" fmla="*/ 3729 h 13612"/>
                <a:gd name="connsiteX94" fmla="*/ 215 w 10175"/>
                <a:gd name="connsiteY94" fmla="*/ 3881 h 13612"/>
                <a:gd name="connsiteX95" fmla="*/ 275 w 10175"/>
                <a:gd name="connsiteY95" fmla="*/ 3971 h 13612"/>
                <a:gd name="connsiteX96" fmla="*/ 335 w 10175"/>
                <a:gd name="connsiteY96" fmla="*/ 4062 h 13612"/>
                <a:gd name="connsiteX97" fmla="*/ 415 w 10175"/>
                <a:gd name="connsiteY97" fmla="*/ 4137 h 13612"/>
                <a:gd name="connsiteX98" fmla="*/ 496 w 10175"/>
                <a:gd name="connsiteY98" fmla="*/ 4198 h 13612"/>
                <a:gd name="connsiteX99" fmla="*/ 596 w 10175"/>
                <a:gd name="connsiteY99" fmla="*/ 4243 h 13612"/>
                <a:gd name="connsiteX100" fmla="*/ 696 w 10175"/>
                <a:gd name="connsiteY100" fmla="*/ 4273 h 13612"/>
                <a:gd name="connsiteX101" fmla="*/ 916 w 10175"/>
                <a:gd name="connsiteY101" fmla="*/ 4334 h 13612"/>
                <a:gd name="connsiteX102" fmla="*/ 1137 w 10175"/>
                <a:gd name="connsiteY102" fmla="*/ 4394 h 13612"/>
                <a:gd name="connsiteX103" fmla="*/ 1237 w 10175"/>
                <a:gd name="connsiteY103" fmla="*/ 4424 h 13612"/>
                <a:gd name="connsiteX104" fmla="*/ 1337 w 10175"/>
                <a:gd name="connsiteY104" fmla="*/ 4455 h 13612"/>
                <a:gd name="connsiteX105" fmla="*/ 1417 w 10175"/>
                <a:gd name="connsiteY105" fmla="*/ 4515 h 13612"/>
                <a:gd name="connsiteX106" fmla="*/ 1498 w 10175"/>
                <a:gd name="connsiteY106" fmla="*/ 4575 h 13612"/>
                <a:gd name="connsiteX107" fmla="*/ 1578 w 10175"/>
                <a:gd name="connsiteY107" fmla="*/ 4696 h 13612"/>
                <a:gd name="connsiteX108" fmla="*/ 1638 w 10175"/>
                <a:gd name="connsiteY108" fmla="*/ 4817 h 13612"/>
                <a:gd name="connsiteX109" fmla="*/ 1698 w 10175"/>
                <a:gd name="connsiteY109" fmla="*/ 4923 h 13612"/>
                <a:gd name="connsiteX110" fmla="*/ 1718 w 10175"/>
                <a:gd name="connsiteY110" fmla="*/ 5044 h 13612"/>
                <a:gd name="connsiteX111" fmla="*/ 1738 w 10175"/>
                <a:gd name="connsiteY111" fmla="*/ 5240 h 13612"/>
                <a:gd name="connsiteX112" fmla="*/ 1738 w 10175"/>
                <a:gd name="connsiteY112" fmla="*/ 5452 h 13612"/>
                <a:gd name="connsiteX113" fmla="*/ 1778 w 10175"/>
                <a:gd name="connsiteY113" fmla="*/ 5648 h 13612"/>
                <a:gd name="connsiteX114" fmla="*/ 1818 w 10175"/>
                <a:gd name="connsiteY114" fmla="*/ 5829 h 13612"/>
                <a:gd name="connsiteX115" fmla="*/ 1858 w 10175"/>
                <a:gd name="connsiteY115" fmla="*/ 5905 h 13612"/>
                <a:gd name="connsiteX116" fmla="*/ 1939 w 10175"/>
                <a:gd name="connsiteY116" fmla="*/ 5995 h 13612"/>
                <a:gd name="connsiteX117" fmla="*/ 2019 w 10175"/>
                <a:gd name="connsiteY117" fmla="*/ 6056 h 13612"/>
                <a:gd name="connsiteX118" fmla="*/ 2099 w 10175"/>
                <a:gd name="connsiteY118" fmla="*/ 6131 h 13612"/>
                <a:gd name="connsiteX119" fmla="*/ 2339 w 10175"/>
                <a:gd name="connsiteY119" fmla="*/ 6207 h 13612"/>
                <a:gd name="connsiteX120" fmla="*/ 2620 w 10175"/>
                <a:gd name="connsiteY120" fmla="*/ 6297 h 13612"/>
                <a:gd name="connsiteX121" fmla="*/ 2981 w 10175"/>
                <a:gd name="connsiteY121" fmla="*/ 6358 h 13612"/>
                <a:gd name="connsiteX122" fmla="*/ 3321 w 10175"/>
                <a:gd name="connsiteY122" fmla="*/ 6418 h 13612"/>
                <a:gd name="connsiteX123" fmla="*/ 3642 w 10175"/>
                <a:gd name="connsiteY123" fmla="*/ 6494 h 13612"/>
                <a:gd name="connsiteX124" fmla="*/ 3902 w 10175"/>
                <a:gd name="connsiteY124" fmla="*/ 6600 h 13612"/>
                <a:gd name="connsiteX125" fmla="*/ 4023 w 10175"/>
                <a:gd name="connsiteY125" fmla="*/ 6630 h 13612"/>
                <a:gd name="connsiteX126" fmla="*/ 4103 w 10175"/>
                <a:gd name="connsiteY126" fmla="*/ 6690 h 13612"/>
                <a:gd name="connsiteX127" fmla="*/ 4143 w 10175"/>
                <a:gd name="connsiteY127" fmla="*/ 6781 h 13612"/>
                <a:gd name="connsiteX128" fmla="*/ 4143 w 10175"/>
                <a:gd name="connsiteY128" fmla="*/ 6856 h 13612"/>
                <a:gd name="connsiteX129" fmla="*/ 4143 w 10175"/>
                <a:gd name="connsiteY129" fmla="*/ 7098 h 13612"/>
                <a:gd name="connsiteX130" fmla="*/ 4143 w 10175"/>
                <a:gd name="connsiteY130" fmla="*/ 7385 h 13612"/>
                <a:gd name="connsiteX131" fmla="*/ 4143 w 10175"/>
                <a:gd name="connsiteY131" fmla="*/ 7657 h 13612"/>
                <a:gd name="connsiteX132" fmla="*/ 4143 w 10175"/>
                <a:gd name="connsiteY132" fmla="*/ 7868 h 13612"/>
                <a:gd name="connsiteX133" fmla="*/ 4123 w 10175"/>
                <a:gd name="connsiteY133" fmla="*/ 8171 h 13612"/>
                <a:gd name="connsiteX134" fmla="*/ 4063 w 10175"/>
                <a:gd name="connsiteY134" fmla="*/ 8442 h 13612"/>
                <a:gd name="connsiteX135" fmla="*/ 4063 w 10175"/>
                <a:gd name="connsiteY135" fmla="*/ 8578 h 13612"/>
                <a:gd name="connsiteX136" fmla="*/ 4103 w 10175"/>
                <a:gd name="connsiteY136" fmla="*/ 8729 h 13612"/>
                <a:gd name="connsiteX137" fmla="*/ 4183 w 10175"/>
                <a:gd name="connsiteY137" fmla="*/ 8865 h 13612"/>
                <a:gd name="connsiteX138" fmla="*/ 4283 w 10175"/>
                <a:gd name="connsiteY138" fmla="*/ 9032 h 13612"/>
                <a:gd name="connsiteX139" fmla="*/ 4343 w 10175"/>
                <a:gd name="connsiteY139" fmla="*/ 9107 h 13612"/>
                <a:gd name="connsiteX140" fmla="*/ 4383 w 10175"/>
                <a:gd name="connsiteY140" fmla="*/ 9168 h 13612"/>
                <a:gd name="connsiteX141" fmla="*/ 4444 w 10175"/>
                <a:gd name="connsiteY141" fmla="*/ 9228 h 13612"/>
                <a:gd name="connsiteX142" fmla="*/ 4524 w 10175"/>
                <a:gd name="connsiteY142" fmla="*/ 9273 h 13612"/>
                <a:gd name="connsiteX143" fmla="*/ 4704 w 10175"/>
                <a:gd name="connsiteY143" fmla="*/ 9304 h 13612"/>
                <a:gd name="connsiteX144" fmla="*/ 4864 w 10175"/>
                <a:gd name="connsiteY144" fmla="*/ 9349 h 13612"/>
                <a:gd name="connsiteX145" fmla="*/ 5065 w 10175"/>
                <a:gd name="connsiteY145" fmla="*/ 9394 h 13612"/>
                <a:gd name="connsiteX146" fmla="*/ 5225 w 10175"/>
                <a:gd name="connsiteY146" fmla="*/ 9455 h 13612"/>
                <a:gd name="connsiteX147" fmla="*/ 5305 w 10175"/>
                <a:gd name="connsiteY147" fmla="*/ 9485 h 13612"/>
                <a:gd name="connsiteX148" fmla="*/ 5385 w 10175"/>
                <a:gd name="connsiteY148" fmla="*/ 9530 h 13612"/>
                <a:gd name="connsiteX149" fmla="*/ 5426 w 10175"/>
                <a:gd name="connsiteY149" fmla="*/ 9591 h 13612"/>
                <a:gd name="connsiteX150" fmla="*/ 5486 w 10175"/>
                <a:gd name="connsiteY150" fmla="*/ 9666 h 13612"/>
                <a:gd name="connsiteX151" fmla="*/ 5886 w 10175"/>
                <a:gd name="connsiteY151" fmla="*/ 10300 h 13612"/>
                <a:gd name="connsiteX152" fmla="*/ 6327 w 10175"/>
                <a:gd name="connsiteY152" fmla="*/ 10935 h 13612"/>
                <a:gd name="connsiteX153" fmla="*/ 6398 w 10175"/>
                <a:gd name="connsiteY153" fmla="*/ 12332 h 13612"/>
                <a:gd name="connsiteX154" fmla="*/ 7523 w 10175"/>
                <a:gd name="connsiteY154" fmla="*/ 13612 h 13612"/>
                <a:gd name="connsiteX0" fmla="*/ 7523 w 9935"/>
                <a:gd name="connsiteY0" fmla="*/ 13612 h 13612"/>
                <a:gd name="connsiteX1" fmla="*/ 7287 w 9935"/>
                <a:gd name="connsiteY1" fmla="*/ 12372 h 13612"/>
                <a:gd name="connsiteX2" fmla="*/ 7286 w 9935"/>
                <a:gd name="connsiteY2" fmla="*/ 12168 h 13612"/>
                <a:gd name="connsiteX3" fmla="*/ 7435 w 9935"/>
                <a:gd name="connsiteY3" fmla="*/ 11668 h 13612"/>
                <a:gd name="connsiteX4" fmla="*/ 7388 w 9935"/>
                <a:gd name="connsiteY4" fmla="*/ 11578 h 13612"/>
                <a:gd name="connsiteX5" fmla="*/ 7515 w 9935"/>
                <a:gd name="connsiteY5" fmla="*/ 11156 h 13612"/>
                <a:gd name="connsiteX6" fmla="*/ 7823 w 9935"/>
                <a:gd name="connsiteY6" fmla="*/ 11011 h 13612"/>
                <a:gd name="connsiteX7" fmla="*/ 7409 w 9935"/>
                <a:gd name="connsiteY7" fmla="*/ 10512 h 13612"/>
                <a:gd name="connsiteX8" fmla="*/ 7610 w 9935"/>
                <a:gd name="connsiteY8" fmla="*/ 10331 h 13612"/>
                <a:gd name="connsiteX9" fmla="*/ 7830 w 9935"/>
                <a:gd name="connsiteY9" fmla="*/ 10180 h 13612"/>
                <a:gd name="connsiteX10" fmla="*/ 8071 w 9935"/>
                <a:gd name="connsiteY10" fmla="*/ 10013 h 13612"/>
                <a:gd name="connsiteX11" fmla="*/ 8311 w 9935"/>
                <a:gd name="connsiteY11" fmla="*/ 9847 h 13612"/>
                <a:gd name="connsiteX12" fmla="*/ 8532 w 9935"/>
                <a:gd name="connsiteY12" fmla="*/ 9696 h 13612"/>
                <a:gd name="connsiteX13" fmla="*/ 8732 w 9935"/>
                <a:gd name="connsiteY13" fmla="*/ 9515 h 13612"/>
                <a:gd name="connsiteX14" fmla="*/ 8953 w 9935"/>
                <a:gd name="connsiteY14" fmla="*/ 9349 h 13612"/>
                <a:gd name="connsiteX15" fmla="*/ 9113 w 9935"/>
                <a:gd name="connsiteY15" fmla="*/ 9152 h 13612"/>
                <a:gd name="connsiteX16" fmla="*/ 9213 w 9935"/>
                <a:gd name="connsiteY16" fmla="*/ 8941 h 13612"/>
                <a:gd name="connsiteX17" fmla="*/ 9273 w 9935"/>
                <a:gd name="connsiteY17" fmla="*/ 8850 h 13612"/>
                <a:gd name="connsiteX18" fmla="*/ 9293 w 9935"/>
                <a:gd name="connsiteY18" fmla="*/ 8729 h 13612"/>
                <a:gd name="connsiteX19" fmla="*/ 9333 w 9935"/>
                <a:gd name="connsiteY19" fmla="*/ 8609 h 13612"/>
                <a:gd name="connsiteX20" fmla="*/ 9333 w 9935"/>
                <a:gd name="connsiteY20" fmla="*/ 8488 h 13612"/>
                <a:gd name="connsiteX21" fmla="*/ 9213 w 9935"/>
                <a:gd name="connsiteY21" fmla="*/ 8186 h 13612"/>
                <a:gd name="connsiteX22" fmla="*/ 9093 w 9935"/>
                <a:gd name="connsiteY22" fmla="*/ 7944 h 13612"/>
                <a:gd name="connsiteX23" fmla="*/ 9133 w 9935"/>
                <a:gd name="connsiteY23" fmla="*/ 7884 h 13612"/>
                <a:gd name="connsiteX24" fmla="*/ 9213 w 9935"/>
                <a:gd name="connsiteY24" fmla="*/ 7808 h 13612"/>
                <a:gd name="connsiteX25" fmla="*/ 9333 w 9935"/>
                <a:gd name="connsiteY25" fmla="*/ 7717 h 13612"/>
                <a:gd name="connsiteX26" fmla="*/ 9494 w 9935"/>
                <a:gd name="connsiteY26" fmla="*/ 7642 h 13612"/>
                <a:gd name="connsiteX27" fmla="*/ 9614 w 9935"/>
                <a:gd name="connsiteY27" fmla="*/ 7566 h 13612"/>
                <a:gd name="connsiteX28" fmla="*/ 9754 w 9935"/>
                <a:gd name="connsiteY28" fmla="*/ 7461 h 13612"/>
                <a:gd name="connsiteX29" fmla="*/ 9854 w 9935"/>
                <a:gd name="connsiteY29" fmla="*/ 7340 h 13612"/>
                <a:gd name="connsiteX30" fmla="*/ 9935 w 9935"/>
                <a:gd name="connsiteY30" fmla="*/ 7219 h 13612"/>
                <a:gd name="connsiteX31" fmla="*/ 9754 w 9935"/>
                <a:gd name="connsiteY31" fmla="*/ 7143 h 13612"/>
                <a:gd name="connsiteX32" fmla="*/ 9494 w 9935"/>
                <a:gd name="connsiteY32" fmla="*/ 6932 h 13612"/>
                <a:gd name="connsiteX33" fmla="*/ 9213 w 9935"/>
                <a:gd name="connsiteY33" fmla="*/ 6751 h 13612"/>
                <a:gd name="connsiteX34" fmla="*/ 9093 w 9935"/>
                <a:gd name="connsiteY34" fmla="*/ 6675 h 13612"/>
                <a:gd name="connsiteX35" fmla="*/ 9113 w 9935"/>
                <a:gd name="connsiteY35" fmla="*/ 6569 h 13612"/>
                <a:gd name="connsiteX36" fmla="*/ 9133 w 9935"/>
                <a:gd name="connsiteY36" fmla="*/ 6509 h 13612"/>
                <a:gd name="connsiteX37" fmla="*/ 9193 w 9935"/>
                <a:gd name="connsiteY37" fmla="*/ 6449 h 13612"/>
                <a:gd name="connsiteX38" fmla="*/ 9253 w 9935"/>
                <a:gd name="connsiteY38" fmla="*/ 6418 h 13612"/>
                <a:gd name="connsiteX39" fmla="*/ 9413 w 9935"/>
                <a:gd name="connsiteY39" fmla="*/ 6328 h 13612"/>
                <a:gd name="connsiteX40" fmla="*/ 9594 w 9935"/>
                <a:gd name="connsiteY40" fmla="*/ 6207 h 13612"/>
                <a:gd name="connsiteX41" fmla="*/ 9514 w 9935"/>
                <a:gd name="connsiteY41" fmla="*/ 5995 h 13612"/>
                <a:gd name="connsiteX42" fmla="*/ 9454 w 9935"/>
                <a:gd name="connsiteY42" fmla="*/ 5769 h 13612"/>
                <a:gd name="connsiteX43" fmla="*/ 9514 w 9935"/>
                <a:gd name="connsiteY43" fmla="*/ 5648 h 13612"/>
                <a:gd name="connsiteX44" fmla="*/ 9674 w 9935"/>
                <a:gd name="connsiteY44" fmla="*/ 5421 h 13612"/>
                <a:gd name="connsiteX45" fmla="*/ 9914 w 9935"/>
                <a:gd name="connsiteY45" fmla="*/ 5149 h 13612"/>
                <a:gd name="connsiteX46" fmla="*/ 9352 w 9935"/>
                <a:gd name="connsiteY46" fmla="*/ 5086 h 13612"/>
                <a:gd name="connsiteX47" fmla="*/ 9654 w 9935"/>
                <a:gd name="connsiteY47" fmla="*/ 4575 h 13612"/>
                <a:gd name="connsiteX48" fmla="*/ 9093 w 9935"/>
                <a:gd name="connsiteY48" fmla="*/ 4439 h 13612"/>
                <a:gd name="connsiteX49" fmla="*/ 8552 w 9935"/>
                <a:gd name="connsiteY49" fmla="*/ 4319 h 13612"/>
                <a:gd name="connsiteX50" fmla="*/ 7991 w 9935"/>
                <a:gd name="connsiteY50" fmla="*/ 4213 h 13612"/>
                <a:gd name="connsiteX51" fmla="*/ 7409 w 9935"/>
                <a:gd name="connsiteY51" fmla="*/ 4122 h 13612"/>
                <a:gd name="connsiteX52" fmla="*/ 6808 w 9935"/>
                <a:gd name="connsiteY52" fmla="*/ 4001 h 13612"/>
                <a:gd name="connsiteX53" fmla="*/ 6227 w 9935"/>
                <a:gd name="connsiteY53" fmla="*/ 3850 h 13612"/>
                <a:gd name="connsiteX54" fmla="*/ 5586 w 9935"/>
                <a:gd name="connsiteY54" fmla="*/ 3669 h 13612"/>
                <a:gd name="connsiteX55" fmla="*/ 5466 w 9935"/>
                <a:gd name="connsiteY55" fmla="*/ 3609 h 13612"/>
                <a:gd name="connsiteX56" fmla="*/ 5325 w 9935"/>
                <a:gd name="connsiteY56" fmla="*/ 3548 h 13612"/>
                <a:gd name="connsiteX57" fmla="*/ 5225 w 9935"/>
                <a:gd name="connsiteY57" fmla="*/ 3473 h 13612"/>
                <a:gd name="connsiteX58" fmla="*/ 5105 w 9935"/>
                <a:gd name="connsiteY58" fmla="*/ 3367 h 13612"/>
                <a:gd name="connsiteX59" fmla="*/ 4924 w 9935"/>
                <a:gd name="connsiteY59" fmla="*/ 3155 h 13612"/>
                <a:gd name="connsiteX60" fmla="*/ 4744 w 9935"/>
                <a:gd name="connsiteY60" fmla="*/ 2914 h 13612"/>
                <a:gd name="connsiteX61" fmla="*/ 4584 w 9935"/>
                <a:gd name="connsiteY61" fmla="*/ 2687 h 13612"/>
                <a:gd name="connsiteX62" fmla="*/ 4363 w 9935"/>
                <a:gd name="connsiteY62" fmla="*/ 2491 h 13612"/>
                <a:gd name="connsiteX63" fmla="*/ 4263 w 9935"/>
                <a:gd name="connsiteY63" fmla="*/ 2400 h 13612"/>
                <a:gd name="connsiteX64" fmla="*/ 4123 w 9935"/>
                <a:gd name="connsiteY64" fmla="*/ 2370 h 13612"/>
                <a:gd name="connsiteX65" fmla="*/ 3963 w 9935"/>
                <a:gd name="connsiteY65" fmla="*/ 2325 h 13612"/>
                <a:gd name="connsiteX66" fmla="*/ 3802 w 9935"/>
                <a:gd name="connsiteY66" fmla="*/ 2310 h 13612"/>
                <a:gd name="connsiteX67" fmla="*/ 3482 w 9935"/>
                <a:gd name="connsiteY67" fmla="*/ 2310 h 13612"/>
                <a:gd name="connsiteX68" fmla="*/ 3241 w 9935"/>
                <a:gd name="connsiteY68" fmla="*/ 2310 h 13612"/>
                <a:gd name="connsiteX69" fmla="*/ 3061 w 9935"/>
                <a:gd name="connsiteY69" fmla="*/ 2310 h 13612"/>
                <a:gd name="connsiteX70" fmla="*/ 2941 w 9935"/>
                <a:gd name="connsiteY70" fmla="*/ 2310 h 13612"/>
                <a:gd name="connsiteX71" fmla="*/ 2760 w 9935"/>
                <a:gd name="connsiteY71" fmla="*/ 2279 h 13612"/>
                <a:gd name="connsiteX72" fmla="*/ 2600 w 9935"/>
                <a:gd name="connsiteY72" fmla="*/ 2249 h 13612"/>
                <a:gd name="connsiteX73" fmla="*/ 2460 w 9935"/>
                <a:gd name="connsiteY73" fmla="*/ 2189 h 13612"/>
                <a:gd name="connsiteX74" fmla="*/ 2379 w 9935"/>
                <a:gd name="connsiteY74" fmla="*/ 2083 h 13612"/>
                <a:gd name="connsiteX75" fmla="*/ 2199 w 9935"/>
                <a:gd name="connsiteY75" fmla="*/ 1887 h 13612"/>
                <a:gd name="connsiteX76" fmla="*/ 1979 w 9935"/>
                <a:gd name="connsiteY76" fmla="*/ 1660 h 13612"/>
                <a:gd name="connsiteX77" fmla="*/ 1022 w 9935"/>
                <a:gd name="connsiteY77" fmla="*/ 414 h 13612"/>
                <a:gd name="connsiteX78" fmla="*/ 5 w 9935"/>
                <a:gd name="connsiteY78" fmla="*/ 89 h 13612"/>
                <a:gd name="connsiteX79" fmla="*/ 282 w 9935"/>
                <a:gd name="connsiteY79" fmla="*/ 811 h 13612"/>
                <a:gd name="connsiteX80" fmla="*/ 1538 w 9935"/>
                <a:gd name="connsiteY80" fmla="*/ 2158 h 13612"/>
                <a:gd name="connsiteX81" fmla="*/ 1397 w 9935"/>
                <a:gd name="connsiteY81" fmla="*/ 2430 h 13612"/>
                <a:gd name="connsiteX82" fmla="*/ 1257 w 9935"/>
                <a:gd name="connsiteY82" fmla="*/ 2672 h 13612"/>
                <a:gd name="connsiteX83" fmla="*/ 1137 w 9935"/>
                <a:gd name="connsiteY83" fmla="*/ 2793 h 13612"/>
                <a:gd name="connsiteX84" fmla="*/ 997 w 9935"/>
                <a:gd name="connsiteY84" fmla="*/ 2914 h 13612"/>
                <a:gd name="connsiteX85" fmla="*/ 816 w 9935"/>
                <a:gd name="connsiteY85" fmla="*/ 2989 h 13612"/>
                <a:gd name="connsiteX86" fmla="*/ 616 w 9935"/>
                <a:gd name="connsiteY86" fmla="*/ 3095 h 13612"/>
                <a:gd name="connsiteX87" fmla="*/ 456 w 9935"/>
                <a:gd name="connsiteY87" fmla="*/ 3186 h 13612"/>
                <a:gd name="connsiteX88" fmla="*/ 295 w 9935"/>
                <a:gd name="connsiteY88" fmla="*/ 3291 h 13612"/>
                <a:gd name="connsiteX89" fmla="*/ 255 w 9935"/>
                <a:gd name="connsiteY89" fmla="*/ 3352 h 13612"/>
                <a:gd name="connsiteX90" fmla="*/ 195 w 9935"/>
                <a:gd name="connsiteY90" fmla="*/ 3427 h 13612"/>
                <a:gd name="connsiteX91" fmla="*/ 175 w 9935"/>
                <a:gd name="connsiteY91" fmla="*/ 3488 h 13612"/>
                <a:gd name="connsiteX92" fmla="*/ 175 w 9935"/>
                <a:gd name="connsiteY92" fmla="*/ 3578 h 13612"/>
                <a:gd name="connsiteX93" fmla="*/ 195 w 9935"/>
                <a:gd name="connsiteY93" fmla="*/ 3729 h 13612"/>
                <a:gd name="connsiteX94" fmla="*/ 215 w 9935"/>
                <a:gd name="connsiteY94" fmla="*/ 3881 h 13612"/>
                <a:gd name="connsiteX95" fmla="*/ 275 w 9935"/>
                <a:gd name="connsiteY95" fmla="*/ 3971 h 13612"/>
                <a:gd name="connsiteX96" fmla="*/ 335 w 9935"/>
                <a:gd name="connsiteY96" fmla="*/ 4062 h 13612"/>
                <a:gd name="connsiteX97" fmla="*/ 415 w 9935"/>
                <a:gd name="connsiteY97" fmla="*/ 4137 h 13612"/>
                <a:gd name="connsiteX98" fmla="*/ 496 w 9935"/>
                <a:gd name="connsiteY98" fmla="*/ 4198 h 13612"/>
                <a:gd name="connsiteX99" fmla="*/ 596 w 9935"/>
                <a:gd name="connsiteY99" fmla="*/ 4243 h 13612"/>
                <a:gd name="connsiteX100" fmla="*/ 696 w 9935"/>
                <a:gd name="connsiteY100" fmla="*/ 4273 h 13612"/>
                <a:gd name="connsiteX101" fmla="*/ 916 w 9935"/>
                <a:gd name="connsiteY101" fmla="*/ 4334 h 13612"/>
                <a:gd name="connsiteX102" fmla="*/ 1137 w 9935"/>
                <a:gd name="connsiteY102" fmla="*/ 4394 h 13612"/>
                <a:gd name="connsiteX103" fmla="*/ 1237 w 9935"/>
                <a:gd name="connsiteY103" fmla="*/ 4424 h 13612"/>
                <a:gd name="connsiteX104" fmla="*/ 1337 w 9935"/>
                <a:gd name="connsiteY104" fmla="*/ 4455 h 13612"/>
                <a:gd name="connsiteX105" fmla="*/ 1417 w 9935"/>
                <a:gd name="connsiteY105" fmla="*/ 4515 h 13612"/>
                <a:gd name="connsiteX106" fmla="*/ 1498 w 9935"/>
                <a:gd name="connsiteY106" fmla="*/ 4575 h 13612"/>
                <a:gd name="connsiteX107" fmla="*/ 1578 w 9935"/>
                <a:gd name="connsiteY107" fmla="*/ 4696 h 13612"/>
                <a:gd name="connsiteX108" fmla="*/ 1638 w 9935"/>
                <a:gd name="connsiteY108" fmla="*/ 4817 h 13612"/>
                <a:gd name="connsiteX109" fmla="*/ 1698 w 9935"/>
                <a:gd name="connsiteY109" fmla="*/ 4923 h 13612"/>
                <a:gd name="connsiteX110" fmla="*/ 1718 w 9935"/>
                <a:gd name="connsiteY110" fmla="*/ 5044 h 13612"/>
                <a:gd name="connsiteX111" fmla="*/ 1738 w 9935"/>
                <a:gd name="connsiteY111" fmla="*/ 5240 h 13612"/>
                <a:gd name="connsiteX112" fmla="*/ 1738 w 9935"/>
                <a:gd name="connsiteY112" fmla="*/ 5452 h 13612"/>
                <a:gd name="connsiteX113" fmla="*/ 1778 w 9935"/>
                <a:gd name="connsiteY113" fmla="*/ 5648 h 13612"/>
                <a:gd name="connsiteX114" fmla="*/ 1818 w 9935"/>
                <a:gd name="connsiteY114" fmla="*/ 5829 h 13612"/>
                <a:gd name="connsiteX115" fmla="*/ 1858 w 9935"/>
                <a:gd name="connsiteY115" fmla="*/ 5905 h 13612"/>
                <a:gd name="connsiteX116" fmla="*/ 1939 w 9935"/>
                <a:gd name="connsiteY116" fmla="*/ 5995 h 13612"/>
                <a:gd name="connsiteX117" fmla="*/ 2019 w 9935"/>
                <a:gd name="connsiteY117" fmla="*/ 6056 h 13612"/>
                <a:gd name="connsiteX118" fmla="*/ 2099 w 9935"/>
                <a:gd name="connsiteY118" fmla="*/ 6131 h 13612"/>
                <a:gd name="connsiteX119" fmla="*/ 2339 w 9935"/>
                <a:gd name="connsiteY119" fmla="*/ 6207 h 13612"/>
                <a:gd name="connsiteX120" fmla="*/ 2620 w 9935"/>
                <a:gd name="connsiteY120" fmla="*/ 6297 h 13612"/>
                <a:gd name="connsiteX121" fmla="*/ 2981 w 9935"/>
                <a:gd name="connsiteY121" fmla="*/ 6358 h 13612"/>
                <a:gd name="connsiteX122" fmla="*/ 3321 w 9935"/>
                <a:gd name="connsiteY122" fmla="*/ 6418 h 13612"/>
                <a:gd name="connsiteX123" fmla="*/ 3642 w 9935"/>
                <a:gd name="connsiteY123" fmla="*/ 6494 h 13612"/>
                <a:gd name="connsiteX124" fmla="*/ 3902 w 9935"/>
                <a:gd name="connsiteY124" fmla="*/ 6600 h 13612"/>
                <a:gd name="connsiteX125" fmla="*/ 4023 w 9935"/>
                <a:gd name="connsiteY125" fmla="*/ 6630 h 13612"/>
                <a:gd name="connsiteX126" fmla="*/ 4103 w 9935"/>
                <a:gd name="connsiteY126" fmla="*/ 6690 h 13612"/>
                <a:gd name="connsiteX127" fmla="*/ 4143 w 9935"/>
                <a:gd name="connsiteY127" fmla="*/ 6781 h 13612"/>
                <a:gd name="connsiteX128" fmla="*/ 4143 w 9935"/>
                <a:gd name="connsiteY128" fmla="*/ 6856 h 13612"/>
                <a:gd name="connsiteX129" fmla="*/ 4143 w 9935"/>
                <a:gd name="connsiteY129" fmla="*/ 7098 h 13612"/>
                <a:gd name="connsiteX130" fmla="*/ 4143 w 9935"/>
                <a:gd name="connsiteY130" fmla="*/ 7385 h 13612"/>
                <a:gd name="connsiteX131" fmla="*/ 4143 w 9935"/>
                <a:gd name="connsiteY131" fmla="*/ 7657 h 13612"/>
                <a:gd name="connsiteX132" fmla="*/ 4143 w 9935"/>
                <a:gd name="connsiteY132" fmla="*/ 7868 h 13612"/>
                <a:gd name="connsiteX133" fmla="*/ 4123 w 9935"/>
                <a:gd name="connsiteY133" fmla="*/ 8171 h 13612"/>
                <a:gd name="connsiteX134" fmla="*/ 4063 w 9935"/>
                <a:gd name="connsiteY134" fmla="*/ 8442 h 13612"/>
                <a:gd name="connsiteX135" fmla="*/ 4063 w 9935"/>
                <a:gd name="connsiteY135" fmla="*/ 8578 h 13612"/>
                <a:gd name="connsiteX136" fmla="*/ 4103 w 9935"/>
                <a:gd name="connsiteY136" fmla="*/ 8729 h 13612"/>
                <a:gd name="connsiteX137" fmla="*/ 4183 w 9935"/>
                <a:gd name="connsiteY137" fmla="*/ 8865 h 13612"/>
                <a:gd name="connsiteX138" fmla="*/ 4283 w 9935"/>
                <a:gd name="connsiteY138" fmla="*/ 9032 h 13612"/>
                <a:gd name="connsiteX139" fmla="*/ 4343 w 9935"/>
                <a:gd name="connsiteY139" fmla="*/ 9107 h 13612"/>
                <a:gd name="connsiteX140" fmla="*/ 4383 w 9935"/>
                <a:gd name="connsiteY140" fmla="*/ 9168 h 13612"/>
                <a:gd name="connsiteX141" fmla="*/ 4444 w 9935"/>
                <a:gd name="connsiteY141" fmla="*/ 9228 h 13612"/>
                <a:gd name="connsiteX142" fmla="*/ 4524 w 9935"/>
                <a:gd name="connsiteY142" fmla="*/ 9273 h 13612"/>
                <a:gd name="connsiteX143" fmla="*/ 4704 w 9935"/>
                <a:gd name="connsiteY143" fmla="*/ 9304 h 13612"/>
                <a:gd name="connsiteX144" fmla="*/ 4864 w 9935"/>
                <a:gd name="connsiteY144" fmla="*/ 9349 h 13612"/>
                <a:gd name="connsiteX145" fmla="*/ 5065 w 9935"/>
                <a:gd name="connsiteY145" fmla="*/ 9394 h 13612"/>
                <a:gd name="connsiteX146" fmla="*/ 5225 w 9935"/>
                <a:gd name="connsiteY146" fmla="*/ 9455 h 13612"/>
                <a:gd name="connsiteX147" fmla="*/ 5305 w 9935"/>
                <a:gd name="connsiteY147" fmla="*/ 9485 h 13612"/>
                <a:gd name="connsiteX148" fmla="*/ 5385 w 9935"/>
                <a:gd name="connsiteY148" fmla="*/ 9530 h 13612"/>
                <a:gd name="connsiteX149" fmla="*/ 5426 w 9935"/>
                <a:gd name="connsiteY149" fmla="*/ 9591 h 13612"/>
                <a:gd name="connsiteX150" fmla="*/ 5486 w 9935"/>
                <a:gd name="connsiteY150" fmla="*/ 9666 h 13612"/>
                <a:gd name="connsiteX151" fmla="*/ 5886 w 9935"/>
                <a:gd name="connsiteY151" fmla="*/ 10300 h 13612"/>
                <a:gd name="connsiteX152" fmla="*/ 6327 w 9935"/>
                <a:gd name="connsiteY152" fmla="*/ 10935 h 13612"/>
                <a:gd name="connsiteX153" fmla="*/ 6398 w 9935"/>
                <a:gd name="connsiteY153" fmla="*/ 12332 h 13612"/>
                <a:gd name="connsiteX154" fmla="*/ 7523 w 9935"/>
                <a:gd name="connsiteY154" fmla="*/ 13612 h 13612"/>
                <a:gd name="connsiteX0" fmla="*/ 7572 w 10057"/>
                <a:gd name="connsiteY0" fmla="*/ 10000 h 10000"/>
                <a:gd name="connsiteX1" fmla="*/ 7335 w 10057"/>
                <a:gd name="connsiteY1" fmla="*/ 9089 h 10000"/>
                <a:gd name="connsiteX2" fmla="*/ 7334 w 10057"/>
                <a:gd name="connsiteY2" fmla="*/ 8939 h 10000"/>
                <a:gd name="connsiteX3" fmla="*/ 7484 w 10057"/>
                <a:gd name="connsiteY3" fmla="*/ 8572 h 10000"/>
                <a:gd name="connsiteX4" fmla="*/ 7436 w 10057"/>
                <a:gd name="connsiteY4" fmla="*/ 8506 h 10000"/>
                <a:gd name="connsiteX5" fmla="*/ 7564 w 10057"/>
                <a:gd name="connsiteY5" fmla="*/ 8196 h 10000"/>
                <a:gd name="connsiteX6" fmla="*/ 7874 w 10057"/>
                <a:gd name="connsiteY6" fmla="*/ 8089 h 10000"/>
                <a:gd name="connsiteX7" fmla="*/ 7457 w 10057"/>
                <a:gd name="connsiteY7" fmla="*/ 7723 h 10000"/>
                <a:gd name="connsiteX8" fmla="*/ 7660 w 10057"/>
                <a:gd name="connsiteY8" fmla="*/ 7590 h 10000"/>
                <a:gd name="connsiteX9" fmla="*/ 7881 w 10057"/>
                <a:gd name="connsiteY9" fmla="*/ 7479 h 10000"/>
                <a:gd name="connsiteX10" fmla="*/ 8124 w 10057"/>
                <a:gd name="connsiteY10" fmla="*/ 7356 h 10000"/>
                <a:gd name="connsiteX11" fmla="*/ 8365 w 10057"/>
                <a:gd name="connsiteY11" fmla="*/ 7234 h 10000"/>
                <a:gd name="connsiteX12" fmla="*/ 8588 w 10057"/>
                <a:gd name="connsiteY12" fmla="*/ 7123 h 10000"/>
                <a:gd name="connsiteX13" fmla="*/ 8789 w 10057"/>
                <a:gd name="connsiteY13" fmla="*/ 6990 h 10000"/>
                <a:gd name="connsiteX14" fmla="*/ 9012 w 10057"/>
                <a:gd name="connsiteY14" fmla="*/ 6868 h 10000"/>
                <a:gd name="connsiteX15" fmla="*/ 9173 w 10057"/>
                <a:gd name="connsiteY15" fmla="*/ 6723 h 10000"/>
                <a:gd name="connsiteX16" fmla="*/ 9273 w 10057"/>
                <a:gd name="connsiteY16" fmla="*/ 6568 h 10000"/>
                <a:gd name="connsiteX17" fmla="*/ 9334 w 10057"/>
                <a:gd name="connsiteY17" fmla="*/ 6502 h 10000"/>
                <a:gd name="connsiteX18" fmla="*/ 9354 w 10057"/>
                <a:gd name="connsiteY18" fmla="*/ 6413 h 10000"/>
                <a:gd name="connsiteX19" fmla="*/ 9394 w 10057"/>
                <a:gd name="connsiteY19" fmla="*/ 6325 h 10000"/>
                <a:gd name="connsiteX20" fmla="*/ 9394 w 10057"/>
                <a:gd name="connsiteY20" fmla="*/ 6236 h 10000"/>
                <a:gd name="connsiteX21" fmla="*/ 9273 w 10057"/>
                <a:gd name="connsiteY21" fmla="*/ 6014 h 10000"/>
                <a:gd name="connsiteX22" fmla="*/ 9152 w 10057"/>
                <a:gd name="connsiteY22" fmla="*/ 5836 h 10000"/>
                <a:gd name="connsiteX23" fmla="*/ 9193 w 10057"/>
                <a:gd name="connsiteY23" fmla="*/ 5792 h 10000"/>
                <a:gd name="connsiteX24" fmla="*/ 9273 w 10057"/>
                <a:gd name="connsiteY24" fmla="*/ 5736 h 10000"/>
                <a:gd name="connsiteX25" fmla="*/ 9394 w 10057"/>
                <a:gd name="connsiteY25" fmla="*/ 5669 h 10000"/>
                <a:gd name="connsiteX26" fmla="*/ 9556 w 10057"/>
                <a:gd name="connsiteY26" fmla="*/ 5614 h 10000"/>
                <a:gd name="connsiteX27" fmla="*/ 9677 w 10057"/>
                <a:gd name="connsiteY27" fmla="*/ 5558 h 10000"/>
                <a:gd name="connsiteX28" fmla="*/ 9818 w 10057"/>
                <a:gd name="connsiteY28" fmla="*/ 5481 h 10000"/>
                <a:gd name="connsiteX29" fmla="*/ 9918 w 10057"/>
                <a:gd name="connsiteY29" fmla="*/ 5392 h 10000"/>
                <a:gd name="connsiteX30" fmla="*/ 10000 w 10057"/>
                <a:gd name="connsiteY30" fmla="*/ 5303 h 10000"/>
                <a:gd name="connsiteX31" fmla="*/ 9818 w 10057"/>
                <a:gd name="connsiteY31" fmla="*/ 5248 h 10000"/>
                <a:gd name="connsiteX32" fmla="*/ 9556 w 10057"/>
                <a:gd name="connsiteY32" fmla="*/ 5093 h 10000"/>
                <a:gd name="connsiteX33" fmla="*/ 9273 w 10057"/>
                <a:gd name="connsiteY33" fmla="*/ 4960 h 10000"/>
                <a:gd name="connsiteX34" fmla="*/ 9152 w 10057"/>
                <a:gd name="connsiteY34" fmla="*/ 4904 h 10000"/>
                <a:gd name="connsiteX35" fmla="*/ 9173 w 10057"/>
                <a:gd name="connsiteY35" fmla="*/ 4826 h 10000"/>
                <a:gd name="connsiteX36" fmla="*/ 9193 w 10057"/>
                <a:gd name="connsiteY36" fmla="*/ 4782 h 10000"/>
                <a:gd name="connsiteX37" fmla="*/ 9253 w 10057"/>
                <a:gd name="connsiteY37" fmla="*/ 4738 h 10000"/>
                <a:gd name="connsiteX38" fmla="*/ 9314 w 10057"/>
                <a:gd name="connsiteY38" fmla="*/ 4715 h 10000"/>
                <a:gd name="connsiteX39" fmla="*/ 9475 w 10057"/>
                <a:gd name="connsiteY39" fmla="*/ 4649 h 10000"/>
                <a:gd name="connsiteX40" fmla="*/ 9657 w 10057"/>
                <a:gd name="connsiteY40" fmla="*/ 4560 h 10000"/>
                <a:gd name="connsiteX41" fmla="*/ 9576 w 10057"/>
                <a:gd name="connsiteY41" fmla="*/ 4404 h 10000"/>
                <a:gd name="connsiteX42" fmla="*/ 9516 w 10057"/>
                <a:gd name="connsiteY42" fmla="*/ 4238 h 10000"/>
                <a:gd name="connsiteX43" fmla="*/ 9576 w 10057"/>
                <a:gd name="connsiteY43" fmla="*/ 4149 h 10000"/>
                <a:gd name="connsiteX44" fmla="*/ 9737 w 10057"/>
                <a:gd name="connsiteY44" fmla="*/ 3983 h 10000"/>
                <a:gd name="connsiteX45" fmla="*/ 9979 w 10057"/>
                <a:gd name="connsiteY45" fmla="*/ 3783 h 10000"/>
                <a:gd name="connsiteX46" fmla="*/ 9413 w 10057"/>
                <a:gd name="connsiteY46" fmla="*/ 3736 h 10000"/>
                <a:gd name="connsiteX47" fmla="*/ 10057 w 10057"/>
                <a:gd name="connsiteY47" fmla="*/ 3497 h 10000"/>
                <a:gd name="connsiteX48" fmla="*/ 9152 w 10057"/>
                <a:gd name="connsiteY48" fmla="*/ 3261 h 10000"/>
                <a:gd name="connsiteX49" fmla="*/ 8608 w 10057"/>
                <a:gd name="connsiteY49" fmla="*/ 3173 h 10000"/>
                <a:gd name="connsiteX50" fmla="*/ 8043 w 10057"/>
                <a:gd name="connsiteY50" fmla="*/ 3095 h 10000"/>
                <a:gd name="connsiteX51" fmla="*/ 7457 w 10057"/>
                <a:gd name="connsiteY51" fmla="*/ 3028 h 10000"/>
                <a:gd name="connsiteX52" fmla="*/ 6853 w 10057"/>
                <a:gd name="connsiteY52" fmla="*/ 2939 h 10000"/>
                <a:gd name="connsiteX53" fmla="*/ 6268 w 10057"/>
                <a:gd name="connsiteY53" fmla="*/ 2828 h 10000"/>
                <a:gd name="connsiteX54" fmla="*/ 5623 w 10057"/>
                <a:gd name="connsiteY54" fmla="*/ 2695 h 10000"/>
                <a:gd name="connsiteX55" fmla="*/ 5502 w 10057"/>
                <a:gd name="connsiteY55" fmla="*/ 2651 h 10000"/>
                <a:gd name="connsiteX56" fmla="*/ 5360 w 10057"/>
                <a:gd name="connsiteY56" fmla="*/ 2607 h 10000"/>
                <a:gd name="connsiteX57" fmla="*/ 5259 w 10057"/>
                <a:gd name="connsiteY57" fmla="*/ 2551 h 10000"/>
                <a:gd name="connsiteX58" fmla="*/ 5138 w 10057"/>
                <a:gd name="connsiteY58" fmla="*/ 2474 h 10000"/>
                <a:gd name="connsiteX59" fmla="*/ 4956 w 10057"/>
                <a:gd name="connsiteY59" fmla="*/ 2318 h 10000"/>
                <a:gd name="connsiteX60" fmla="*/ 4775 w 10057"/>
                <a:gd name="connsiteY60" fmla="*/ 2141 h 10000"/>
                <a:gd name="connsiteX61" fmla="*/ 4614 w 10057"/>
                <a:gd name="connsiteY61" fmla="*/ 1974 h 10000"/>
                <a:gd name="connsiteX62" fmla="*/ 4392 w 10057"/>
                <a:gd name="connsiteY62" fmla="*/ 1830 h 10000"/>
                <a:gd name="connsiteX63" fmla="*/ 4291 w 10057"/>
                <a:gd name="connsiteY63" fmla="*/ 1763 h 10000"/>
                <a:gd name="connsiteX64" fmla="*/ 4150 w 10057"/>
                <a:gd name="connsiteY64" fmla="*/ 1741 h 10000"/>
                <a:gd name="connsiteX65" fmla="*/ 3989 w 10057"/>
                <a:gd name="connsiteY65" fmla="*/ 1708 h 10000"/>
                <a:gd name="connsiteX66" fmla="*/ 3827 w 10057"/>
                <a:gd name="connsiteY66" fmla="*/ 1697 h 10000"/>
                <a:gd name="connsiteX67" fmla="*/ 3505 w 10057"/>
                <a:gd name="connsiteY67" fmla="*/ 1697 h 10000"/>
                <a:gd name="connsiteX68" fmla="*/ 3262 w 10057"/>
                <a:gd name="connsiteY68" fmla="*/ 1697 h 10000"/>
                <a:gd name="connsiteX69" fmla="*/ 3081 w 10057"/>
                <a:gd name="connsiteY69" fmla="*/ 1697 h 10000"/>
                <a:gd name="connsiteX70" fmla="*/ 2960 w 10057"/>
                <a:gd name="connsiteY70" fmla="*/ 1697 h 10000"/>
                <a:gd name="connsiteX71" fmla="*/ 2778 w 10057"/>
                <a:gd name="connsiteY71" fmla="*/ 1674 h 10000"/>
                <a:gd name="connsiteX72" fmla="*/ 2617 w 10057"/>
                <a:gd name="connsiteY72" fmla="*/ 1652 h 10000"/>
                <a:gd name="connsiteX73" fmla="*/ 2476 w 10057"/>
                <a:gd name="connsiteY73" fmla="*/ 1608 h 10000"/>
                <a:gd name="connsiteX74" fmla="*/ 2395 w 10057"/>
                <a:gd name="connsiteY74" fmla="*/ 1530 h 10000"/>
                <a:gd name="connsiteX75" fmla="*/ 2213 w 10057"/>
                <a:gd name="connsiteY75" fmla="*/ 1386 h 10000"/>
                <a:gd name="connsiteX76" fmla="*/ 1992 w 10057"/>
                <a:gd name="connsiteY76" fmla="*/ 1220 h 10000"/>
                <a:gd name="connsiteX77" fmla="*/ 1029 w 10057"/>
                <a:gd name="connsiteY77" fmla="*/ 304 h 10000"/>
                <a:gd name="connsiteX78" fmla="*/ 5 w 10057"/>
                <a:gd name="connsiteY78" fmla="*/ 65 h 10000"/>
                <a:gd name="connsiteX79" fmla="*/ 284 w 10057"/>
                <a:gd name="connsiteY79" fmla="*/ 596 h 10000"/>
                <a:gd name="connsiteX80" fmla="*/ 1548 w 10057"/>
                <a:gd name="connsiteY80" fmla="*/ 1585 h 10000"/>
                <a:gd name="connsiteX81" fmla="*/ 1406 w 10057"/>
                <a:gd name="connsiteY81" fmla="*/ 1785 h 10000"/>
                <a:gd name="connsiteX82" fmla="*/ 1265 w 10057"/>
                <a:gd name="connsiteY82" fmla="*/ 1963 h 10000"/>
                <a:gd name="connsiteX83" fmla="*/ 1144 w 10057"/>
                <a:gd name="connsiteY83" fmla="*/ 2052 h 10000"/>
                <a:gd name="connsiteX84" fmla="*/ 1004 w 10057"/>
                <a:gd name="connsiteY84" fmla="*/ 2141 h 10000"/>
                <a:gd name="connsiteX85" fmla="*/ 821 w 10057"/>
                <a:gd name="connsiteY85" fmla="*/ 2196 h 10000"/>
                <a:gd name="connsiteX86" fmla="*/ 620 w 10057"/>
                <a:gd name="connsiteY86" fmla="*/ 2274 h 10000"/>
                <a:gd name="connsiteX87" fmla="*/ 459 w 10057"/>
                <a:gd name="connsiteY87" fmla="*/ 2341 h 10000"/>
                <a:gd name="connsiteX88" fmla="*/ 297 w 10057"/>
                <a:gd name="connsiteY88" fmla="*/ 2418 h 10000"/>
                <a:gd name="connsiteX89" fmla="*/ 257 w 10057"/>
                <a:gd name="connsiteY89" fmla="*/ 2463 h 10000"/>
                <a:gd name="connsiteX90" fmla="*/ 196 w 10057"/>
                <a:gd name="connsiteY90" fmla="*/ 2518 h 10000"/>
                <a:gd name="connsiteX91" fmla="*/ 176 w 10057"/>
                <a:gd name="connsiteY91" fmla="*/ 2562 h 10000"/>
                <a:gd name="connsiteX92" fmla="*/ 176 w 10057"/>
                <a:gd name="connsiteY92" fmla="*/ 2629 h 10000"/>
                <a:gd name="connsiteX93" fmla="*/ 196 w 10057"/>
                <a:gd name="connsiteY93" fmla="*/ 2739 h 10000"/>
                <a:gd name="connsiteX94" fmla="*/ 216 w 10057"/>
                <a:gd name="connsiteY94" fmla="*/ 2851 h 10000"/>
                <a:gd name="connsiteX95" fmla="*/ 277 w 10057"/>
                <a:gd name="connsiteY95" fmla="*/ 2917 h 10000"/>
                <a:gd name="connsiteX96" fmla="*/ 337 w 10057"/>
                <a:gd name="connsiteY96" fmla="*/ 2984 h 10000"/>
                <a:gd name="connsiteX97" fmla="*/ 418 w 10057"/>
                <a:gd name="connsiteY97" fmla="*/ 3039 h 10000"/>
                <a:gd name="connsiteX98" fmla="*/ 499 w 10057"/>
                <a:gd name="connsiteY98" fmla="*/ 3084 h 10000"/>
                <a:gd name="connsiteX99" fmla="*/ 600 w 10057"/>
                <a:gd name="connsiteY99" fmla="*/ 3117 h 10000"/>
                <a:gd name="connsiteX100" fmla="*/ 701 w 10057"/>
                <a:gd name="connsiteY100" fmla="*/ 3139 h 10000"/>
                <a:gd name="connsiteX101" fmla="*/ 922 w 10057"/>
                <a:gd name="connsiteY101" fmla="*/ 3184 h 10000"/>
                <a:gd name="connsiteX102" fmla="*/ 1144 w 10057"/>
                <a:gd name="connsiteY102" fmla="*/ 3228 h 10000"/>
                <a:gd name="connsiteX103" fmla="*/ 1245 w 10057"/>
                <a:gd name="connsiteY103" fmla="*/ 3250 h 10000"/>
                <a:gd name="connsiteX104" fmla="*/ 1346 w 10057"/>
                <a:gd name="connsiteY104" fmla="*/ 3273 h 10000"/>
                <a:gd name="connsiteX105" fmla="*/ 1426 w 10057"/>
                <a:gd name="connsiteY105" fmla="*/ 3317 h 10000"/>
                <a:gd name="connsiteX106" fmla="*/ 1508 w 10057"/>
                <a:gd name="connsiteY106" fmla="*/ 3361 h 10000"/>
                <a:gd name="connsiteX107" fmla="*/ 1588 w 10057"/>
                <a:gd name="connsiteY107" fmla="*/ 3450 h 10000"/>
                <a:gd name="connsiteX108" fmla="*/ 1649 w 10057"/>
                <a:gd name="connsiteY108" fmla="*/ 3539 h 10000"/>
                <a:gd name="connsiteX109" fmla="*/ 1709 w 10057"/>
                <a:gd name="connsiteY109" fmla="*/ 3617 h 10000"/>
                <a:gd name="connsiteX110" fmla="*/ 1729 w 10057"/>
                <a:gd name="connsiteY110" fmla="*/ 3706 h 10000"/>
                <a:gd name="connsiteX111" fmla="*/ 1749 w 10057"/>
                <a:gd name="connsiteY111" fmla="*/ 3850 h 10000"/>
                <a:gd name="connsiteX112" fmla="*/ 1749 w 10057"/>
                <a:gd name="connsiteY112" fmla="*/ 4005 h 10000"/>
                <a:gd name="connsiteX113" fmla="*/ 1790 w 10057"/>
                <a:gd name="connsiteY113" fmla="*/ 4149 h 10000"/>
                <a:gd name="connsiteX114" fmla="*/ 1830 w 10057"/>
                <a:gd name="connsiteY114" fmla="*/ 4282 h 10000"/>
                <a:gd name="connsiteX115" fmla="*/ 1870 w 10057"/>
                <a:gd name="connsiteY115" fmla="*/ 4338 h 10000"/>
                <a:gd name="connsiteX116" fmla="*/ 1952 w 10057"/>
                <a:gd name="connsiteY116" fmla="*/ 4404 h 10000"/>
                <a:gd name="connsiteX117" fmla="*/ 2032 w 10057"/>
                <a:gd name="connsiteY117" fmla="*/ 4449 h 10000"/>
                <a:gd name="connsiteX118" fmla="*/ 2113 w 10057"/>
                <a:gd name="connsiteY118" fmla="*/ 4504 h 10000"/>
                <a:gd name="connsiteX119" fmla="*/ 2354 w 10057"/>
                <a:gd name="connsiteY119" fmla="*/ 4560 h 10000"/>
                <a:gd name="connsiteX120" fmla="*/ 2637 w 10057"/>
                <a:gd name="connsiteY120" fmla="*/ 4626 h 10000"/>
                <a:gd name="connsiteX121" fmla="*/ 3001 w 10057"/>
                <a:gd name="connsiteY121" fmla="*/ 4671 h 10000"/>
                <a:gd name="connsiteX122" fmla="*/ 3343 w 10057"/>
                <a:gd name="connsiteY122" fmla="*/ 4715 h 10000"/>
                <a:gd name="connsiteX123" fmla="*/ 3666 w 10057"/>
                <a:gd name="connsiteY123" fmla="*/ 4771 h 10000"/>
                <a:gd name="connsiteX124" fmla="*/ 3928 w 10057"/>
                <a:gd name="connsiteY124" fmla="*/ 4849 h 10000"/>
                <a:gd name="connsiteX125" fmla="*/ 4049 w 10057"/>
                <a:gd name="connsiteY125" fmla="*/ 4871 h 10000"/>
                <a:gd name="connsiteX126" fmla="*/ 4130 w 10057"/>
                <a:gd name="connsiteY126" fmla="*/ 4915 h 10000"/>
                <a:gd name="connsiteX127" fmla="*/ 4170 w 10057"/>
                <a:gd name="connsiteY127" fmla="*/ 4982 h 10000"/>
                <a:gd name="connsiteX128" fmla="*/ 4170 w 10057"/>
                <a:gd name="connsiteY128" fmla="*/ 5037 h 10000"/>
                <a:gd name="connsiteX129" fmla="*/ 4170 w 10057"/>
                <a:gd name="connsiteY129" fmla="*/ 5215 h 10000"/>
                <a:gd name="connsiteX130" fmla="*/ 4170 w 10057"/>
                <a:gd name="connsiteY130" fmla="*/ 5425 h 10000"/>
                <a:gd name="connsiteX131" fmla="*/ 4170 w 10057"/>
                <a:gd name="connsiteY131" fmla="*/ 5625 h 10000"/>
                <a:gd name="connsiteX132" fmla="*/ 4170 w 10057"/>
                <a:gd name="connsiteY132" fmla="*/ 5780 h 10000"/>
                <a:gd name="connsiteX133" fmla="*/ 4150 w 10057"/>
                <a:gd name="connsiteY133" fmla="*/ 6003 h 10000"/>
                <a:gd name="connsiteX134" fmla="*/ 4090 w 10057"/>
                <a:gd name="connsiteY134" fmla="*/ 6202 h 10000"/>
                <a:gd name="connsiteX135" fmla="*/ 4090 w 10057"/>
                <a:gd name="connsiteY135" fmla="*/ 6302 h 10000"/>
                <a:gd name="connsiteX136" fmla="*/ 4130 w 10057"/>
                <a:gd name="connsiteY136" fmla="*/ 6413 h 10000"/>
                <a:gd name="connsiteX137" fmla="*/ 4210 w 10057"/>
                <a:gd name="connsiteY137" fmla="*/ 6513 h 10000"/>
                <a:gd name="connsiteX138" fmla="*/ 4311 w 10057"/>
                <a:gd name="connsiteY138" fmla="*/ 6635 h 10000"/>
                <a:gd name="connsiteX139" fmla="*/ 4371 w 10057"/>
                <a:gd name="connsiteY139" fmla="*/ 6690 h 10000"/>
                <a:gd name="connsiteX140" fmla="*/ 4412 w 10057"/>
                <a:gd name="connsiteY140" fmla="*/ 6735 h 10000"/>
                <a:gd name="connsiteX141" fmla="*/ 4473 w 10057"/>
                <a:gd name="connsiteY141" fmla="*/ 6779 h 10000"/>
                <a:gd name="connsiteX142" fmla="*/ 4554 w 10057"/>
                <a:gd name="connsiteY142" fmla="*/ 6812 h 10000"/>
                <a:gd name="connsiteX143" fmla="*/ 4735 w 10057"/>
                <a:gd name="connsiteY143" fmla="*/ 6835 h 10000"/>
                <a:gd name="connsiteX144" fmla="*/ 4896 w 10057"/>
                <a:gd name="connsiteY144" fmla="*/ 6868 h 10000"/>
                <a:gd name="connsiteX145" fmla="*/ 5098 w 10057"/>
                <a:gd name="connsiteY145" fmla="*/ 6901 h 10000"/>
                <a:gd name="connsiteX146" fmla="*/ 5259 w 10057"/>
                <a:gd name="connsiteY146" fmla="*/ 6946 h 10000"/>
                <a:gd name="connsiteX147" fmla="*/ 5340 w 10057"/>
                <a:gd name="connsiteY147" fmla="*/ 6968 h 10000"/>
                <a:gd name="connsiteX148" fmla="*/ 5420 w 10057"/>
                <a:gd name="connsiteY148" fmla="*/ 7001 h 10000"/>
                <a:gd name="connsiteX149" fmla="*/ 5461 w 10057"/>
                <a:gd name="connsiteY149" fmla="*/ 7046 h 10000"/>
                <a:gd name="connsiteX150" fmla="*/ 5522 w 10057"/>
                <a:gd name="connsiteY150" fmla="*/ 7101 h 10000"/>
                <a:gd name="connsiteX151" fmla="*/ 5925 w 10057"/>
                <a:gd name="connsiteY151" fmla="*/ 7567 h 10000"/>
                <a:gd name="connsiteX152" fmla="*/ 6368 w 10057"/>
                <a:gd name="connsiteY152" fmla="*/ 8033 h 10000"/>
                <a:gd name="connsiteX153" fmla="*/ 6440 w 10057"/>
                <a:gd name="connsiteY153" fmla="*/ 9060 h 10000"/>
                <a:gd name="connsiteX154" fmla="*/ 7572 w 10057"/>
                <a:gd name="connsiteY154" fmla="*/ 10000 h 10000"/>
                <a:gd name="connsiteX0" fmla="*/ 7572 w 10057"/>
                <a:gd name="connsiteY0" fmla="*/ 10000 h 10000"/>
                <a:gd name="connsiteX1" fmla="*/ 7335 w 10057"/>
                <a:gd name="connsiteY1" fmla="*/ 9089 h 10000"/>
                <a:gd name="connsiteX2" fmla="*/ 7334 w 10057"/>
                <a:gd name="connsiteY2" fmla="*/ 8939 h 10000"/>
                <a:gd name="connsiteX3" fmla="*/ 7484 w 10057"/>
                <a:gd name="connsiteY3" fmla="*/ 8572 h 10000"/>
                <a:gd name="connsiteX4" fmla="*/ 7436 w 10057"/>
                <a:gd name="connsiteY4" fmla="*/ 8506 h 10000"/>
                <a:gd name="connsiteX5" fmla="*/ 7564 w 10057"/>
                <a:gd name="connsiteY5" fmla="*/ 8196 h 10000"/>
                <a:gd name="connsiteX6" fmla="*/ 7874 w 10057"/>
                <a:gd name="connsiteY6" fmla="*/ 8089 h 10000"/>
                <a:gd name="connsiteX7" fmla="*/ 7457 w 10057"/>
                <a:gd name="connsiteY7" fmla="*/ 7723 h 10000"/>
                <a:gd name="connsiteX8" fmla="*/ 7660 w 10057"/>
                <a:gd name="connsiteY8" fmla="*/ 7590 h 10000"/>
                <a:gd name="connsiteX9" fmla="*/ 7881 w 10057"/>
                <a:gd name="connsiteY9" fmla="*/ 7479 h 10000"/>
                <a:gd name="connsiteX10" fmla="*/ 8124 w 10057"/>
                <a:gd name="connsiteY10" fmla="*/ 7356 h 10000"/>
                <a:gd name="connsiteX11" fmla="*/ 8365 w 10057"/>
                <a:gd name="connsiteY11" fmla="*/ 7234 h 10000"/>
                <a:gd name="connsiteX12" fmla="*/ 8588 w 10057"/>
                <a:gd name="connsiteY12" fmla="*/ 7123 h 10000"/>
                <a:gd name="connsiteX13" fmla="*/ 8789 w 10057"/>
                <a:gd name="connsiteY13" fmla="*/ 6990 h 10000"/>
                <a:gd name="connsiteX14" fmla="*/ 9012 w 10057"/>
                <a:gd name="connsiteY14" fmla="*/ 6868 h 10000"/>
                <a:gd name="connsiteX15" fmla="*/ 9173 w 10057"/>
                <a:gd name="connsiteY15" fmla="*/ 6723 h 10000"/>
                <a:gd name="connsiteX16" fmla="*/ 9273 w 10057"/>
                <a:gd name="connsiteY16" fmla="*/ 6568 h 10000"/>
                <a:gd name="connsiteX17" fmla="*/ 9334 w 10057"/>
                <a:gd name="connsiteY17" fmla="*/ 6502 h 10000"/>
                <a:gd name="connsiteX18" fmla="*/ 9354 w 10057"/>
                <a:gd name="connsiteY18" fmla="*/ 6413 h 10000"/>
                <a:gd name="connsiteX19" fmla="*/ 9394 w 10057"/>
                <a:gd name="connsiteY19" fmla="*/ 6325 h 10000"/>
                <a:gd name="connsiteX20" fmla="*/ 9394 w 10057"/>
                <a:gd name="connsiteY20" fmla="*/ 6236 h 10000"/>
                <a:gd name="connsiteX21" fmla="*/ 9273 w 10057"/>
                <a:gd name="connsiteY21" fmla="*/ 6014 h 10000"/>
                <a:gd name="connsiteX22" fmla="*/ 9152 w 10057"/>
                <a:gd name="connsiteY22" fmla="*/ 5836 h 10000"/>
                <a:gd name="connsiteX23" fmla="*/ 9193 w 10057"/>
                <a:gd name="connsiteY23" fmla="*/ 5792 h 10000"/>
                <a:gd name="connsiteX24" fmla="*/ 9273 w 10057"/>
                <a:gd name="connsiteY24" fmla="*/ 5736 h 10000"/>
                <a:gd name="connsiteX25" fmla="*/ 9394 w 10057"/>
                <a:gd name="connsiteY25" fmla="*/ 5669 h 10000"/>
                <a:gd name="connsiteX26" fmla="*/ 9556 w 10057"/>
                <a:gd name="connsiteY26" fmla="*/ 5614 h 10000"/>
                <a:gd name="connsiteX27" fmla="*/ 9677 w 10057"/>
                <a:gd name="connsiteY27" fmla="*/ 5558 h 10000"/>
                <a:gd name="connsiteX28" fmla="*/ 9818 w 10057"/>
                <a:gd name="connsiteY28" fmla="*/ 5481 h 10000"/>
                <a:gd name="connsiteX29" fmla="*/ 9918 w 10057"/>
                <a:gd name="connsiteY29" fmla="*/ 5392 h 10000"/>
                <a:gd name="connsiteX30" fmla="*/ 10000 w 10057"/>
                <a:gd name="connsiteY30" fmla="*/ 5303 h 10000"/>
                <a:gd name="connsiteX31" fmla="*/ 9818 w 10057"/>
                <a:gd name="connsiteY31" fmla="*/ 5248 h 10000"/>
                <a:gd name="connsiteX32" fmla="*/ 9556 w 10057"/>
                <a:gd name="connsiteY32" fmla="*/ 5093 h 10000"/>
                <a:gd name="connsiteX33" fmla="*/ 9273 w 10057"/>
                <a:gd name="connsiteY33" fmla="*/ 4960 h 10000"/>
                <a:gd name="connsiteX34" fmla="*/ 9152 w 10057"/>
                <a:gd name="connsiteY34" fmla="*/ 4904 h 10000"/>
                <a:gd name="connsiteX35" fmla="*/ 9173 w 10057"/>
                <a:gd name="connsiteY35" fmla="*/ 4826 h 10000"/>
                <a:gd name="connsiteX36" fmla="*/ 9193 w 10057"/>
                <a:gd name="connsiteY36" fmla="*/ 4782 h 10000"/>
                <a:gd name="connsiteX37" fmla="*/ 9253 w 10057"/>
                <a:gd name="connsiteY37" fmla="*/ 4738 h 10000"/>
                <a:gd name="connsiteX38" fmla="*/ 9314 w 10057"/>
                <a:gd name="connsiteY38" fmla="*/ 4715 h 10000"/>
                <a:gd name="connsiteX39" fmla="*/ 9475 w 10057"/>
                <a:gd name="connsiteY39" fmla="*/ 4649 h 10000"/>
                <a:gd name="connsiteX40" fmla="*/ 9657 w 10057"/>
                <a:gd name="connsiteY40" fmla="*/ 4560 h 10000"/>
                <a:gd name="connsiteX41" fmla="*/ 9576 w 10057"/>
                <a:gd name="connsiteY41" fmla="*/ 4404 h 10000"/>
                <a:gd name="connsiteX42" fmla="*/ 9516 w 10057"/>
                <a:gd name="connsiteY42" fmla="*/ 4238 h 10000"/>
                <a:gd name="connsiteX43" fmla="*/ 9576 w 10057"/>
                <a:gd name="connsiteY43" fmla="*/ 4149 h 10000"/>
                <a:gd name="connsiteX44" fmla="*/ 9737 w 10057"/>
                <a:gd name="connsiteY44" fmla="*/ 3983 h 10000"/>
                <a:gd name="connsiteX45" fmla="*/ 9979 w 10057"/>
                <a:gd name="connsiteY45" fmla="*/ 3783 h 10000"/>
                <a:gd name="connsiteX46" fmla="*/ 9780 w 10057"/>
                <a:gd name="connsiteY46" fmla="*/ 3728 h 10000"/>
                <a:gd name="connsiteX47" fmla="*/ 10057 w 10057"/>
                <a:gd name="connsiteY47" fmla="*/ 3497 h 10000"/>
                <a:gd name="connsiteX48" fmla="*/ 9152 w 10057"/>
                <a:gd name="connsiteY48" fmla="*/ 3261 h 10000"/>
                <a:gd name="connsiteX49" fmla="*/ 8608 w 10057"/>
                <a:gd name="connsiteY49" fmla="*/ 3173 h 10000"/>
                <a:gd name="connsiteX50" fmla="*/ 8043 w 10057"/>
                <a:gd name="connsiteY50" fmla="*/ 3095 h 10000"/>
                <a:gd name="connsiteX51" fmla="*/ 7457 w 10057"/>
                <a:gd name="connsiteY51" fmla="*/ 3028 h 10000"/>
                <a:gd name="connsiteX52" fmla="*/ 6853 w 10057"/>
                <a:gd name="connsiteY52" fmla="*/ 2939 h 10000"/>
                <a:gd name="connsiteX53" fmla="*/ 6268 w 10057"/>
                <a:gd name="connsiteY53" fmla="*/ 2828 h 10000"/>
                <a:gd name="connsiteX54" fmla="*/ 5623 w 10057"/>
                <a:gd name="connsiteY54" fmla="*/ 2695 h 10000"/>
                <a:gd name="connsiteX55" fmla="*/ 5502 w 10057"/>
                <a:gd name="connsiteY55" fmla="*/ 2651 h 10000"/>
                <a:gd name="connsiteX56" fmla="*/ 5360 w 10057"/>
                <a:gd name="connsiteY56" fmla="*/ 2607 h 10000"/>
                <a:gd name="connsiteX57" fmla="*/ 5259 w 10057"/>
                <a:gd name="connsiteY57" fmla="*/ 2551 h 10000"/>
                <a:gd name="connsiteX58" fmla="*/ 5138 w 10057"/>
                <a:gd name="connsiteY58" fmla="*/ 2474 h 10000"/>
                <a:gd name="connsiteX59" fmla="*/ 4956 w 10057"/>
                <a:gd name="connsiteY59" fmla="*/ 2318 h 10000"/>
                <a:gd name="connsiteX60" fmla="*/ 4775 w 10057"/>
                <a:gd name="connsiteY60" fmla="*/ 2141 h 10000"/>
                <a:gd name="connsiteX61" fmla="*/ 4614 w 10057"/>
                <a:gd name="connsiteY61" fmla="*/ 1974 h 10000"/>
                <a:gd name="connsiteX62" fmla="*/ 4392 w 10057"/>
                <a:gd name="connsiteY62" fmla="*/ 1830 h 10000"/>
                <a:gd name="connsiteX63" fmla="*/ 4291 w 10057"/>
                <a:gd name="connsiteY63" fmla="*/ 1763 h 10000"/>
                <a:gd name="connsiteX64" fmla="*/ 4150 w 10057"/>
                <a:gd name="connsiteY64" fmla="*/ 1741 h 10000"/>
                <a:gd name="connsiteX65" fmla="*/ 3989 w 10057"/>
                <a:gd name="connsiteY65" fmla="*/ 1708 h 10000"/>
                <a:gd name="connsiteX66" fmla="*/ 3827 w 10057"/>
                <a:gd name="connsiteY66" fmla="*/ 1697 h 10000"/>
                <a:gd name="connsiteX67" fmla="*/ 3505 w 10057"/>
                <a:gd name="connsiteY67" fmla="*/ 1697 h 10000"/>
                <a:gd name="connsiteX68" fmla="*/ 3262 w 10057"/>
                <a:gd name="connsiteY68" fmla="*/ 1697 h 10000"/>
                <a:gd name="connsiteX69" fmla="*/ 3081 w 10057"/>
                <a:gd name="connsiteY69" fmla="*/ 1697 h 10000"/>
                <a:gd name="connsiteX70" fmla="*/ 2960 w 10057"/>
                <a:gd name="connsiteY70" fmla="*/ 1697 h 10000"/>
                <a:gd name="connsiteX71" fmla="*/ 2778 w 10057"/>
                <a:gd name="connsiteY71" fmla="*/ 1674 h 10000"/>
                <a:gd name="connsiteX72" fmla="*/ 2617 w 10057"/>
                <a:gd name="connsiteY72" fmla="*/ 1652 h 10000"/>
                <a:gd name="connsiteX73" fmla="*/ 2476 w 10057"/>
                <a:gd name="connsiteY73" fmla="*/ 1608 h 10000"/>
                <a:gd name="connsiteX74" fmla="*/ 2395 w 10057"/>
                <a:gd name="connsiteY74" fmla="*/ 1530 h 10000"/>
                <a:gd name="connsiteX75" fmla="*/ 2213 w 10057"/>
                <a:gd name="connsiteY75" fmla="*/ 1386 h 10000"/>
                <a:gd name="connsiteX76" fmla="*/ 1992 w 10057"/>
                <a:gd name="connsiteY76" fmla="*/ 1220 h 10000"/>
                <a:gd name="connsiteX77" fmla="*/ 1029 w 10057"/>
                <a:gd name="connsiteY77" fmla="*/ 304 h 10000"/>
                <a:gd name="connsiteX78" fmla="*/ 5 w 10057"/>
                <a:gd name="connsiteY78" fmla="*/ 65 h 10000"/>
                <a:gd name="connsiteX79" fmla="*/ 284 w 10057"/>
                <a:gd name="connsiteY79" fmla="*/ 596 h 10000"/>
                <a:gd name="connsiteX80" fmla="*/ 1548 w 10057"/>
                <a:gd name="connsiteY80" fmla="*/ 1585 h 10000"/>
                <a:gd name="connsiteX81" fmla="*/ 1406 w 10057"/>
                <a:gd name="connsiteY81" fmla="*/ 1785 h 10000"/>
                <a:gd name="connsiteX82" fmla="*/ 1265 w 10057"/>
                <a:gd name="connsiteY82" fmla="*/ 1963 h 10000"/>
                <a:gd name="connsiteX83" fmla="*/ 1144 w 10057"/>
                <a:gd name="connsiteY83" fmla="*/ 2052 h 10000"/>
                <a:gd name="connsiteX84" fmla="*/ 1004 w 10057"/>
                <a:gd name="connsiteY84" fmla="*/ 2141 h 10000"/>
                <a:gd name="connsiteX85" fmla="*/ 821 w 10057"/>
                <a:gd name="connsiteY85" fmla="*/ 2196 h 10000"/>
                <a:gd name="connsiteX86" fmla="*/ 620 w 10057"/>
                <a:gd name="connsiteY86" fmla="*/ 2274 h 10000"/>
                <a:gd name="connsiteX87" fmla="*/ 459 w 10057"/>
                <a:gd name="connsiteY87" fmla="*/ 2341 h 10000"/>
                <a:gd name="connsiteX88" fmla="*/ 297 w 10057"/>
                <a:gd name="connsiteY88" fmla="*/ 2418 h 10000"/>
                <a:gd name="connsiteX89" fmla="*/ 257 w 10057"/>
                <a:gd name="connsiteY89" fmla="*/ 2463 h 10000"/>
                <a:gd name="connsiteX90" fmla="*/ 196 w 10057"/>
                <a:gd name="connsiteY90" fmla="*/ 2518 h 10000"/>
                <a:gd name="connsiteX91" fmla="*/ 176 w 10057"/>
                <a:gd name="connsiteY91" fmla="*/ 2562 h 10000"/>
                <a:gd name="connsiteX92" fmla="*/ 176 w 10057"/>
                <a:gd name="connsiteY92" fmla="*/ 2629 h 10000"/>
                <a:gd name="connsiteX93" fmla="*/ 196 w 10057"/>
                <a:gd name="connsiteY93" fmla="*/ 2739 h 10000"/>
                <a:gd name="connsiteX94" fmla="*/ 216 w 10057"/>
                <a:gd name="connsiteY94" fmla="*/ 2851 h 10000"/>
                <a:gd name="connsiteX95" fmla="*/ 277 w 10057"/>
                <a:gd name="connsiteY95" fmla="*/ 2917 h 10000"/>
                <a:gd name="connsiteX96" fmla="*/ 337 w 10057"/>
                <a:gd name="connsiteY96" fmla="*/ 2984 h 10000"/>
                <a:gd name="connsiteX97" fmla="*/ 418 w 10057"/>
                <a:gd name="connsiteY97" fmla="*/ 3039 h 10000"/>
                <a:gd name="connsiteX98" fmla="*/ 499 w 10057"/>
                <a:gd name="connsiteY98" fmla="*/ 3084 h 10000"/>
                <a:gd name="connsiteX99" fmla="*/ 600 w 10057"/>
                <a:gd name="connsiteY99" fmla="*/ 3117 h 10000"/>
                <a:gd name="connsiteX100" fmla="*/ 701 w 10057"/>
                <a:gd name="connsiteY100" fmla="*/ 3139 h 10000"/>
                <a:gd name="connsiteX101" fmla="*/ 922 w 10057"/>
                <a:gd name="connsiteY101" fmla="*/ 3184 h 10000"/>
                <a:gd name="connsiteX102" fmla="*/ 1144 w 10057"/>
                <a:gd name="connsiteY102" fmla="*/ 3228 h 10000"/>
                <a:gd name="connsiteX103" fmla="*/ 1245 w 10057"/>
                <a:gd name="connsiteY103" fmla="*/ 3250 h 10000"/>
                <a:gd name="connsiteX104" fmla="*/ 1346 w 10057"/>
                <a:gd name="connsiteY104" fmla="*/ 3273 h 10000"/>
                <a:gd name="connsiteX105" fmla="*/ 1426 w 10057"/>
                <a:gd name="connsiteY105" fmla="*/ 3317 h 10000"/>
                <a:gd name="connsiteX106" fmla="*/ 1508 w 10057"/>
                <a:gd name="connsiteY106" fmla="*/ 3361 h 10000"/>
                <a:gd name="connsiteX107" fmla="*/ 1588 w 10057"/>
                <a:gd name="connsiteY107" fmla="*/ 3450 h 10000"/>
                <a:gd name="connsiteX108" fmla="*/ 1649 w 10057"/>
                <a:gd name="connsiteY108" fmla="*/ 3539 h 10000"/>
                <a:gd name="connsiteX109" fmla="*/ 1709 w 10057"/>
                <a:gd name="connsiteY109" fmla="*/ 3617 h 10000"/>
                <a:gd name="connsiteX110" fmla="*/ 1729 w 10057"/>
                <a:gd name="connsiteY110" fmla="*/ 3706 h 10000"/>
                <a:gd name="connsiteX111" fmla="*/ 1749 w 10057"/>
                <a:gd name="connsiteY111" fmla="*/ 3850 h 10000"/>
                <a:gd name="connsiteX112" fmla="*/ 1749 w 10057"/>
                <a:gd name="connsiteY112" fmla="*/ 4005 h 10000"/>
                <a:gd name="connsiteX113" fmla="*/ 1790 w 10057"/>
                <a:gd name="connsiteY113" fmla="*/ 4149 h 10000"/>
                <a:gd name="connsiteX114" fmla="*/ 1830 w 10057"/>
                <a:gd name="connsiteY114" fmla="*/ 4282 h 10000"/>
                <a:gd name="connsiteX115" fmla="*/ 1870 w 10057"/>
                <a:gd name="connsiteY115" fmla="*/ 4338 h 10000"/>
                <a:gd name="connsiteX116" fmla="*/ 1952 w 10057"/>
                <a:gd name="connsiteY116" fmla="*/ 4404 h 10000"/>
                <a:gd name="connsiteX117" fmla="*/ 2032 w 10057"/>
                <a:gd name="connsiteY117" fmla="*/ 4449 h 10000"/>
                <a:gd name="connsiteX118" fmla="*/ 2113 w 10057"/>
                <a:gd name="connsiteY118" fmla="*/ 4504 h 10000"/>
                <a:gd name="connsiteX119" fmla="*/ 2354 w 10057"/>
                <a:gd name="connsiteY119" fmla="*/ 4560 h 10000"/>
                <a:gd name="connsiteX120" fmla="*/ 2637 w 10057"/>
                <a:gd name="connsiteY120" fmla="*/ 4626 h 10000"/>
                <a:gd name="connsiteX121" fmla="*/ 3001 w 10057"/>
                <a:gd name="connsiteY121" fmla="*/ 4671 h 10000"/>
                <a:gd name="connsiteX122" fmla="*/ 3343 w 10057"/>
                <a:gd name="connsiteY122" fmla="*/ 4715 h 10000"/>
                <a:gd name="connsiteX123" fmla="*/ 3666 w 10057"/>
                <a:gd name="connsiteY123" fmla="*/ 4771 h 10000"/>
                <a:gd name="connsiteX124" fmla="*/ 3928 w 10057"/>
                <a:gd name="connsiteY124" fmla="*/ 4849 h 10000"/>
                <a:gd name="connsiteX125" fmla="*/ 4049 w 10057"/>
                <a:gd name="connsiteY125" fmla="*/ 4871 h 10000"/>
                <a:gd name="connsiteX126" fmla="*/ 4130 w 10057"/>
                <a:gd name="connsiteY126" fmla="*/ 4915 h 10000"/>
                <a:gd name="connsiteX127" fmla="*/ 4170 w 10057"/>
                <a:gd name="connsiteY127" fmla="*/ 4982 h 10000"/>
                <a:gd name="connsiteX128" fmla="*/ 4170 w 10057"/>
                <a:gd name="connsiteY128" fmla="*/ 5037 h 10000"/>
                <a:gd name="connsiteX129" fmla="*/ 4170 w 10057"/>
                <a:gd name="connsiteY129" fmla="*/ 5215 h 10000"/>
                <a:gd name="connsiteX130" fmla="*/ 4170 w 10057"/>
                <a:gd name="connsiteY130" fmla="*/ 5425 h 10000"/>
                <a:gd name="connsiteX131" fmla="*/ 4170 w 10057"/>
                <a:gd name="connsiteY131" fmla="*/ 5625 h 10000"/>
                <a:gd name="connsiteX132" fmla="*/ 4170 w 10057"/>
                <a:gd name="connsiteY132" fmla="*/ 5780 h 10000"/>
                <a:gd name="connsiteX133" fmla="*/ 4150 w 10057"/>
                <a:gd name="connsiteY133" fmla="*/ 6003 h 10000"/>
                <a:gd name="connsiteX134" fmla="*/ 4090 w 10057"/>
                <a:gd name="connsiteY134" fmla="*/ 6202 h 10000"/>
                <a:gd name="connsiteX135" fmla="*/ 4090 w 10057"/>
                <a:gd name="connsiteY135" fmla="*/ 6302 h 10000"/>
                <a:gd name="connsiteX136" fmla="*/ 4130 w 10057"/>
                <a:gd name="connsiteY136" fmla="*/ 6413 h 10000"/>
                <a:gd name="connsiteX137" fmla="*/ 4210 w 10057"/>
                <a:gd name="connsiteY137" fmla="*/ 6513 h 10000"/>
                <a:gd name="connsiteX138" fmla="*/ 4311 w 10057"/>
                <a:gd name="connsiteY138" fmla="*/ 6635 h 10000"/>
                <a:gd name="connsiteX139" fmla="*/ 4371 w 10057"/>
                <a:gd name="connsiteY139" fmla="*/ 6690 h 10000"/>
                <a:gd name="connsiteX140" fmla="*/ 4412 w 10057"/>
                <a:gd name="connsiteY140" fmla="*/ 6735 h 10000"/>
                <a:gd name="connsiteX141" fmla="*/ 4473 w 10057"/>
                <a:gd name="connsiteY141" fmla="*/ 6779 h 10000"/>
                <a:gd name="connsiteX142" fmla="*/ 4554 w 10057"/>
                <a:gd name="connsiteY142" fmla="*/ 6812 h 10000"/>
                <a:gd name="connsiteX143" fmla="*/ 4735 w 10057"/>
                <a:gd name="connsiteY143" fmla="*/ 6835 h 10000"/>
                <a:gd name="connsiteX144" fmla="*/ 4896 w 10057"/>
                <a:gd name="connsiteY144" fmla="*/ 6868 h 10000"/>
                <a:gd name="connsiteX145" fmla="*/ 5098 w 10057"/>
                <a:gd name="connsiteY145" fmla="*/ 6901 h 10000"/>
                <a:gd name="connsiteX146" fmla="*/ 5259 w 10057"/>
                <a:gd name="connsiteY146" fmla="*/ 6946 h 10000"/>
                <a:gd name="connsiteX147" fmla="*/ 5340 w 10057"/>
                <a:gd name="connsiteY147" fmla="*/ 6968 h 10000"/>
                <a:gd name="connsiteX148" fmla="*/ 5420 w 10057"/>
                <a:gd name="connsiteY148" fmla="*/ 7001 h 10000"/>
                <a:gd name="connsiteX149" fmla="*/ 5461 w 10057"/>
                <a:gd name="connsiteY149" fmla="*/ 7046 h 10000"/>
                <a:gd name="connsiteX150" fmla="*/ 5522 w 10057"/>
                <a:gd name="connsiteY150" fmla="*/ 7101 h 10000"/>
                <a:gd name="connsiteX151" fmla="*/ 5925 w 10057"/>
                <a:gd name="connsiteY151" fmla="*/ 7567 h 10000"/>
                <a:gd name="connsiteX152" fmla="*/ 6368 w 10057"/>
                <a:gd name="connsiteY152" fmla="*/ 8033 h 10000"/>
                <a:gd name="connsiteX153" fmla="*/ 6440 w 10057"/>
                <a:gd name="connsiteY153" fmla="*/ 9060 h 10000"/>
                <a:gd name="connsiteX154" fmla="*/ 7572 w 10057"/>
                <a:gd name="connsiteY154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10057" h="10000">
                  <a:moveTo>
                    <a:pt x="7572" y="10000"/>
                  </a:moveTo>
                  <a:lnTo>
                    <a:pt x="7335" y="9089"/>
                  </a:lnTo>
                  <a:cubicBezTo>
                    <a:pt x="7348" y="9060"/>
                    <a:pt x="7321" y="8969"/>
                    <a:pt x="7334" y="8939"/>
                  </a:cubicBezTo>
                  <a:cubicBezTo>
                    <a:pt x="7341" y="8906"/>
                    <a:pt x="7477" y="8605"/>
                    <a:pt x="7484" y="8572"/>
                  </a:cubicBezTo>
                  <a:cubicBezTo>
                    <a:pt x="7504" y="8542"/>
                    <a:pt x="7416" y="8535"/>
                    <a:pt x="7436" y="8506"/>
                  </a:cubicBezTo>
                  <a:cubicBezTo>
                    <a:pt x="7470" y="8451"/>
                    <a:pt x="7531" y="8251"/>
                    <a:pt x="7564" y="8196"/>
                  </a:cubicBezTo>
                  <a:cubicBezTo>
                    <a:pt x="7618" y="8147"/>
                    <a:pt x="7821" y="8138"/>
                    <a:pt x="7874" y="8089"/>
                  </a:cubicBezTo>
                  <a:lnTo>
                    <a:pt x="7457" y="7723"/>
                  </a:lnTo>
                  <a:lnTo>
                    <a:pt x="7660" y="7590"/>
                  </a:lnTo>
                  <a:lnTo>
                    <a:pt x="7881" y="7479"/>
                  </a:lnTo>
                  <a:lnTo>
                    <a:pt x="8124" y="7356"/>
                  </a:lnTo>
                  <a:lnTo>
                    <a:pt x="8365" y="7234"/>
                  </a:lnTo>
                  <a:lnTo>
                    <a:pt x="8588" y="7123"/>
                  </a:lnTo>
                  <a:lnTo>
                    <a:pt x="8789" y="6990"/>
                  </a:lnTo>
                  <a:lnTo>
                    <a:pt x="9012" y="6868"/>
                  </a:lnTo>
                  <a:cubicBezTo>
                    <a:pt x="9066" y="6820"/>
                    <a:pt x="9119" y="6771"/>
                    <a:pt x="9173" y="6723"/>
                  </a:cubicBezTo>
                  <a:cubicBezTo>
                    <a:pt x="9206" y="6672"/>
                    <a:pt x="9240" y="6620"/>
                    <a:pt x="9273" y="6568"/>
                  </a:cubicBezTo>
                  <a:cubicBezTo>
                    <a:pt x="9293" y="6546"/>
                    <a:pt x="9314" y="6524"/>
                    <a:pt x="9334" y="6502"/>
                  </a:cubicBezTo>
                  <a:cubicBezTo>
                    <a:pt x="9341" y="6472"/>
                    <a:pt x="9347" y="6442"/>
                    <a:pt x="9354" y="6413"/>
                  </a:cubicBezTo>
                  <a:cubicBezTo>
                    <a:pt x="9367" y="6383"/>
                    <a:pt x="9381" y="6354"/>
                    <a:pt x="9394" y="6325"/>
                  </a:cubicBezTo>
                  <a:lnTo>
                    <a:pt x="9394" y="6236"/>
                  </a:lnTo>
                  <a:cubicBezTo>
                    <a:pt x="9354" y="6162"/>
                    <a:pt x="9313" y="6088"/>
                    <a:pt x="9273" y="6014"/>
                  </a:cubicBezTo>
                  <a:lnTo>
                    <a:pt x="9152" y="5836"/>
                  </a:lnTo>
                  <a:cubicBezTo>
                    <a:pt x="9166" y="5821"/>
                    <a:pt x="9180" y="5807"/>
                    <a:pt x="9193" y="5792"/>
                  </a:cubicBezTo>
                  <a:cubicBezTo>
                    <a:pt x="9220" y="5774"/>
                    <a:pt x="9246" y="5754"/>
                    <a:pt x="9273" y="5736"/>
                  </a:cubicBezTo>
                  <a:lnTo>
                    <a:pt x="9394" y="5669"/>
                  </a:lnTo>
                  <a:lnTo>
                    <a:pt x="9556" y="5614"/>
                  </a:lnTo>
                  <a:cubicBezTo>
                    <a:pt x="9596" y="5595"/>
                    <a:pt x="9637" y="5577"/>
                    <a:pt x="9677" y="5558"/>
                  </a:cubicBezTo>
                  <a:lnTo>
                    <a:pt x="9818" y="5481"/>
                  </a:lnTo>
                  <a:cubicBezTo>
                    <a:pt x="9851" y="5451"/>
                    <a:pt x="9885" y="5422"/>
                    <a:pt x="9918" y="5392"/>
                  </a:cubicBezTo>
                  <a:cubicBezTo>
                    <a:pt x="9946" y="5363"/>
                    <a:pt x="9973" y="5333"/>
                    <a:pt x="10000" y="5303"/>
                  </a:cubicBezTo>
                  <a:lnTo>
                    <a:pt x="9818" y="5248"/>
                  </a:lnTo>
                  <a:lnTo>
                    <a:pt x="9556" y="5093"/>
                  </a:lnTo>
                  <a:lnTo>
                    <a:pt x="9273" y="4960"/>
                  </a:lnTo>
                  <a:cubicBezTo>
                    <a:pt x="9233" y="4941"/>
                    <a:pt x="9192" y="4923"/>
                    <a:pt x="9152" y="4904"/>
                  </a:cubicBezTo>
                  <a:cubicBezTo>
                    <a:pt x="9160" y="4878"/>
                    <a:pt x="9166" y="4852"/>
                    <a:pt x="9173" y="4826"/>
                  </a:cubicBezTo>
                  <a:cubicBezTo>
                    <a:pt x="9180" y="4811"/>
                    <a:pt x="9186" y="4797"/>
                    <a:pt x="9193" y="4782"/>
                  </a:cubicBezTo>
                  <a:cubicBezTo>
                    <a:pt x="9213" y="4767"/>
                    <a:pt x="9233" y="4753"/>
                    <a:pt x="9253" y="4738"/>
                  </a:cubicBezTo>
                  <a:cubicBezTo>
                    <a:pt x="9273" y="4730"/>
                    <a:pt x="9293" y="4722"/>
                    <a:pt x="9314" y="4715"/>
                  </a:cubicBezTo>
                  <a:lnTo>
                    <a:pt x="9475" y="4649"/>
                  </a:lnTo>
                  <a:lnTo>
                    <a:pt x="9657" y="4560"/>
                  </a:lnTo>
                  <a:lnTo>
                    <a:pt x="9576" y="4404"/>
                  </a:lnTo>
                  <a:cubicBezTo>
                    <a:pt x="9556" y="4349"/>
                    <a:pt x="9536" y="4293"/>
                    <a:pt x="9516" y="4238"/>
                  </a:cubicBezTo>
                  <a:cubicBezTo>
                    <a:pt x="9536" y="4209"/>
                    <a:pt x="9556" y="4179"/>
                    <a:pt x="9576" y="4149"/>
                  </a:cubicBezTo>
                  <a:cubicBezTo>
                    <a:pt x="9630" y="4094"/>
                    <a:pt x="9683" y="4038"/>
                    <a:pt x="9737" y="3983"/>
                  </a:cubicBezTo>
                  <a:lnTo>
                    <a:pt x="9979" y="3783"/>
                  </a:lnTo>
                  <a:lnTo>
                    <a:pt x="9780" y="3728"/>
                  </a:lnTo>
                  <a:lnTo>
                    <a:pt x="10057" y="3497"/>
                  </a:lnTo>
                  <a:lnTo>
                    <a:pt x="9152" y="3261"/>
                  </a:lnTo>
                  <a:lnTo>
                    <a:pt x="8608" y="3173"/>
                  </a:lnTo>
                  <a:lnTo>
                    <a:pt x="8043" y="3095"/>
                  </a:lnTo>
                  <a:lnTo>
                    <a:pt x="7457" y="3028"/>
                  </a:lnTo>
                  <a:lnTo>
                    <a:pt x="6853" y="2939"/>
                  </a:lnTo>
                  <a:lnTo>
                    <a:pt x="6268" y="2828"/>
                  </a:lnTo>
                  <a:lnTo>
                    <a:pt x="5623" y="2695"/>
                  </a:lnTo>
                  <a:cubicBezTo>
                    <a:pt x="5583" y="2680"/>
                    <a:pt x="5542" y="2666"/>
                    <a:pt x="5502" y="2651"/>
                  </a:cubicBezTo>
                  <a:lnTo>
                    <a:pt x="5360" y="2607"/>
                  </a:lnTo>
                  <a:lnTo>
                    <a:pt x="5259" y="2551"/>
                  </a:lnTo>
                  <a:cubicBezTo>
                    <a:pt x="5219" y="2525"/>
                    <a:pt x="5178" y="2500"/>
                    <a:pt x="5138" y="2474"/>
                  </a:cubicBezTo>
                  <a:cubicBezTo>
                    <a:pt x="5078" y="2421"/>
                    <a:pt x="5017" y="2370"/>
                    <a:pt x="4956" y="2318"/>
                  </a:cubicBezTo>
                  <a:lnTo>
                    <a:pt x="4775" y="2141"/>
                  </a:lnTo>
                  <a:cubicBezTo>
                    <a:pt x="4722" y="2085"/>
                    <a:pt x="4667" y="2030"/>
                    <a:pt x="4614" y="1974"/>
                  </a:cubicBezTo>
                  <a:lnTo>
                    <a:pt x="4392" y="1830"/>
                  </a:lnTo>
                  <a:cubicBezTo>
                    <a:pt x="4358" y="1808"/>
                    <a:pt x="4325" y="1785"/>
                    <a:pt x="4291" y="1763"/>
                  </a:cubicBezTo>
                  <a:lnTo>
                    <a:pt x="4150" y="1741"/>
                  </a:lnTo>
                  <a:lnTo>
                    <a:pt x="3989" y="1708"/>
                  </a:lnTo>
                  <a:lnTo>
                    <a:pt x="3827" y="1697"/>
                  </a:lnTo>
                  <a:lnTo>
                    <a:pt x="3505" y="1697"/>
                  </a:lnTo>
                  <a:lnTo>
                    <a:pt x="3262" y="1697"/>
                  </a:lnTo>
                  <a:lnTo>
                    <a:pt x="3081" y="1697"/>
                  </a:lnTo>
                  <a:lnTo>
                    <a:pt x="2960" y="1697"/>
                  </a:lnTo>
                  <a:lnTo>
                    <a:pt x="2778" y="1674"/>
                  </a:lnTo>
                  <a:lnTo>
                    <a:pt x="2617" y="1652"/>
                  </a:lnTo>
                  <a:lnTo>
                    <a:pt x="2476" y="1608"/>
                  </a:lnTo>
                  <a:lnTo>
                    <a:pt x="2395" y="1530"/>
                  </a:lnTo>
                  <a:lnTo>
                    <a:pt x="2213" y="1386"/>
                  </a:lnTo>
                  <a:lnTo>
                    <a:pt x="1992" y="1220"/>
                  </a:lnTo>
                  <a:lnTo>
                    <a:pt x="1029" y="304"/>
                  </a:lnTo>
                  <a:cubicBezTo>
                    <a:pt x="1128" y="603"/>
                    <a:pt x="-95" y="-234"/>
                    <a:pt x="5" y="65"/>
                  </a:cubicBezTo>
                  <a:cubicBezTo>
                    <a:pt x="-22" y="95"/>
                    <a:pt x="311" y="566"/>
                    <a:pt x="284" y="596"/>
                  </a:cubicBezTo>
                  <a:cubicBezTo>
                    <a:pt x="257" y="629"/>
                    <a:pt x="1575" y="1552"/>
                    <a:pt x="1548" y="1585"/>
                  </a:cubicBezTo>
                  <a:cubicBezTo>
                    <a:pt x="1501" y="1652"/>
                    <a:pt x="1453" y="1718"/>
                    <a:pt x="1406" y="1785"/>
                  </a:cubicBezTo>
                  <a:lnTo>
                    <a:pt x="1265" y="1963"/>
                  </a:lnTo>
                  <a:cubicBezTo>
                    <a:pt x="1225" y="1993"/>
                    <a:pt x="1184" y="2022"/>
                    <a:pt x="1144" y="2052"/>
                  </a:cubicBezTo>
                  <a:cubicBezTo>
                    <a:pt x="1097" y="2081"/>
                    <a:pt x="1051" y="2111"/>
                    <a:pt x="1004" y="2141"/>
                  </a:cubicBezTo>
                  <a:lnTo>
                    <a:pt x="821" y="2196"/>
                  </a:lnTo>
                  <a:lnTo>
                    <a:pt x="620" y="2274"/>
                  </a:lnTo>
                  <a:lnTo>
                    <a:pt x="459" y="2341"/>
                  </a:lnTo>
                  <a:lnTo>
                    <a:pt x="297" y="2418"/>
                  </a:lnTo>
                  <a:cubicBezTo>
                    <a:pt x="284" y="2432"/>
                    <a:pt x="270" y="2448"/>
                    <a:pt x="257" y="2463"/>
                  </a:cubicBezTo>
                  <a:lnTo>
                    <a:pt x="196" y="2518"/>
                  </a:lnTo>
                  <a:cubicBezTo>
                    <a:pt x="189" y="2532"/>
                    <a:pt x="183" y="2548"/>
                    <a:pt x="176" y="2562"/>
                  </a:cubicBezTo>
                  <a:lnTo>
                    <a:pt x="176" y="2629"/>
                  </a:lnTo>
                  <a:cubicBezTo>
                    <a:pt x="183" y="2665"/>
                    <a:pt x="189" y="2703"/>
                    <a:pt x="196" y="2739"/>
                  </a:cubicBezTo>
                  <a:cubicBezTo>
                    <a:pt x="203" y="2777"/>
                    <a:pt x="209" y="2814"/>
                    <a:pt x="216" y="2851"/>
                  </a:cubicBezTo>
                  <a:cubicBezTo>
                    <a:pt x="236" y="2873"/>
                    <a:pt x="257" y="2895"/>
                    <a:pt x="277" y="2917"/>
                  </a:cubicBezTo>
                  <a:cubicBezTo>
                    <a:pt x="297" y="2939"/>
                    <a:pt x="317" y="2962"/>
                    <a:pt x="337" y="2984"/>
                  </a:cubicBezTo>
                  <a:cubicBezTo>
                    <a:pt x="364" y="3002"/>
                    <a:pt x="391" y="3021"/>
                    <a:pt x="418" y="3039"/>
                  </a:cubicBezTo>
                  <a:lnTo>
                    <a:pt x="499" y="3084"/>
                  </a:lnTo>
                  <a:lnTo>
                    <a:pt x="600" y="3117"/>
                  </a:lnTo>
                  <a:cubicBezTo>
                    <a:pt x="634" y="3124"/>
                    <a:pt x="667" y="3132"/>
                    <a:pt x="701" y="3139"/>
                  </a:cubicBezTo>
                  <a:lnTo>
                    <a:pt x="922" y="3184"/>
                  </a:lnTo>
                  <a:lnTo>
                    <a:pt x="1144" y="3228"/>
                  </a:lnTo>
                  <a:cubicBezTo>
                    <a:pt x="1178" y="3235"/>
                    <a:pt x="1211" y="3243"/>
                    <a:pt x="1245" y="3250"/>
                  </a:cubicBezTo>
                  <a:lnTo>
                    <a:pt x="1346" y="3273"/>
                  </a:lnTo>
                  <a:lnTo>
                    <a:pt x="1426" y="3317"/>
                  </a:lnTo>
                  <a:cubicBezTo>
                    <a:pt x="1453" y="3332"/>
                    <a:pt x="1481" y="3346"/>
                    <a:pt x="1508" y="3361"/>
                  </a:cubicBezTo>
                  <a:cubicBezTo>
                    <a:pt x="1535" y="3390"/>
                    <a:pt x="1561" y="3421"/>
                    <a:pt x="1588" y="3450"/>
                  </a:cubicBezTo>
                  <a:cubicBezTo>
                    <a:pt x="1608" y="3479"/>
                    <a:pt x="1629" y="3509"/>
                    <a:pt x="1649" y="3539"/>
                  </a:cubicBezTo>
                  <a:lnTo>
                    <a:pt x="1709" y="3617"/>
                  </a:lnTo>
                  <a:cubicBezTo>
                    <a:pt x="1716" y="3646"/>
                    <a:pt x="1722" y="3676"/>
                    <a:pt x="1729" y="3706"/>
                  </a:cubicBezTo>
                  <a:cubicBezTo>
                    <a:pt x="1736" y="3753"/>
                    <a:pt x="1742" y="3802"/>
                    <a:pt x="1749" y="3850"/>
                  </a:cubicBezTo>
                  <a:lnTo>
                    <a:pt x="1749" y="4005"/>
                  </a:lnTo>
                  <a:cubicBezTo>
                    <a:pt x="1762" y="4053"/>
                    <a:pt x="1777" y="4102"/>
                    <a:pt x="1790" y="4149"/>
                  </a:cubicBezTo>
                  <a:cubicBezTo>
                    <a:pt x="1803" y="4193"/>
                    <a:pt x="1817" y="4238"/>
                    <a:pt x="1830" y="4282"/>
                  </a:cubicBezTo>
                  <a:cubicBezTo>
                    <a:pt x="1843" y="4301"/>
                    <a:pt x="1857" y="4320"/>
                    <a:pt x="1870" y="4338"/>
                  </a:cubicBezTo>
                  <a:lnTo>
                    <a:pt x="1952" y="4404"/>
                  </a:lnTo>
                  <a:lnTo>
                    <a:pt x="2032" y="4449"/>
                  </a:lnTo>
                  <a:cubicBezTo>
                    <a:pt x="2059" y="4467"/>
                    <a:pt x="2086" y="4486"/>
                    <a:pt x="2113" y="4504"/>
                  </a:cubicBezTo>
                  <a:lnTo>
                    <a:pt x="2354" y="4560"/>
                  </a:lnTo>
                  <a:lnTo>
                    <a:pt x="2637" y="4626"/>
                  </a:lnTo>
                  <a:lnTo>
                    <a:pt x="3001" y="4671"/>
                  </a:lnTo>
                  <a:lnTo>
                    <a:pt x="3343" y="4715"/>
                  </a:lnTo>
                  <a:lnTo>
                    <a:pt x="3666" y="4771"/>
                  </a:lnTo>
                  <a:lnTo>
                    <a:pt x="3928" y="4849"/>
                  </a:lnTo>
                  <a:lnTo>
                    <a:pt x="4049" y="4871"/>
                  </a:lnTo>
                  <a:cubicBezTo>
                    <a:pt x="4076" y="4886"/>
                    <a:pt x="4103" y="4900"/>
                    <a:pt x="4130" y="4915"/>
                  </a:cubicBezTo>
                  <a:cubicBezTo>
                    <a:pt x="4143" y="4937"/>
                    <a:pt x="4157" y="4960"/>
                    <a:pt x="4170" y="4982"/>
                  </a:cubicBezTo>
                  <a:lnTo>
                    <a:pt x="4170" y="5037"/>
                  </a:lnTo>
                  <a:lnTo>
                    <a:pt x="4170" y="5215"/>
                  </a:lnTo>
                  <a:lnTo>
                    <a:pt x="4170" y="5425"/>
                  </a:lnTo>
                  <a:lnTo>
                    <a:pt x="4170" y="5625"/>
                  </a:lnTo>
                  <a:lnTo>
                    <a:pt x="4170" y="5780"/>
                  </a:lnTo>
                  <a:cubicBezTo>
                    <a:pt x="4163" y="5854"/>
                    <a:pt x="4157" y="5929"/>
                    <a:pt x="4150" y="6003"/>
                  </a:cubicBezTo>
                  <a:cubicBezTo>
                    <a:pt x="4130" y="6069"/>
                    <a:pt x="4110" y="6136"/>
                    <a:pt x="4090" y="6202"/>
                  </a:cubicBezTo>
                  <a:lnTo>
                    <a:pt x="4090" y="6302"/>
                  </a:lnTo>
                  <a:cubicBezTo>
                    <a:pt x="4103" y="6339"/>
                    <a:pt x="4117" y="6376"/>
                    <a:pt x="4130" y="6413"/>
                  </a:cubicBezTo>
                  <a:cubicBezTo>
                    <a:pt x="4157" y="6446"/>
                    <a:pt x="4183" y="6480"/>
                    <a:pt x="4210" y="6513"/>
                  </a:cubicBezTo>
                  <a:cubicBezTo>
                    <a:pt x="4244" y="6554"/>
                    <a:pt x="4278" y="6594"/>
                    <a:pt x="4311" y="6635"/>
                  </a:cubicBezTo>
                  <a:cubicBezTo>
                    <a:pt x="4331" y="6653"/>
                    <a:pt x="4351" y="6672"/>
                    <a:pt x="4371" y="6690"/>
                  </a:cubicBezTo>
                  <a:cubicBezTo>
                    <a:pt x="4384" y="6705"/>
                    <a:pt x="4399" y="6721"/>
                    <a:pt x="4412" y="6735"/>
                  </a:cubicBezTo>
                  <a:cubicBezTo>
                    <a:pt x="4432" y="6750"/>
                    <a:pt x="4453" y="6765"/>
                    <a:pt x="4473" y="6779"/>
                  </a:cubicBezTo>
                  <a:lnTo>
                    <a:pt x="4554" y="6812"/>
                  </a:lnTo>
                  <a:lnTo>
                    <a:pt x="4735" y="6835"/>
                  </a:lnTo>
                  <a:lnTo>
                    <a:pt x="4896" y="6868"/>
                  </a:lnTo>
                  <a:lnTo>
                    <a:pt x="5098" y="6901"/>
                  </a:lnTo>
                  <a:lnTo>
                    <a:pt x="5259" y="6946"/>
                  </a:lnTo>
                  <a:cubicBezTo>
                    <a:pt x="5286" y="6953"/>
                    <a:pt x="5313" y="6961"/>
                    <a:pt x="5340" y="6968"/>
                  </a:cubicBezTo>
                  <a:lnTo>
                    <a:pt x="5420" y="7001"/>
                  </a:lnTo>
                  <a:cubicBezTo>
                    <a:pt x="5434" y="7016"/>
                    <a:pt x="5447" y="7031"/>
                    <a:pt x="5461" y="7046"/>
                  </a:cubicBezTo>
                  <a:lnTo>
                    <a:pt x="5522" y="7101"/>
                  </a:lnTo>
                  <a:lnTo>
                    <a:pt x="5925" y="7567"/>
                  </a:lnTo>
                  <a:lnTo>
                    <a:pt x="6368" y="8033"/>
                  </a:lnTo>
                  <a:cubicBezTo>
                    <a:pt x="7083" y="8266"/>
                    <a:pt x="5488" y="8567"/>
                    <a:pt x="6440" y="9060"/>
                  </a:cubicBezTo>
                  <a:lnTo>
                    <a:pt x="7572" y="10000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sz="1400"/>
            </a:p>
          </p:txBody>
        </p:sp>
      </p:grpSp>
      <p:sp>
        <p:nvSpPr>
          <p:cNvPr id="139" name="Title 3"/>
          <p:cNvSpPr txBox="1">
            <a:spLocks/>
          </p:cNvSpPr>
          <p:nvPr/>
        </p:nvSpPr>
        <p:spPr>
          <a:xfrm>
            <a:off x="172996" y="179540"/>
            <a:ext cx="5733534" cy="6492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dirty="0" smtClean="0">
                <a:latin typeface="+mj-lt"/>
              </a:rPr>
              <a:t>ПО НАШИМ УЧЕБНИКАМ РАБОТАЮТ</a:t>
            </a:r>
            <a:endParaRPr lang="ru-RU" dirty="0">
              <a:latin typeface="+mj-lt"/>
            </a:endParaRPr>
          </a:p>
        </p:txBody>
      </p:sp>
      <p:sp>
        <p:nvSpPr>
          <p:cNvPr id="140" name="Pentagon 5"/>
          <p:cNvSpPr/>
          <p:nvPr/>
        </p:nvSpPr>
        <p:spPr>
          <a:xfrm>
            <a:off x="662571" y="3142627"/>
            <a:ext cx="10063677" cy="468000"/>
          </a:xfrm>
          <a:prstGeom prst="homePlate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Более </a:t>
            </a:r>
            <a:r>
              <a:rPr lang="ru-RU" sz="4000" b="1" dirty="0" smtClean="0">
                <a:solidFill>
                  <a:srgbClr val="2D3494"/>
                </a:solidFill>
              </a:rPr>
              <a:t>44500 </a:t>
            </a: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чителей 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технологии и черчения </a:t>
            </a:r>
            <a:r>
              <a:rPr lang="ru-RU" sz="2400" b="1" dirty="0" smtClean="0">
                <a:solidFill>
                  <a:srgbClr val="2D3494"/>
                </a:solidFill>
              </a:rPr>
              <a:t>в России</a:t>
            </a:r>
            <a:endParaRPr lang="ru-RU" sz="1200" b="1" dirty="0" smtClean="0">
              <a:solidFill>
                <a:srgbClr val="2D3494"/>
              </a:solidFill>
            </a:endParaRPr>
          </a:p>
        </p:txBody>
      </p:sp>
      <p:pic>
        <p:nvPicPr>
          <p:cNvPr id="146" name="Picture 53" descr="233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22508" y="123568"/>
            <a:ext cx="790833" cy="10709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47" name="Picture 49" descr="2333_20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60760" y="123568"/>
            <a:ext cx="807305" cy="10709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48" name="Picture 2" descr="\\parovoz\all_reklama\Katalog_2013\LENA\2702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208110" y="123570"/>
            <a:ext cx="757880" cy="106268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49" name="Picture 54" descr="307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>
          <a:xfrm>
            <a:off x="9160473" y="131803"/>
            <a:ext cx="812801" cy="106268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</p:pic>
      <p:pic>
        <p:nvPicPr>
          <p:cNvPr id="150" name="Picture 4" descr="http://www.ast.ru/upload/iblock/726/726fa0eccb8cdeef81f822743c63d86c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289060" y="123567"/>
            <a:ext cx="790832" cy="10791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1" name="Picture 2" descr="1344_10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>
          <a:xfrm>
            <a:off x="11219935" y="147076"/>
            <a:ext cx="790831" cy="1047411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4" name="Freeform 38"/>
          <p:cNvSpPr>
            <a:spLocks/>
          </p:cNvSpPr>
          <p:nvPr/>
        </p:nvSpPr>
        <p:spPr bwMode="auto">
          <a:xfrm>
            <a:off x="3198576" y="4315586"/>
            <a:ext cx="736725" cy="639546"/>
          </a:xfrm>
          <a:custGeom>
            <a:avLst/>
            <a:gdLst/>
            <a:ahLst/>
            <a:cxnLst>
              <a:cxn ang="0">
                <a:pos x="745" y="200"/>
              </a:cxn>
              <a:cxn ang="0">
                <a:pos x="635" y="406"/>
              </a:cxn>
              <a:cxn ang="0">
                <a:pos x="566" y="462"/>
              </a:cxn>
              <a:cxn ang="0">
                <a:pos x="487" y="490"/>
              </a:cxn>
              <a:cxn ang="0">
                <a:pos x="464" y="541"/>
              </a:cxn>
              <a:cxn ang="0">
                <a:pos x="490" y="602"/>
              </a:cxn>
              <a:cxn ang="0">
                <a:pos x="500" y="644"/>
              </a:cxn>
              <a:cxn ang="0">
                <a:pos x="476" y="682"/>
              </a:cxn>
              <a:cxn ang="0">
                <a:pos x="466" y="717"/>
              </a:cxn>
              <a:cxn ang="0">
                <a:pos x="487" y="757"/>
              </a:cxn>
              <a:cxn ang="0">
                <a:pos x="472" y="809"/>
              </a:cxn>
              <a:cxn ang="0">
                <a:pos x="422" y="841"/>
              </a:cxn>
              <a:cxn ang="0">
                <a:pos x="344" y="858"/>
              </a:cxn>
              <a:cxn ang="0">
                <a:pos x="326" y="915"/>
              </a:cxn>
              <a:cxn ang="0">
                <a:pos x="286" y="943"/>
              </a:cxn>
              <a:cxn ang="0">
                <a:pos x="215" y="939"/>
              </a:cxn>
              <a:cxn ang="0">
                <a:pos x="168" y="1002"/>
              </a:cxn>
              <a:cxn ang="0">
                <a:pos x="112" y="1037"/>
              </a:cxn>
              <a:cxn ang="0">
                <a:pos x="62" y="1050"/>
              </a:cxn>
              <a:cxn ang="0">
                <a:pos x="16" y="1117"/>
              </a:cxn>
              <a:cxn ang="0">
                <a:pos x="2" y="1190"/>
              </a:cxn>
              <a:cxn ang="0">
                <a:pos x="54" y="1251"/>
              </a:cxn>
              <a:cxn ang="0">
                <a:pos x="139" y="1299"/>
              </a:cxn>
              <a:cxn ang="0">
                <a:pos x="200" y="1294"/>
              </a:cxn>
              <a:cxn ang="0">
                <a:pos x="256" y="1295"/>
              </a:cxn>
              <a:cxn ang="0">
                <a:pos x="326" y="1338"/>
              </a:cxn>
              <a:cxn ang="0">
                <a:pos x="390" y="1391"/>
              </a:cxn>
              <a:cxn ang="0">
                <a:pos x="476" y="1398"/>
              </a:cxn>
              <a:cxn ang="0">
                <a:pos x="519" y="1423"/>
              </a:cxn>
              <a:cxn ang="0">
                <a:pos x="560" y="1456"/>
              </a:cxn>
              <a:cxn ang="0">
                <a:pos x="606" y="1444"/>
              </a:cxn>
              <a:cxn ang="0">
                <a:pos x="644" y="1415"/>
              </a:cxn>
              <a:cxn ang="0">
                <a:pos x="733" y="1446"/>
              </a:cxn>
              <a:cxn ang="0">
                <a:pos x="847" y="1511"/>
              </a:cxn>
              <a:cxn ang="0">
                <a:pos x="884" y="1498"/>
              </a:cxn>
              <a:cxn ang="0">
                <a:pos x="923" y="1470"/>
              </a:cxn>
              <a:cxn ang="0">
                <a:pos x="969" y="1482"/>
              </a:cxn>
              <a:cxn ang="0">
                <a:pos x="1008" y="1466"/>
              </a:cxn>
              <a:cxn ang="0">
                <a:pos x="1000" y="1387"/>
              </a:cxn>
              <a:cxn ang="0">
                <a:pos x="1055" y="1281"/>
              </a:cxn>
              <a:cxn ang="0">
                <a:pos x="1225" y="1231"/>
              </a:cxn>
              <a:cxn ang="0">
                <a:pos x="1231" y="1027"/>
              </a:cxn>
              <a:cxn ang="0">
                <a:pos x="1195" y="902"/>
              </a:cxn>
              <a:cxn ang="0">
                <a:pos x="1104" y="851"/>
              </a:cxn>
              <a:cxn ang="0">
                <a:pos x="1077" y="801"/>
              </a:cxn>
              <a:cxn ang="0">
                <a:pos x="1091" y="712"/>
              </a:cxn>
              <a:cxn ang="0">
                <a:pos x="1081" y="557"/>
              </a:cxn>
              <a:cxn ang="0">
                <a:pos x="1076" y="438"/>
              </a:cxn>
              <a:cxn ang="0">
                <a:pos x="1091" y="368"/>
              </a:cxn>
              <a:cxn ang="0">
                <a:pos x="1071" y="314"/>
              </a:cxn>
              <a:cxn ang="0">
                <a:pos x="1000" y="205"/>
              </a:cxn>
              <a:cxn ang="0">
                <a:pos x="904" y="109"/>
              </a:cxn>
              <a:cxn ang="0">
                <a:pos x="853" y="21"/>
              </a:cxn>
            </a:cxnLst>
            <a:rect l="0" t="0" r="r" b="b"/>
            <a:pathLst>
              <a:path w="1241" h="1511">
                <a:moveTo>
                  <a:pt x="832" y="12"/>
                </a:moveTo>
                <a:lnTo>
                  <a:pt x="816" y="49"/>
                </a:lnTo>
                <a:lnTo>
                  <a:pt x="799" y="87"/>
                </a:lnTo>
                <a:lnTo>
                  <a:pt x="781" y="124"/>
                </a:lnTo>
                <a:lnTo>
                  <a:pt x="764" y="163"/>
                </a:lnTo>
                <a:lnTo>
                  <a:pt x="745" y="200"/>
                </a:lnTo>
                <a:lnTo>
                  <a:pt x="727" y="237"/>
                </a:lnTo>
                <a:lnTo>
                  <a:pt x="707" y="273"/>
                </a:lnTo>
                <a:lnTo>
                  <a:pt x="687" y="308"/>
                </a:lnTo>
                <a:lnTo>
                  <a:pt x="667" y="350"/>
                </a:lnTo>
                <a:lnTo>
                  <a:pt x="646" y="389"/>
                </a:lnTo>
                <a:lnTo>
                  <a:pt x="635" y="406"/>
                </a:lnTo>
                <a:lnTo>
                  <a:pt x="622" y="422"/>
                </a:lnTo>
                <a:lnTo>
                  <a:pt x="608" y="438"/>
                </a:lnTo>
                <a:lnTo>
                  <a:pt x="591" y="452"/>
                </a:lnTo>
                <a:lnTo>
                  <a:pt x="583" y="456"/>
                </a:lnTo>
                <a:lnTo>
                  <a:pt x="575" y="460"/>
                </a:lnTo>
                <a:lnTo>
                  <a:pt x="566" y="462"/>
                </a:lnTo>
                <a:lnTo>
                  <a:pt x="556" y="466"/>
                </a:lnTo>
                <a:lnTo>
                  <a:pt x="535" y="472"/>
                </a:lnTo>
                <a:lnTo>
                  <a:pt x="514" y="477"/>
                </a:lnTo>
                <a:lnTo>
                  <a:pt x="504" y="481"/>
                </a:lnTo>
                <a:lnTo>
                  <a:pt x="495" y="485"/>
                </a:lnTo>
                <a:lnTo>
                  <a:pt x="487" y="490"/>
                </a:lnTo>
                <a:lnTo>
                  <a:pt x="479" y="496"/>
                </a:lnTo>
                <a:lnTo>
                  <a:pt x="474" y="502"/>
                </a:lnTo>
                <a:lnTo>
                  <a:pt x="468" y="510"/>
                </a:lnTo>
                <a:lnTo>
                  <a:pt x="466" y="520"/>
                </a:lnTo>
                <a:lnTo>
                  <a:pt x="464" y="530"/>
                </a:lnTo>
                <a:lnTo>
                  <a:pt x="464" y="541"/>
                </a:lnTo>
                <a:lnTo>
                  <a:pt x="466" y="550"/>
                </a:lnTo>
                <a:lnTo>
                  <a:pt x="468" y="558"/>
                </a:lnTo>
                <a:lnTo>
                  <a:pt x="470" y="566"/>
                </a:lnTo>
                <a:lnTo>
                  <a:pt x="476" y="580"/>
                </a:lnTo>
                <a:lnTo>
                  <a:pt x="483" y="592"/>
                </a:lnTo>
                <a:lnTo>
                  <a:pt x="490" y="602"/>
                </a:lnTo>
                <a:lnTo>
                  <a:pt x="495" y="613"/>
                </a:lnTo>
                <a:lnTo>
                  <a:pt x="498" y="618"/>
                </a:lnTo>
                <a:lnTo>
                  <a:pt x="499" y="625"/>
                </a:lnTo>
                <a:lnTo>
                  <a:pt x="500" y="632"/>
                </a:lnTo>
                <a:lnTo>
                  <a:pt x="500" y="638"/>
                </a:lnTo>
                <a:lnTo>
                  <a:pt x="500" y="644"/>
                </a:lnTo>
                <a:lnTo>
                  <a:pt x="499" y="649"/>
                </a:lnTo>
                <a:lnTo>
                  <a:pt x="498" y="654"/>
                </a:lnTo>
                <a:lnTo>
                  <a:pt x="495" y="658"/>
                </a:lnTo>
                <a:lnTo>
                  <a:pt x="490" y="666"/>
                </a:lnTo>
                <a:lnTo>
                  <a:pt x="483" y="674"/>
                </a:lnTo>
                <a:lnTo>
                  <a:pt x="476" y="682"/>
                </a:lnTo>
                <a:lnTo>
                  <a:pt x="470" y="692"/>
                </a:lnTo>
                <a:lnTo>
                  <a:pt x="468" y="696"/>
                </a:lnTo>
                <a:lnTo>
                  <a:pt x="466" y="701"/>
                </a:lnTo>
                <a:lnTo>
                  <a:pt x="464" y="705"/>
                </a:lnTo>
                <a:lnTo>
                  <a:pt x="464" y="710"/>
                </a:lnTo>
                <a:lnTo>
                  <a:pt x="466" y="717"/>
                </a:lnTo>
                <a:lnTo>
                  <a:pt x="468" y="724"/>
                </a:lnTo>
                <a:lnTo>
                  <a:pt x="472" y="730"/>
                </a:lnTo>
                <a:lnTo>
                  <a:pt x="476" y="736"/>
                </a:lnTo>
                <a:lnTo>
                  <a:pt x="480" y="742"/>
                </a:lnTo>
                <a:lnTo>
                  <a:pt x="484" y="749"/>
                </a:lnTo>
                <a:lnTo>
                  <a:pt x="487" y="757"/>
                </a:lnTo>
                <a:lnTo>
                  <a:pt x="488" y="765"/>
                </a:lnTo>
                <a:lnTo>
                  <a:pt x="488" y="776"/>
                </a:lnTo>
                <a:lnTo>
                  <a:pt x="486" y="785"/>
                </a:lnTo>
                <a:lnTo>
                  <a:pt x="482" y="793"/>
                </a:lnTo>
                <a:lnTo>
                  <a:pt x="478" y="801"/>
                </a:lnTo>
                <a:lnTo>
                  <a:pt x="472" y="809"/>
                </a:lnTo>
                <a:lnTo>
                  <a:pt x="466" y="815"/>
                </a:lnTo>
                <a:lnTo>
                  <a:pt x="458" y="822"/>
                </a:lnTo>
                <a:lnTo>
                  <a:pt x="450" y="827"/>
                </a:lnTo>
                <a:lnTo>
                  <a:pt x="440" y="833"/>
                </a:lnTo>
                <a:lnTo>
                  <a:pt x="431" y="837"/>
                </a:lnTo>
                <a:lnTo>
                  <a:pt x="422" y="841"/>
                </a:lnTo>
                <a:lnTo>
                  <a:pt x="412" y="843"/>
                </a:lnTo>
                <a:lnTo>
                  <a:pt x="392" y="847"/>
                </a:lnTo>
                <a:lnTo>
                  <a:pt x="374" y="849"/>
                </a:lnTo>
                <a:lnTo>
                  <a:pt x="362" y="850"/>
                </a:lnTo>
                <a:lnTo>
                  <a:pt x="352" y="853"/>
                </a:lnTo>
                <a:lnTo>
                  <a:pt x="344" y="858"/>
                </a:lnTo>
                <a:lnTo>
                  <a:pt x="339" y="865"/>
                </a:lnTo>
                <a:lnTo>
                  <a:pt x="335" y="871"/>
                </a:lnTo>
                <a:lnTo>
                  <a:pt x="332" y="879"/>
                </a:lnTo>
                <a:lnTo>
                  <a:pt x="330" y="889"/>
                </a:lnTo>
                <a:lnTo>
                  <a:pt x="328" y="898"/>
                </a:lnTo>
                <a:lnTo>
                  <a:pt x="326" y="915"/>
                </a:lnTo>
                <a:lnTo>
                  <a:pt x="320" y="930"/>
                </a:lnTo>
                <a:lnTo>
                  <a:pt x="318" y="937"/>
                </a:lnTo>
                <a:lnTo>
                  <a:pt x="312" y="942"/>
                </a:lnTo>
                <a:lnTo>
                  <a:pt x="304" y="945"/>
                </a:lnTo>
                <a:lnTo>
                  <a:pt x="296" y="946"/>
                </a:lnTo>
                <a:lnTo>
                  <a:pt x="286" y="943"/>
                </a:lnTo>
                <a:lnTo>
                  <a:pt x="274" y="939"/>
                </a:lnTo>
                <a:lnTo>
                  <a:pt x="259" y="935"/>
                </a:lnTo>
                <a:lnTo>
                  <a:pt x="242" y="934"/>
                </a:lnTo>
                <a:lnTo>
                  <a:pt x="232" y="934"/>
                </a:lnTo>
                <a:lnTo>
                  <a:pt x="223" y="937"/>
                </a:lnTo>
                <a:lnTo>
                  <a:pt x="215" y="939"/>
                </a:lnTo>
                <a:lnTo>
                  <a:pt x="208" y="945"/>
                </a:lnTo>
                <a:lnTo>
                  <a:pt x="202" y="950"/>
                </a:lnTo>
                <a:lnTo>
                  <a:pt x="195" y="957"/>
                </a:lnTo>
                <a:lnTo>
                  <a:pt x="190" y="963"/>
                </a:lnTo>
                <a:lnTo>
                  <a:pt x="186" y="970"/>
                </a:lnTo>
                <a:lnTo>
                  <a:pt x="168" y="1002"/>
                </a:lnTo>
                <a:lnTo>
                  <a:pt x="151" y="1030"/>
                </a:lnTo>
                <a:lnTo>
                  <a:pt x="144" y="1035"/>
                </a:lnTo>
                <a:lnTo>
                  <a:pt x="136" y="1038"/>
                </a:lnTo>
                <a:lnTo>
                  <a:pt x="128" y="1038"/>
                </a:lnTo>
                <a:lnTo>
                  <a:pt x="120" y="1038"/>
                </a:lnTo>
                <a:lnTo>
                  <a:pt x="112" y="1037"/>
                </a:lnTo>
                <a:lnTo>
                  <a:pt x="103" y="1035"/>
                </a:lnTo>
                <a:lnTo>
                  <a:pt x="94" y="1034"/>
                </a:lnTo>
                <a:lnTo>
                  <a:pt x="86" y="1035"/>
                </a:lnTo>
                <a:lnTo>
                  <a:pt x="78" y="1039"/>
                </a:lnTo>
                <a:lnTo>
                  <a:pt x="70" y="1043"/>
                </a:lnTo>
                <a:lnTo>
                  <a:pt x="62" y="1050"/>
                </a:lnTo>
                <a:lnTo>
                  <a:pt x="54" y="1057"/>
                </a:lnTo>
                <a:lnTo>
                  <a:pt x="47" y="1065"/>
                </a:lnTo>
                <a:lnTo>
                  <a:pt x="40" y="1074"/>
                </a:lnTo>
                <a:lnTo>
                  <a:pt x="34" y="1085"/>
                </a:lnTo>
                <a:lnTo>
                  <a:pt x="27" y="1094"/>
                </a:lnTo>
                <a:lnTo>
                  <a:pt x="16" y="1117"/>
                </a:lnTo>
                <a:lnTo>
                  <a:pt x="8" y="1139"/>
                </a:lnTo>
                <a:lnTo>
                  <a:pt x="4" y="1150"/>
                </a:lnTo>
                <a:lnTo>
                  <a:pt x="3" y="1161"/>
                </a:lnTo>
                <a:lnTo>
                  <a:pt x="2" y="1171"/>
                </a:lnTo>
                <a:lnTo>
                  <a:pt x="0" y="1181"/>
                </a:lnTo>
                <a:lnTo>
                  <a:pt x="2" y="1190"/>
                </a:lnTo>
                <a:lnTo>
                  <a:pt x="6" y="1199"/>
                </a:lnTo>
                <a:lnTo>
                  <a:pt x="12" y="1210"/>
                </a:lnTo>
                <a:lnTo>
                  <a:pt x="20" y="1221"/>
                </a:lnTo>
                <a:lnTo>
                  <a:pt x="30" y="1231"/>
                </a:lnTo>
                <a:lnTo>
                  <a:pt x="42" y="1242"/>
                </a:lnTo>
                <a:lnTo>
                  <a:pt x="54" y="1251"/>
                </a:lnTo>
                <a:lnTo>
                  <a:pt x="68" y="1262"/>
                </a:lnTo>
                <a:lnTo>
                  <a:pt x="82" y="1271"/>
                </a:lnTo>
                <a:lnTo>
                  <a:pt x="96" y="1279"/>
                </a:lnTo>
                <a:lnTo>
                  <a:pt x="111" y="1287"/>
                </a:lnTo>
                <a:lnTo>
                  <a:pt x="126" y="1294"/>
                </a:lnTo>
                <a:lnTo>
                  <a:pt x="139" y="1299"/>
                </a:lnTo>
                <a:lnTo>
                  <a:pt x="152" y="1303"/>
                </a:lnTo>
                <a:lnTo>
                  <a:pt x="164" y="1306"/>
                </a:lnTo>
                <a:lnTo>
                  <a:pt x="175" y="1307"/>
                </a:lnTo>
                <a:lnTo>
                  <a:pt x="184" y="1305"/>
                </a:lnTo>
                <a:lnTo>
                  <a:pt x="195" y="1298"/>
                </a:lnTo>
                <a:lnTo>
                  <a:pt x="200" y="1294"/>
                </a:lnTo>
                <a:lnTo>
                  <a:pt x="207" y="1291"/>
                </a:lnTo>
                <a:lnTo>
                  <a:pt x="215" y="1290"/>
                </a:lnTo>
                <a:lnTo>
                  <a:pt x="223" y="1289"/>
                </a:lnTo>
                <a:lnTo>
                  <a:pt x="235" y="1290"/>
                </a:lnTo>
                <a:lnTo>
                  <a:pt x="246" y="1291"/>
                </a:lnTo>
                <a:lnTo>
                  <a:pt x="256" y="1295"/>
                </a:lnTo>
                <a:lnTo>
                  <a:pt x="267" y="1299"/>
                </a:lnTo>
                <a:lnTo>
                  <a:pt x="278" y="1303"/>
                </a:lnTo>
                <a:lnTo>
                  <a:pt x="288" y="1310"/>
                </a:lnTo>
                <a:lnTo>
                  <a:pt x="298" y="1315"/>
                </a:lnTo>
                <a:lnTo>
                  <a:pt x="307" y="1323"/>
                </a:lnTo>
                <a:lnTo>
                  <a:pt x="326" y="1338"/>
                </a:lnTo>
                <a:lnTo>
                  <a:pt x="342" y="1353"/>
                </a:lnTo>
                <a:lnTo>
                  <a:pt x="356" y="1367"/>
                </a:lnTo>
                <a:lnTo>
                  <a:pt x="368" y="1379"/>
                </a:lnTo>
                <a:lnTo>
                  <a:pt x="375" y="1384"/>
                </a:lnTo>
                <a:lnTo>
                  <a:pt x="382" y="1388"/>
                </a:lnTo>
                <a:lnTo>
                  <a:pt x="390" y="1391"/>
                </a:lnTo>
                <a:lnTo>
                  <a:pt x="396" y="1392"/>
                </a:lnTo>
                <a:lnTo>
                  <a:pt x="411" y="1395"/>
                </a:lnTo>
                <a:lnTo>
                  <a:pt x="427" y="1395"/>
                </a:lnTo>
                <a:lnTo>
                  <a:pt x="443" y="1395"/>
                </a:lnTo>
                <a:lnTo>
                  <a:pt x="459" y="1396"/>
                </a:lnTo>
                <a:lnTo>
                  <a:pt x="476" y="1398"/>
                </a:lnTo>
                <a:lnTo>
                  <a:pt x="495" y="1403"/>
                </a:lnTo>
                <a:lnTo>
                  <a:pt x="499" y="1404"/>
                </a:lnTo>
                <a:lnTo>
                  <a:pt x="503" y="1407"/>
                </a:lnTo>
                <a:lnTo>
                  <a:pt x="507" y="1410"/>
                </a:lnTo>
                <a:lnTo>
                  <a:pt x="511" y="1414"/>
                </a:lnTo>
                <a:lnTo>
                  <a:pt x="519" y="1423"/>
                </a:lnTo>
                <a:lnTo>
                  <a:pt x="526" y="1432"/>
                </a:lnTo>
                <a:lnTo>
                  <a:pt x="535" y="1442"/>
                </a:lnTo>
                <a:lnTo>
                  <a:pt x="544" y="1450"/>
                </a:lnTo>
                <a:lnTo>
                  <a:pt x="548" y="1452"/>
                </a:lnTo>
                <a:lnTo>
                  <a:pt x="555" y="1455"/>
                </a:lnTo>
                <a:lnTo>
                  <a:pt x="560" y="1456"/>
                </a:lnTo>
                <a:lnTo>
                  <a:pt x="567" y="1458"/>
                </a:lnTo>
                <a:lnTo>
                  <a:pt x="575" y="1456"/>
                </a:lnTo>
                <a:lnTo>
                  <a:pt x="583" y="1455"/>
                </a:lnTo>
                <a:lnTo>
                  <a:pt x="590" y="1454"/>
                </a:lnTo>
                <a:lnTo>
                  <a:pt x="595" y="1451"/>
                </a:lnTo>
                <a:lnTo>
                  <a:pt x="606" y="1444"/>
                </a:lnTo>
                <a:lnTo>
                  <a:pt x="614" y="1436"/>
                </a:lnTo>
                <a:lnTo>
                  <a:pt x="622" y="1428"/>
                </a:lnTo>
                <a:lnTo>
                  <a:pt x="630" y="1422"/>
                </a:lnTo>
                <a:lnTo>
                  <a:pt x="634" y="1419"/>
                </a:lnTo>
                <a:lnTo>
                  <a:pt x="639" y="1416"/>
                </a:lnTo>
                <a:lnTo>
                  <a:pt x="644" y="1415"/>
                </a:lnTo>
                <a:lnTo>
                  <a:pt x="651" y="1415"/>
                </a:lnTo>
                <a:lnTo>
                  <a:pt x="664" y="1416"/>
                </a:lnTo>
                <a:lnTo>
                  <a:pt x="678" y="1419"/>
                </a:lnTo>
                <a:lnTo>
                  <a:pt x="691" y="1424"/>
                </a:lnTo>
                <a:lnTo>
                  <a:pt x="705" y="1430"/>
                </a:lnTo>
                <a:lnTo>
                  <a:pt x="733" y="1446"/>
                </a:lnTo>
                <a:lnTo>
                  <a:pt x="763" y="1463"/>
                </a:lnTo>
                <a:lnTo>
                  <a:pt x="789" y="1480"/>
                </a:lnTo>
                <a:lnTo>
                  <a:pt x="815" y="1496"/>
                </a:lnTo>
                <a:lnTo>
                  <a:pt x="827" y="1503"/>
                </a:lnTo>
                <a:lnTo>
                  <a:pt x="837" y="1507"/>
                </a:lnTo>
                <a:lnTo>
                  <a:pt x="847" y="1511"/>
                </a:lnTo>
                <a:lnTo>
                  <a:pt x="856" y="1511"/>
                </a:lnTo>
                <a:lnTo>
                  <a:pt x="861" y="1511"/>
                </a:lnTo>
                <a:lnTo>
                  <a:pt x="867" y="1510"/>
                </a:lnTo>
                <a:lnTo>
                  <a:pt x="871" y="1507"/>
                </a:lnTo>
                <a:lnTo>
                  <a:pt x="876" y="1504"/>
                </a:lnTo>
                <a:lnTo>
                  <a:pt x="884" y="1498"/>
                </a:lnTo>
                <a:lnTo>
                  <a:pt x="892" y="1491"/>
                </a:lnTo>
                <a:lnTo>
                  <a:pt x="900" y="1483"/>
                </a:lnTo>
                <a:lnTo>
                  <a:pt x="908" y="1476"/>
                </a:lnTo>
                <a:lnTo>
                  <a:pt x="913" y="1474"/>
                </a:lnTo>
                <a:lnTo>
                  <a:pt x="917" y="1471"/>
                </a:lnTo>
                <a:lnTo>
                  <a:pt x="923" y="1470"/>
                </a:lnTo>
                <a:lnTo>
                  <a:pt x="928" y="1470"/>
                </a:lnTo>
                <a:lnTo>
                  <a:pt x="937" y="1470"/>
                </a:lnTo>
                <a:lnTo>
                  <a:pt x="945" y="1472"/>
                </a:lnTo>
                <a:lnTo>
                  <a:pt x="953" y="1475"/>
                </a:lnTo>
                <a:lnTo>
                  <a:pt x="961" y="1479"/>
                </a:lnTo>
                <a:lnTo>
                  <a:pt x="969" y="1482"/>
                </a:lnTo>
                <a:lnTo>
                  <a:pt x="977" y="1484"/>
                </a:lnTo>
                <a:lnTo>
                  <a:pt x="985" y="1487"/>
                </a:lnTo>
                <a:lnTo>
                  <a:pt x="995" y="1487"/>
                </a:lnTo>
                <a:lnTo>
                  <a:pt x="1000" y="1482"/>
                </a:lnTo>
                <a:lnTo>
                  <a:pt x="1005" y="1474"/>
                </a:lnTo>
                <a:lnTo>
                  <a:pt x="1008" y="1466"/>
                </a:lnTo>
                <a:lnTo>
                  <a:pt x="1009" y="1456"/>
                </a:lnTo>
                <a:lnTo>
                  <a:pt x="1011" y="1447"/>
                </a:lnTo>
                <a:lnTo>
                  <a:pt x="1011" y="1438"/>
                </a:lnTo>
                <a:lnTo>
                  <a:pt x="1009" y="1428"/>
                </a:lnTo>
                <a:lnTo>
                  <a:pt x="1008" y="1419"/>
                </a:lnTo>
                <a:lnTo>
                  <a:pt x="1000" y="1387"/>
                </a:lnTo>
                <a:lnTo>
                  <a:pt x="995" y="1372"/>
                </a:lnTo>
                <a:lnTo>
                  <a:pt x="1013" y="1341"/>
                </a:lnTo>
                <a:lnTo>
                  <a:pt x="1028" y="1313"/>
                </a:lnTo>
                <a:lnTo>
                  <a:pt x="1036" y="1301"/>
                </a:lnTo>
                <a:lnTo>
                  <a:pt x="1044" y="1290"/>
                </a:lnTo>
                <a:lnTo>
                  <a:pt x="1055" y="1281"/>
                </a:lnTo>
                <a:lnTo>
                  <a:pt x="1067" y="1271"/>
                </a:lnTo>
                <a:lnTo>
                  <a:pt x="1205" y="1271"/>
                </a:lnTo>
                <a:lnTo>
                  <a:pt x="1212" y="1261"/>
                </a:lnTo>
                <a:lnTo>
                  <a:pt x="1217" y="1251"/>
                </a:lnTo>
                <a:lnTo>
                  <a:pt x="1221" y="1241"/>
                </a:lnTo>
                <a:lnTo>
                  <a:pt x="1225" y="1231"/>
                </a:lnTo>
                <a:lnTo>
                  <a:pt x="1231" y="1211"/>
                </a:lnTo>
                <a:lnTo>
                  <a:pt x="1235" y="1190"/>
                </a:lnTo>
                <a:lnTo>
                  <a:pt x="1239" y="1146"/>
                </a:lnTo>
                <a:lnTo>
                  <a:pt x="1241" y="1097"/>
                </a:lnTo>
                <a:lnTo>
                  <a:pt x="1239" y="1075"/>
                </a:lnTo>
                <a:lnTo>
                  <a:pt x="1231" y="1027"/>
                </a:lnTo>
                <a:lnTo>
                  <a:pt x="1224" y="998"/>
                </a:lnTo>
                <a:lnTo>
                  <a:pt x="1219" y="969"/>
                </a:lnTo>
                <a:lnTo>
                  <a:pt x="1212" y="943"/>
                </a:lnTo>
                <a:lnTo>
                  <a:pt x="1205" y="922"/>
                </a:lnTo>
                <a:lnTo>
                  <a:pt x="1201" y="911"/>
                </a:lnTo>
                <a:lnTo>
                  <a:pt x="1195" y="902"/>
                </a:lnTo>
                <a:lnTo>
                  <a:pt x="1188" y="895"/>
                </a:lnTo>
                <a:lnTo>
                  <a:pt x="1180" y="889"/>
                </a:lnTo>
                <a:lnTo>
                  <a:pt x="1161" y="878"/>
                </a:lnTo>
                <a:lnTo>
                  <a:pt x="1141" y="870"/>
                </a:lnTo>
                <a:lnTo>
                  <a:pt x="1121" y="862"/>
                </a:lnTo>
                <a:lnTo>
                  <a:pt x="1104" y="851"/>
                </a:lnTo>
                <a:lnTo>
                  <a:pt x="1096" y="846"/>
                </a:lnTo>
                <a:lnTo>
                  <a:pt x="1088" y="838"/>
                </a:lnTo>
                <a:lnTo>
                  <a:pt x="1083" y="830"/>
                </a:lnTo>
                <a:lnTo>
                  <a:pt x="1079" y="819"/>
                </a:lnTo>
                <a:lnTo>
                  <a:pt x="1077" y="810"/>
                </a:lnTo>
                <a:lnTo>
                  <a:pt x="1077" y="801"/>
                </a:lnTo>
                <a:lnTo>
                  <a:pt x="1080" y="793"/>
                </a:lnTo>
                <a:lnTo>
                  <a:pt x="1083" y="785"/>
                </a:lnTo>
                <a:lnTo>
                  <a:pt x="1088" y="770"/>
                </a:lnTo>
                <a:lnTo>
                  <a:pt x="1091" y="760"/>
                </a:lnTo>
                <a:lnTo>
                  <a:pt x="1091" y="740"/>
                </a:lnTo>
                <a:lnTo>
                  <a:pt x="1091" y="712"/>
                </a:lnTo>
                <a:lnTo>
                  <a:pt x="1091" y="681"/>
                </a:lnTo>
                <a:lnTo>
                  <a:pt x="1091" y="650"/>
                </a:lnTo>
                <a:lnTo>
                  <a:pt x="1089" y="626"/>
                </a:lnTo>
                <a:lnTo>
                  <a:pt x="1088" y="602"/>
                </a:lnTo>
                <a:lnTo>
                  <a:pt x="1085" y="580"/>
                </a:lnTo>
                <a:lnTo>
                  <a:pt x="1081" y="557"/>
                </a:lnTo>
                <a:lnTo>
                  <a:pt x="1079" y="534"/>
                </a:lnTo>
                <a:lnTo>
                  <a:pt x="1076" y="512"/>
                </a:lnTo>
                <a:lnTo>
                  <a:pt x="1073" y="488"/>
                </a:lnTo>
                <a:lnTo>
                  <a:pt x="1072" y="464"/>
                </a:lnTo>
                <a:lnTo>
                  <a:pt x="1073" y="450"/>
                </a:lnTo>
                <a:lnTo>
                  <a:pt x="1076" y="438"/>
                </a:lnTo>
                <a:lnTo>
                  <a:pt x="1079" y="428"/>
                </a:lnTo>
                <a:lnTo>
                  <a:pt x="1081" y="416"/>
                </a:lnTo>
                <a:lnTo>
                  <a:pt x="1085" y="405"/>
                </a:lnTo>
                <a:lnTo>
                  <a:pt x="1088" y="393"/>
                </a:lnTo>
                <a:lnTo>
                  <a:pt x="1089" y="381"/>
                </a:lnTo>
                <a:lnTo>
                  <a:pt x="1091" y="368"/>
                </a:lnTo>
                <a:lnTo>
                  <a:pt x="1091" y="360"/>
                </a:lnTo>
                <a:lnTo>
                  <a:pt x="1089" y="353"/>
                </a:lnTo>
                <a:lnTo>
                  <a:pt x="1087" y="345"/>
                </a:lnTo>
                <a:lnTo>
                  <a:pt x="1085" y="338"/>
                </a:lnTo>
                <a:lnTo>
                  <a:pt x="1079" y="326"/>
                </a:lnTo>
                <a:lnTo>
                  <a:pt x="1071" y="314"/>
                </a:lnTo>
                <a:lnTo>
                  <a:pt x="1052" y="293"/>
                </a:lnTo>
                <a:lnTo>
                  <a:pt x="1036" y="272"/>
                </a:lnTo>
                <a:lnTo>
                  <a:pt x="1029" y="252"/>
                </a:lnTo>
                <a:lnTo>
                  <a:pt x="1020" y="234"/>
                </a:lnTo>
                <a:lnTo>
                  <a:pt x="1011" y="220"/>
                </a:lnTo>
                <a:lnTo>
                  <a:pt x="1000" y="205"/>
                </a:lnTo>
                <a:lnTo>
                  <a:pt x="977" y="181"/>
                </a:lnTo>
                <a:lnTo>
                  <a:pt x="952" y="159"/>
                </a:lnTo>
                <a:lnTo>
                  <a:pt x="940" y="147"/>
                </a:lnTo>
                <a:lnTo>
                  <a:pt x="928" y="135"/>
                </a:lnTo>
                <a:lnTo>
                  <a:pt x="916" y="123"/>
                </a:lnTo>
                <a:lnTo>
                  <a:pt x="904" y="109"/>
                </a:lnTo>
                <a:lnTo>
                  <a:pt x="893" y="93"/>
                </a:lnTo>
                <a:lnTo>
                  <a:pt x="884" y="77"/>
                </a:lnTo>
                <a:lnTo>
                  <a:pt x="875" y="57"/>
                </a:lnTo>
                <a:lnTo>
                  <a:pt x="868" y="36"/>
                </a:lnTo>
                <a:lnTo>
                  <a:pt x="863" y="31"/>
                </a:lnTo>
                <a:lnTo>
                  <a:pt x="853" y="21"/>
                </a:lnTo>
                <a:lnTo>
                  <a:pt x="847" y="16"/>
                </a:lnTo>
                <a:lnTo>
                  <a:pt x="843" y="11"/>
                </a:lnTo>
                <a:lnTo>
                  <a:pt x="839" y="5"/>
                </a:lnTo>
                <a:lnTo>
                  <a:pt x="837" y="0"/>
                </a:lnTo>
                <a:lnTo>
                  <a:pt x="832" y="12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3175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 sz="1400"/>
          </a:p>
        </p:txBody>
      </p:sp>
      <p:sp>
        <p:nvSpPr>
          <p:cNvPr id="145" name="Freeform 38"/>
          <p:cNvSpPr>
            <a:spLocks/>
          </p:cNvSpPr>
          <p:nvPr/>
        </p:nvSpPr>
        <p:spPr bwMode="auto">
          <a:xfrm>
            <a:off x="2980274" y="4036542"/>
            <a:ext cx="736725" cy="626148"/>
          </a:xfrm>
          <a:custGeom>
            <a:avLst/>
            <a:gdLst/>
            <a:ahLst/>
            <a:cxnLst>
              <a:cxn ang="0">
                <a:pos x="745" y="200"/>
              </a:cxn>
              <a:cxn ang="0">
                <a:pos x="635" y="406"/>
              </a:cxn>
              <a:cxn ang="0">
                <a:pos x="566" y="462"/>
              </a:cxn>
              <a:cxn ang="0">
                <a:pos x="487" y="490"/>
              </a:cxn>
              <a:cxn ang="0">
                <a:pos x="464" y="541"/>
              </a:cxn>
              <a:cxn ang="0">
                <a:pos x="490" y="602"/>
              </a:cxn>
              <a:cxn ang="0">
                <a:pos x="500" y="644"/>
              </a:cxn>
              <a:cxn ang="0">
                <a:pos x="476" y="682"/>
              </a:cxn>
              <a:cxn ang="0">
                <a:pos x="466" y="717"/>
              </a:cxn>
              <a:cxn ang="0">
                <a:pos x="487" y="757"/>
              </a:cxn>
              <a:cxn ang="0">
                <a:pos x="472" y="809"/>
              </a:cxn>
              <a:cxn ang="0">
                <a:pos x="422" y="841"/>
              </a:cxn>
              <a:cxn ang="0">
                <a:pos x="344" y="858"/>
              </a:cxn>
              <a:cxn ang="0">
                <a:pos x="326" y="915"/>
              </a:cxn>
              <a:cxn ang="0">
                <a:pos x="286" y="943"/>
              </a:cxn>
              <a:cxn ang="0">
                <a:pos x="215" y="939"/>
              </a:cxn>
              <a:cxn ang="0">
                <a:pos x="168" y="1002"/>
              </a:cxn>
              <a:cxn ang="0">
                <a:pos x="112" y="1037"/>
              </a:cxn>
              <a:cxn ang="0">
                <a:pos x="62" y="1050"/>
              </a:cxn>
              <a:cxn ang="0">
                <a:pos x="16" y="1117"/>
              </a:cxn>
              <a:cxn ang="0">
                <a:pos x="2" y="1190"/>
              </a:cxn>
              <a:cxn ang="0">
                <a:pos x="54" y="1251"/>
              </a:cxn>
              <a:cxn ang="0">
                <a:pos x="139" y="1299"/>
              </a:cxn>
              <a:cxn ang="0">
                <a:pos x="200" y="1294"/>
              </a:cxn>
              <a:cxn ang="0">
                <a:pos x="256" y="1295"/>
              </a:cxn>
              <a:cxn ang="0">
                <a:pos x="326" y="1338"/>
              </a:cxn>
              <a:cxn ang="0">
                <a:pos x="390" y="1391"/>
              </a:cxn>
              <a:cxn ang="0">
                <a:pos x="476" y="1398"/>
              </a:cxn>
              <a:cxn ang="0">
                <a:pos x="519" y="1423"/>
              </a:cxn>
              <a:cxn ang="0">
                <a:pos x="560" y="1456"/>
              </a:cxn>
              <a:cxn ang="0">
                <a:pos x="606" y="1444"/>
              </a:cxn>
              <a:cxn ang="0">
                <a:pos x="644" y="1415"/>
              </a:cxn>
              <a:cxn ang="0">
                <a:pos x="733" y="1446"/>
              </a:cxn>
              <a:cxn ang="0">
                <a:pos x="847" y="1511"/>
              </a:cxn>
              <a:cxn ang="0">
                <a:pos x="884" y="1498"/>
              </a:cxn>
              <a:cxn ang="0">
                <a:pos x="923" y="1470"/>
              </a:cxn>
              <a:cxn ang="0">
                <a:pos x="969" y="1482"/>
              </a:cxn>
              <a:cxn ang="0">
                <a:pos x="1008" y="1466"/>
              </a:cxn>
              <a:cxn ang="0">
                <a:pos x="1000" y="1387"/>
              </a:cxn>
              <a:cxn ang="0">
                <a:pos x="1055" y="1281"/>
              </a:cxn>
              <a:cxn ang="0">
                <a:pos x="1225" y="1231"/>
              </a:cxn>
              <a:cxn ang="0">
                <a:pos x="1231" y="1027"/>
              </a:cxn>
              <a:cxn ang="0">
                <a:pos x="1195" y="902"/>
              </a:cxn>
              <a:cxn ang="0">
                <a:pos x="1104" y="851"/>
              </a:cxn>
              <a:cxn ang="0">
                <a:pos x="1077" y="801"/>
              </a:cxn>
              <a:cxn ang="0">
                <a:pos x="1091" y="712"/>
              </a:cxn>
              <a:cxn ang="0">
                <a:pos x="1081" y="557"/>
              </a:cxn>
              <a:cxn ang="0">
                <a:pos x="1076" y="438"/>
              </a:cxn>
              <a:cxn ang="0">
                <a:pos x="1091" y="368"/>
              </a:cxn>
              <a:cxn ang="0">
                <a:pos x="1071" y="314"/>
              </a:cxn>
              <a:cxn ang="0">
                <a:pos x="1000" y="205"/>
              </a:cxn>
              <a:cxn ang="0">
                <a:pos x="904" y="109"/>
              </a:cxn>
              <a:cxn ang="0">
                <a:pos x="853" y="21"/>
              </a:cxn>
            </a:cxnLst>
            <a:rect l="0" t="0" r="r" b="b"/>
            <a:pathLst>
              <a:path w="1241" h="1511">
                <a:moveTo>
                  <a:pt x="832" y="12"/>
                </a:moveTo>
                <a:lnTo>
                  <a:pt x="816" y="49"/>
                </a:lnTo>
                <a:lnTo>
                  <a:pt x="799" y="87"/>
                </a:lnTo>
                <a:lnTo>
                  <a:pt x="781" y="124"/>
                </a:lnTo>
                <a:lnTo>
                  <a:pt x="764" y="163"/>
                </a:lnTo>
                <a:lnTo>
                  <a:pt x="745" y="200"/>
                </a:lnTo>
                <a:lnTo>
                  <a:pt x="727" y="237"/>
                </a:lnTo>
                <a:lnTo>
                  <a:pt x="707" y="273"/>
                </a:lnTo>
                <a:lnTo>
                  <a:pt x="687" y="308"/>
                </a:lnTo>
                <a:lnTo>
                  <a:pt x="667" y="350"/>
                </a:lnTo>
                <a:lnTo>
                  <a:pt x="646" y="389"/>
                </a:lnTo>
                <a:lnTo>
                  <a:pt x="635" y="406"/>
                </a:lnTo>
                <a:lnTo>
                  <a:pt x="622" y="422"/>
                </a:lnTo>
                <a:lnTo>
                  <a:pt x="608" y="438"/>
                </a:lnTo>
                <a:lnTo>
                  <a:pt x="591" y="452"/>
                </a:lnTo>
                <a:lnTo>
                  <a:pt x="583" y="456"/>
                </a:lnTo>
                <a:lnTo>
                  <a:pt x="575" y="460"/>
                </a:lnTo>
                <a:lnTo>
                  <a:pt x="566" y="462"/>
                </a:lnTo>
                <a:lnTo>
                  <a:pt x="556" y="466"/>
                </a:lnTo>
                <a:lnTo>
                  <a:pt x="535" y="472"/>
                </a:lnTo>
                <a:lnTo>
                  <a:pt x="514" y="477"/>
                </a:lnTo>
                <a:lnTo>
                  <a:pt x="504" y="481"/>
                </a:lnTo>
                <a:lnTo>
                  <a:pt x="495" y="485"/>
                </a:lnTo>
                <a:lnTo>
                  <a:pt x="487" y="490"/>
                </a:lnTo>
                <a:lnTo>
                  <a:pt x="479" y="496"/>
                </a:lnTo>
                <a:lnTo>
                  <a:pt x="474" y="502"/>
                </a:lnTo>
                <a:lnTo>
                  <a:pt x="468" y="510"/>
                </a:lnTo>
                <a:lnTo>
                  <a:pt x="466" y="520"/>
                </a:lnTo>
                <a:lnTo>
                  <a:pt x="464" y="530"/>
                </a:lnTo>
                <a:lnTo>
                  <a:pt x="464" y="541"/>
                </a:lnTo>
                <a:lnTo>
                  <a:pt x="466" y="550"/>
                </a:lnTo>
                <a:lnTo>
                  <a:pt x="468" y="558"/>
                </a:lnTo>
                <a:lnTo>
                  <a:pt x="470" y="566"/>
                </a:lnTo>
                <a:lnTo>
                  <a:pt x="476" y="580"/>
                </a:lnTo>
                <a:lnTo>
                  <a:pt x="483" y="592"/>
                </a:lnTo>
                <a:lnTo>
                  <a:pt x="490" y="602"/>
                </a:lnTo>
                <a:lnTo>
                  <a:pt x="495" y="613"/>
                </a:lnTo>
                <a:lnTo>
                  <a:pt x="498" y="618"/>
                </a:lnTo>
                <a:lnTo>
                  <a:pt x="499" y="625"/>
                </a:lnTo>
                <a:lnTo>
                  <a:pt x="500" y="632"/>
                </a:lnTo>
                <a:lnTo>
                  <a:pt x="500" y="638"/>
                </a:lnTo>
                <a:lnTo>
                  <a:pt x="500" y="644"/>
                </a:lnTo>
                <a:lnTo>
                  <a:pt x="499" y="649"/>
                </a:lnTo>
                <a:lnTo>
                  <a:pt x="498" y="654"/>
                </a:lnTo>
                <a:lnTo>
                  <a:pt x="495" y="658"/>
                </a:lnTo>
                <a:lnTo>
                  <a:pt x="490" y="666"/>
                </a:lnTo>
                <a:lnTo>
                  <a:pt x="483" y="674"/>
                </a:lnTo>
                <a:lnTo>
                  <a:pt x="476" y="682"/>
                </a:lnTo>
                <a:lnTo>
                  <a:pt x="470" y="692"/>
                </a:lnTo>
                <a:lnTo>
                  <a:pt x="468" y="696"/>
                </a:lnTo>
                <a:lnTo>
                  <a:pt x="466" y="701"/>
                </a:lnTo>
                <a:lnTo>
                  <a:pt x="464" y="705"/>
                </a:lnTo>
                <a:lnTo>
                  <a:pt x="464" y="710"/>
                </a:lnTo>
                <a:lnTo>
                  <a:pt x="466" y="717"/>
                </a:lnTo>
                <a:lnTo>
                  <a:pt x="468" y="724"/>
                </a:lnTo>
                <a:lnTo>
                  <a:pt x="472" y="730"/>
                </a:lnTo>
                <a:lnTo>
                  <a:pt x="476" y="736"/>
                </a:lnTo>
                <a:lnTo>
                  <a:pt x="480" y="742"/>
                </a:lnTo>
                <a:lnTo>
                  <a:pt x="484" y="749"/>
                </a:lnTo>
                <a:lnTo>
                  <a:pt x="487" y="757"/>
                </a:lnTo>
                <a:lnTo>
                  <a:pt x="488" y="765"/>
                </a:lnTo>
                <a:lnTo>
                  <a:pt x="488" y="776"/>
                </a:lnTo>
                <a:lnTo>
                  <a:pt x="486" y="785"/>
                </a:lnTo>
                <a:lnTo>
                  <a:pt x="482" y="793"/>
                </a:lnTo>
                <a:lnTo>
                  <a:pt x="478" y="801"/>
                </a:lnTo>
                <a:lnTo>
                  <a:pt x="472" y="809"/>
                </a:lnTo>
                <a:lnTo>
                  <a:pt x="466" y="815"/>
                </a:lnTo>
                <a:lnTo>
                  <a:pt x="458" y="822"/>
                </a:lnTo>
                <a:lnTo>
                  <a:pt x="450" y="827"/>
                </a:lnTo>
                <a:lnTo>
                  <a:pt x="440" y="833"/>
                </a:lnTo>
                <a:lnTo>
                  <a:pt x="431" y="837"/>
                </a:lnTo>
                <a:lnTo>
                  <a:pt x="422" y="841"/>
                </a:lnTo>
                <a:lnTo>
                  <a:pt x="412" y="843"/>
                </a:lnTo>
                <a:lnTo>
                  <a:pt x="392" y="847"/>
                </a:lnTo>
                <a:lnTo>
                  <a:pt x="374" y="849"/>
                </a:lnTo>
                <a:lnTo>
                  <a:pt x="362" y="850"/>
                </a:lnTo>
                <a:lnTo>
                  <a:pt x="352" y="853"/>
                </a:lnTo>
                <a:lnTo>
                  <a:pt x="344" y="858"/>
                </a:lnTo>
                <a:lnTo>
                  <a:pt x="339" y="865"/>
                </a:lnTo>
                <a:lnTo>
                  <a:pt x="335" y="871"/>
                </a:lnTo>
                <a:lnTo>
                  <a:pt x="332" y="879"/>
                </a:lnTo>
                <a:lnTo>
                  <a:pt x="330" y="889"/>
                </a:lnTo>
                <a:lnTo>
                  <a:pt x="328" y="898"/>
                </a:lnTo>
                <a:lnTo>
                  <a:pt x="326" y="915"/>
                </a:lnTo>
                <a:lnTo>
                  <a:pt x="320" y="930"/>
                </a:lnTo>
                <a:lnTo>
                  <a:pt x="318" y="937"/>
                </a:lnTo>
                <a:lnTo>
                  <a:pt x="312" y="942"/>
                </a:lnTo>
                <a:lnTo>
                  <a:pt x="304" y="945"/>
                </a:lnTo>
                <a:lnTo>
                  <a:pt x="296" y="946"/>
                </a:lnTo>
                <a:lnTo>
                  <a:pt x="286" y="943"/>
                </a:lnTo>
                <a:lnTo>
                  <a:pt x="274" y="939"/>
                </a:lnTo>
                <a:lnTo>
                  <a:pt x="259" y="935"/>
                </a:lnTo>
                <a:lnTo>
                  <a:pt x="242" y="934"/>
                </a:lnTo>
                <a:lnTo>
                  <a:pt x="232" y="934"/>
                </a:lnTo>
                <a:lnTo>
                  <a:pt x="223" y="937"/>
                </a:lnTo>
                <a:lnTo>
                  <a:pt x="215" y="939"/>
                </a:lnTo>
                <a:lnTo>
                  <a:pt x="208" y="945"/>
                </a:lnTo>
                <a:lnTo>
                  <a:pt x="202" y="950"/>
                </a:lnTo>
                <a:lnTo>
                  <a:pt x="195" y="957"/>
                </a:lnTo>
                <a:lnTo>
                  <a:pt x="190" y="963"/>
                </a:lnTo>
                <a:lnTo>
                  <a:pt x="186" y="970"/>
                </a:lnTo>
                <a:lnTo>
                  <a:pt x="168" y="1002"/>
                </a:lnTo>
                <a:lnTo>
                  <a:pt x="151" y="1030"/>
                </a:lnTo>
                <a:lnTo>
                  <a:pt x="144" y="1035"/>
                </a:lnTo>
                <a:lnTo>
                  <a:pt x="136" y="1038"/>
                </a:lnTo>
                <a:lnTo>
                  <a:pt x="128" y="1038"/>
                </a:lnTo>
                <a:lnTo>
                  <a:pt x="120" y="1038"/>
                </a:lnTo>
                <a:lnTo>
                  <a:pt x="112" y="1037"/>
                </a:lnTo>
                <a:lnTo>
                  <a:pt x="103" y="1035"/>
                </a:lnTo>
                <a:lnTo>
                  <a:pt x="94" y="1034"/>
                </a:lnTo>
                <a:lnTo>
                  <a:pt x="86" y="1035"/>
                </a:lnTo>
                <a:lnTo>
                  <a:pt x="78" y="1039"/>
                </a:lnTo>
                <a:lnTo>
                  <a:pt x="70" y="1043"/>
                </a:lnTo>
                <a:lnTo>
                  <a:pt x="62" y="1050"/>
                </a:lnTo>
                <a:lnTo>
                  <a:pt x="54" y="1057"/>
                </a:lnTo>
                <a:lnTo>
                  <a:pt x="47" y="1065"/>
                </a:lnTo>
                <a:lnTo>
                  <a:pt x="40" y="1074"/>
                </a:lnTo>
                <a:lnTo>
                  <a:pt x="34" y="1085"/>
                </a:lnTo>
                <a:lnTo>
                  <a:pt x="27" y="1094"/>
                </a:lnTo>
                <a:lnTo>
                  <a:pt x="16" y="1117"/>
                </a:lnTo>
                <a:lnTo>
                  <a:pt x="8" y="1139"/>
                </a:lnTo>
                <a:lnTo>
                  <a:pt x="4" y="1150"/>
                </a:lnTo>
                <a:lnTo>
                  <a:pt x="3" y="1161"/>
                </a:lnTo>
                <a:lnTo>
                  <a:pt x="2" y="1171"/>
                </a:lnTo>
                <a:lnTo>
                  <a:pt x="0" y="1181"/>
                </a:lnTo>
                <a:lnTo>
                  <a:pt x="2" y="1190"/>
                </a:lnTo>
                <a:lnTo>
                  <a:pt x="6" y="1199"/>
                </a:lnTo>
                <a:lnTo>
                  <a:pt x="12" y="1210"/>
                </a:lnTo>
                <a:lnTo>
                  <a:pt x="20" y="1221"/>
                </a:lnTo>
                <a:lnTo>
                  <a:pt x="30" y="1231"/>
                </a:lnTo>
                <a:lnTo>
                  <a:pt x="42" y="1242"/>
                </a:lnTo>
                <a:lnTo>
                  <a:pt x="54" y="1251"/>
                </a:lnTo>
                <a:lnTo>
                  <a:pt x="68" y="1262"/>
                </a:lnTo>
                <a:lnTo>
                  <a:pt x="82" y="1271"/>
                </a:lnTo>
                <a:lnTo>
                  <a:pt x="96" y="1279"/>
                </a:lnTo>
                <a:lnTo>
                  <a:pt x="111" y="1287"/>
                </a:lnTo>
                <a:lnTo>
                  <a:pt x="126" y="1294"/>
                </a:lnTo>
                <a:lnTo>
                  <a:pt x="139" y="1299"/>
                </a:lnTo>
                <a:lnTo>
                  <a:pt x="152" y="1303"/>
                </a:lnTo>
                <a:lnTo>
                  <a:pt x="164" y="1306"/>
                </a:lnTo>
                <a:lnTo>
                  <a:pt x="175" y="1307"/>
                </a:lnTo>
                <a:lnTo>
                  <a:pt x="184" y="1305"/>
                </a:lnTo>
                <a:lnTo>
                  <a:pt x="195" y="1298"/>
                </a:lnTo>
                <a:lnTo>
                  <a:pt x="200" y="1294"/>
                </a:lnTo>
                <a:lnTo>
                  <a:pt x="207" y="1291"/>
                </a:lnTo>
                <a:lnTo>
                  <a:pt x="215" y="1290"/>
                </a:lnTo>
                <a:lnTo>
                  <a:pt x="223" y="1289"/>
                </a:lnTo>
                <a:lnTo>
                  <a:pt x="235" y="1290"/>
                </a:lnTo>
                <a:lnTo>
                  <a:pt x="246" y="1291"/>
                </a:lnTo>
                <a:lnTo>
                  <a:pt x="256" y="1295"/>
                </a:lnTo>
                <a:lnTo>
                  <a:pt x="267" y="1299"/>
                </a:lnTo>
                <a:lnTo>
                  <a:pt x="278" y="1303"/>
                </a:lnTo>
                <a:lnTo>
                  <a:pt x="288" y="1310"/>
                </a:lnTo>
                <a:lnTo>
                  <a:pt x="298" y="1315"/>
                </a:lnTo>
                <a:lnTo>
                  <a:pt x="307" y="1323"/>
                </a:lnTo>
                <a:lnTo>
                  <a:pt x="326" y="1338"/>
                </a:lnTo>
                <a:lnTo>
                  <a:pt x="342" y="1353"/>
                </a:lnTo>
                <a:lnTo>
                  <a:pt x="356" y="1367"/>
                </a:lnTo>
                <a:lnTo>
                  <a:pt x="368" y="1379"/>
                </a:lnTo>
                <a:lnTo>
                  <a:pt x="375" y="1384"/>
                </a:lnTo>
                <a:lnTo>
                  <a:pt x="382" y="1388"/>
                </a:lnTo>
                <a:lnTo>
                  <a:pt x="390" y="1391"/>
                </a:lnTo>
                <a:lnTo>
                  <a:pt x="396" y="1392"/>
                </a:lnTo>
                <a:lnTo>
                  <a:pt x="411" y="1395"/>
                </a:lnTo>
                <a:lnTo>
                  <a:pt x="427" y="1395"/>
                </a:lnTo>
                <a:lnTo>
                  <a:pt x="443" y="1395"/>
                </a:lnTo>
                <a:lnTo>
                  <a:pt x="459" y="1396"/>
                </a:lnTo>
                <a:lnTo>
                  <a:pt x="476" y="1398"/>
                </a:lnTo>
                <a:lnTo>
                  <a:pt x="495" y="1403"/>
                </a:lnTo>
                <a:lnTo>
                  <a:pt x="499" y="1404"/>
                </a:lnTo>
                <a:lnTo>
                  <a:pt x="503" y="1407"/>
                </a:lnTo>
                <a:lnTo>
                  <a:pt x="507" y="1410"/>
                </a:lnTo>
                <a:lnTo>
                  <a:pt x="511" y="1414"/>
                </a:lnTo>
                <a:lnTo>
                  <a:pt x="519" y="1423"/>
                </a:lnTo>
                <a:lnTo>
                  <a:pt x="526" y="1432"/>
                </a:lnTo>
                <a:lnTo>
                  <a:pt x="535" y="1442"/>
                </a:lnTo>
                <a:lnTo>
                  <a:pt x="544" y="1450"/>
                </a:lnTo>
                <a:lnTo>
                  <a:pt x="548" y="1452"/>
                </a:lnTo>
                <a:lnTo>
                  <a:pt x="555" y="1455"/>
                </a:lnTo>
                <a:lnTo>
                  <a:pt x="560" y="1456"/>
                </a:lnTo>
                <a:lnTo>
                  <a:pt x="567" y="1458"/>
                </a:lnTo>
                <a:lnTo>
                  <a:pt x="575" y="1456"/>
                </a:lnTo>
                <a:lnTo>
                  <a:pt x="583" y="1455"/>
                </a:lnTo>
                <a:lnTo>
                  <a:pt x="590" y="1454"/>
                </a:lnTo>
                <a:lnTo>
                  <a:pt x="595" y="1451"/>
                </a:lnTo>
                <a:lnTo>
                  <a:pt x="606" y="1444"/>
                </a:lnTo>
                <a:lnTo>
                  <a:pt x="614" y="1436"/>
                </a:lnTo>
                <a:lnTo>
                  <a:pt x="622" y="1428"/>
                </a:lnTo>
                <a:lnTo>
                  <a:pt x="630" y="1422"/>
                </a:lnTo>
                <a:lnTo>
                  <a:pt x="634" y="1419"/>
                </a:lnTo>
                <a:lnTo>
                  <a:pt x="639" y="1416"/>
                </a:lnTo>
                <a:lnTo>
                  <a:pt x="644" y="1415"/>
                </a:lnTo>
                <a:lnTo>
                  <a:pt x="651" y="1415"/>
                </a:lnTo>
                <a:lnTo>
                  <a:pt x="664" y="1416"/>
                </a:lnTo>
                <a:lnTo>
                  <a:pt x="678" y="1419"/>
                </a:lnTo>
                <a:lnTo>
                  <a:pt x="691" y="1424"/>
                </a:lnTo>
                <a:lnTo>
                  <a:pt x="705" y="1430"/>
                </a:lnTo>
                <a:lnTo>
                  <a:pt x="733" y="1446"/>
                </a:lnTo>
                <a:lnTo>
                  <a:pt x="763" y="1463"/>
                </a:lnTo>
                <a:lnTo>
                  <a:pt x="789" y="1480"/>
                </a:lnTo>
                <a:lnTo>
                  <a:pt x="815" y="1496"/>
                </a:lnTo>
                <a:lnTo>
                  <a:pt x="827" y="1503"/>
                </a:lnTo>
                <a:lnTo>
                  <a:pt x="837" y="1507"/>
                </a:lnTo>
                <a:lnTo>
                  <a:pt x="847" y="1511"/>
                </a:lnTo>
                <a:lnTo>
                  <a:pt x="856" y="1511"/>
                </a:lnTo>
                <a:lnTo>
                  <a:pt x="861" y="1511"/>
                </a:lnTo>
                <a:lnTo>
                  <a:pt x="867" y="1510"/>
                </a:lnTo>
                <a:lnTo>
                  <a:pt x="871" y="1507"/>
                </a:lnTo>
                <a:lnTo>
                  <a:pt x="876" y="1504"/>
                </a:lnTo>
                <a:lnTo>
                  <a:pt x="884" y="1498"/>
                </a:lnTo>
                <a:lnTo>
                  <a:pt x="892" y="1491"/>
                </a:lnTo>
                <a:lnTo>
                  <a:pt x="900" y="1483"/>
                </a:lnTo>
                <a:lnTo>
                  <a:pt x="908" y="1476"/>
                </a:lnTo>
                <a:lnTo>
                  <a:pt x="913" y="1474"/>
                </a:lnTo>
                <a:lnTo>
                  <a:pt x="917" y="1471"/>
                </a:lnTo>
                <a:lnTo>
                  <a:pt x="923" y="1470"/>
                </a:lnTo>
                <a:lnTo>
                  <a:pt x="928" y="1470"/>
                </a:lnTo>
                <a:lnTo>
                  <a:pt x="937" y="1470"/>
                </a:lnTo>
                <a:lnTo>
                  <a:pt x="945" y="1472"/>
                </a:lnTo>
                <a:lnTo>
                  <a:pt x="953" y="1475"/>
                </a:lnTo>
                <a:lnTo>
                  <a:pt x="961" y="1479"/>
                </a:lnTo>
                <a:lnTo>
                  <a:pt x="969" y="1482"/>
                </a:lnTo>
                <a:lnTo>
                  <a:pt x="977" y="1484"/>
                </a:lnTo>
                <a:lnTo>
                  <a:pt x="985" y="1487"/>
                </a:lnTo>
                <a:lnTo>
                  <a:pt x="995" y="1487"/>
                </a:lnTo>
                <a:lnTo>
                  <a:pt x="1000" y="1482"/>
                </a:lnTo>
                <a:lnTo>
                  <a:pt x="1005" y="1474"/>
                </a:lnTo>
                <a:lnTo>
                  <a:pt x="1008" y="1466"/>
                </a:lnTo>
                <a:lnTo>
                  <a:pt x="1009" y="1456"/>
                </a:lnTo>
                <a:lnTo>
                  <a:pt x="1011" y="1447"/>
                </a:lnTo>
                <a:lnTo>
                  <a:pt x="1011" y="1438"/>
                </a:lnTo>
                <a:lnTo>
                  <a:pt x="1009" y="1428"/>
                </a:lnTo>
                <a:lnTo>
                  <a:pt x="1008" y="1419"/>
                </a:lnTo>
                <a:lnTo>
                  <a:pt x="1000" y="1387"/>
                </a:lnTo>
                <a:lnTo>
                  <a:pt x="995" y="1372"/>
                </a:lnTo>
                <a:lnTo>
                  <a:pt x="1013" y="1341"/>
                </a:lnTo>
                <a:lnTo>
                  <a:pt x="1028" y="1313"/>
                </a:lnTo>
                <a:lnTo>
                  <a:pt x="1036" y="1301"/>
                </a:lnTo>
                <a:lnTo>
                  <a:pt x="1044" y="1290"/>
                </a:lnTo>
                <a:lnTo>
                  <a:pt x="1055" y="1281"/>
                </a:lnTo>
                <a:lnTo>
                  <a:pt x="1067" y="1271"/>
                </a:lnTo>
                <a:lnTo>
                  <a:pt x="1205" y="1271"/>
                </a:lnTo>
                <a:lnTo>
                  <a:pt x="1212" y="1261"/>
                </a:lnTo>
                <a:lnTo>
                  <a:pt x="1217" y="1251"/>
                </a:lnTo>
                <a:lnTo>
                  <a:pt x="1221" y="1241"/>
                </a:lnTo>
                <a:lnTo>
                  <a:pt x="1225" y="1231"/>
                </a:lnTo>
                <a:lnTo>
                  <a:pt x="1231" y="1211"/>
                </a:lnTo>
                <a:lnTo>
                  <a:pt x="1235" y="1190"/>
                </a:lnTo>
                <a:lnTo>
                  <a:pt x="1239" y="1146"/>
                </a:lnTo>
                <a:lnTo>
                  <a:pt x="1241" y="1097"/>
                </a:lnTo>
                <a:lnTo>
                  <a:pt x="1239" y="1075"/>
                </a:lnTo>
                <a:lnTo>
                  <a:pt x="1231" y="1027"/>
                </a:lnTo>
                <a:lnTo>
                  <a:pt x="1224" y="998"/>
                </a:lnTo>
                <a:lnTo>
                  <a:pt x="1219" y="969"/>
                </a:lnTo>
                <a:lnTo>
                  <a:pt x="1212" y="943"/>
                </a:lnTo>
                <a:lnTo>
                  <a:pt x="1205" y="922"/>
                </a:lnTo>
                <a:lnTo>
                  <a:pt x="1201" y="911"/>
                </a:lnTo>
                <a:lnTo>
                  <a:pt x="1195" y="902"/>
                </a:lnTo>
                <a:lnTo>
                  <a:pt x="1188" y="895"/>
                </a:lnTo>
                <a:lnTo>
                  <a:pt x="1180" y="889"/>
                </a:lnTo>
                <a:lnTo>
                  <a:pt x="1161" y="878"/>
                </a:lnTo>
                <a:lnTo>
                  <a:pt x="1141" y="870"/>
                </a:lnTo>
                <a:lnTo>
                  <a:pt x="1121" y="862"/>
                </a:lnTo>
                <a:lnTo>
                  <a:pt x="1104" y="851"/>
                </a:lnTo>
                <a:lnTo>
                  <a:pt x="1096" y="846"/>
                </a:lnTo>
                <a:lnTo>
                  <a:pt x="1088" y="838"/>
                </a:lnTo>
                <a:lnTo>
                  <a:pt x="1083" y="830"/>
                </a:lnTo>
                <a:lnTo>
                  <a:pt x="1079" y="819"/>
                </a:lnTo>
                <a:lnTo>
                  <a:pt x="1077" y="810"/>
                </a:lnTo>
                <a:lnTo>
                  <a:pt x="1077" y="801"/>
                </a:lnTo>
                <a:lnTo>
                  <a:pt x="1080" y="793"/>
                </a:lnTo>
                <a:lnTo>
                  <a:pt x="1083" y="785"/>
                </a:lnTo>
                <a:lnTo>
                  <a:pt x="1088" y="770"/>
                </a:lnTo>
                <a:lnTo>
                  <a:pt x="1091" y="760"/>
                </a:lnTo>
                <a:lnTo>
                  <a:pt x="1091" y="740"/>
                </a:lnTo>
                <a:lnTo>
                  <a:pt x="1091" y="712"/>
                </a:lnTo>
                <a:lnTo>
                  <a:pt x="1091" y="681"/>
                </a:lnTo>
                <a:lnTo>
                  <a:pt x="1091" y="650"/>
                </a:lnTo>
                <a:lnTo>
                  <a:pt x="1089" y="626"/>
                </a:lnTo>
                <a:lnTo>
                  <a:pt x="1088" y="602"/>
                </a:lnTo>
                <a:lnTo>
                  <a:pt x="1085" y="580"/>
                </a:lnTo>
                <a:lnTo>
                  <a:pt x="1081" y="557"/>
                </a:lnTo>
                <a:lnTo>
                  <a:pt x="1079" y="534"/>
                </a:lnTo>
                <a:lnTo>
                  <a:pt x="1076" y="512"/>
                </a:lnTo>
                <a:lnTo>
                  <a:pt x="1073" y="488"/>
                </a:lnTo>
                <a:lnTo>
                  <a:pt x="1072" y="464"/>
                </a:lnTo>
                <a:lnTo>
                  <a:pt x="1073" y="450"/>
                </a:lnTo>
                <a:lnTo>
                  <a:pt x="1076" y="438"/>
                </a:lnTo>
                <a:lnTo>
                  <a:pt x="1079" y="428"/>
                </a:lnTo>
                <a:lnTo>
                  <a:pt x="1081" y="416"/>
                </a:lnTo>
                <a:lnTo>
                  <a:pt x="1085" y="405"/>
                </a:lnTo>
                <a:lnTo>
                  <a:pt x="1088" y="393"/>
                </a:lnTo>
                <a:lnTo>
                  <a:pt x="1089" y="381"/>
                </a:lnTo>
                <a:lnTo>
                  <a:pt x="1091" y="368"/>
                </a:lnTo>
                <a:lnTo>
                  <a:pt x="1091" y="360"/>
                </a:lnTo>
                <a:lnTo>
                  <a:pt x="1089" y="353"/>
                </a:lnTo>
                <a:lnTo>
                  <a:pt x="1087" y="345"/>
                </a:lnTo>
                <a:lnTo>
                  <a:pt x="1085" y="338"/>
                </a:lnTo>
                <a:lnTo>
                  <a:pt x="1079" y="326"/>
                </a:lnTo>
                <a:lnTo>
                  <a:pt x="1071" y="314"/>
                </a:lnTo>
                <a:lnTo>
                  <a:pt x="1052" y="293"/>
                </a:lnTo>
                <a:lnTo>
                  <a:pt x="1036" y="272"/>
                </a:lnTo>
                <a:lnTo>
                  <a:pt x="1029" y="252"/>
                </a:lnTo>
                <a:lnTo>
                  <a:pt x="1020" y="234"/>
                </a:lnTo>
                <a:lnTo>
                  <a:pt x="1011" y="220"/>
                </a:lnTo>
                <a:lnTo>
                  <a:pt x="1000" y="205"/>
                </a:lnTo>
                <a:lnTo>
                  <a:pt x="977" y="181"/>
                </a:lnTo>
                <a:lnTo>
                  <a:pt x="952" y="159"/>
                </a:lnTo>
                <a:lnTo>
                  <a:pt x="940" y="147"/>
                </a:lnTo>
                <a:lnTo>
                  <a:pt x="928" y="135"/>
                </a:lnTo>
                <a:lnTo>
                  <a:pt x="916" y="123"/>
                </a:lnTo>
                <a:lnTo>
                  <a:pt x="904" y="109"/>
                </a:lnTo>
                <a:lnTo>
                  <a:pt x="893" y="93"/>
                </a:lnTo>
                <a:lnTo>
                  <a:pt x="884" y="77"/>
                </a:lnTo>
                <a:lnTo>
                  <a:pt x="875" y="57"/>
                </a:lnTo>
                <a:lnTo>
                  <a:pt x="868" y="36"/>
                </a:lnTo>
                <a:lnTo>
                  <a:pt x="863" y="31"/>
                </a:lnTo>
                <a:lnTo>
                  <a:pt x="853" y="21"/>
                </a:lnTo>
                <a:lnTo>
                  <a:pt x="847" y="16"/>
                </a:lnTo>
                <a:lnTo>
                  <a:pt x="843" y="11"/>
                </a:lnTo>
                <a:lnTo>
                  <a:pt x="839" y="5"/>
                </a:lnTo>
                <a:lnTo>
                  <a:pt x="837" y="0"/>
                </a:lnTo>
                <a:lnTo>
                  <a:pt x="832" y="12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3175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 sz="1400"/>
          </a:p>
        </p:txBody>
      </p:sp>
      <p:sp>
        <p:nvSpPr>
          <p:cNvPr id="152" name="Freeform 38"/>
          <p:cNvSpPr>
            <a:spLocks/>
          </p:cNvSpPr>
          <p:nvPr/>
        </p:nvSpPr>
        <p:spPr bwMode="auto">
          <a:xfrm>
            <a:off x="3503376" y="4620386"/>
            <a:ext cx="736725" cy="639546"/>
          </a:xfrm>
          <a:custGeom>
            <a:avLst/>
            <a:gdLst/>
            <a:ahLst/>
            <a:cxnLst>
              <a:cxn ang="0">
                <a:pos x="745" y="200"/>
              </a:cxn>
              <a:cxn ang="0">
                <a:pos x="635" y="406"/>
              </a:cxn>
              <a:cxn ang="0">
                <a:pos x="566" y="462"/>
              </a:cxn>
              <a:cxn ang="0">
                <a:pos x="487" y="490"/>
              </a:cxn>
              <a:cxn ang="0">
                <a:pos x="464" y="541"/>
              </a:cxn>
              <a:cxn ang="0">
                <a:pos x="490" y="602"/>
              </a:cxn>
              <a:cxn ang="0">
                <a:pos x="500" y="644"/>
              </a:cxn>
              <a:cxn ang="0">
                <a:pos x="476" y="682"/>
              </a:cxn>
              <a:cxn ang="0">
                <a:pos x="466" y="717"/>
              </a:cxn>
              <a:cxn ang="0">
                <a:pos x="487" y="757"/>
              </a:cxn>
              <a:cxn ang="0">
                <a:pos x="472" y="809"/>
              </a:cxn>
              <a:cxn ang="0">
                <a:pos x="422" y="841"/>
              </a:cxn>
              <a:cxn ang="0">
                <a:pos x="344" y="858"/>
              </a:cxn>
              <a:cxn ang="0">
                <a:pos x="326" y="915"/>
              </a:cxn>
              <a:cxn ang="0">
                <a:pos x="286" y="943"/>
              </a:cxn>
              <a:cxn ang="0">
                <a:pos x="215" y="939"/>
              </a:cxn>
              <a:cxn ang="0">
                <a:pos x="168" y="1002"/>
              </a:cxn>
              <a:cxn ang="0">
                <a:pos x="112" y="1037"/>
              </a:cxn>
              <a:cxn ang="0">
                <a:pos x="62" y="1050"/>
              </a:cxn>
              <a:cxn ang="0">
                <a:pos x="16" y="1117"/>
              </a:cxn>
              <a:cxn ang="0">
                <a:pos x="2" y="1190"/>
              </a:cxn>
              <a:cxn ang="0">
                <a:pos x="54" y="1251"/>
              </a:cxn>
              <a:cxn ang="0">
                <a:pos x="139" y="1299"/>
              </a:cxn>
              <a:cxn ang="0">
                <a:pos x="200" y="1294"/>
              </a:cxn>
              <a:cxn ang="0">
                <a:pos x="256" y="1295"/>
              </a:cxn>
              <a:cxn ang="0">
                <a:pos x="326" y="1338"/>
              </a:cxn>
              <a:cxn ang="0">
                <a:pos x="390" y="1391"/>
              </a:cxn>
              <a:cxn ang="0">
                <a:pos x="476" y="1398"/>
              </a:cxn>
              <a:cxn ang="0">
                <a:pos x="519" y="1423"/>
              </a:cxn>
              <a:cxn ang="0">
                <a:pos x="560" y="1456"/>
              </a:cxn>
              <a:cxn ang="0">
                <a:pos x="606" y="1444"/>
              </a:cxn>
              <a:cxn ang="0">
                <a:pos x="644" y="1415"/>
              </a:cxn>
              <a:cxn ang="0">
                <a:pos x="733" y="1446"/>
              </a:cxn>
              <a:cxn ang="0">
                <a:pos x="847" y="1511"/>
              </a:cxn>
              <a:cxn ang="0">
                <a:pos x="884" y="1498"/>
              </a:cxn>
              <a:cxn ang="0">
                <a:pos x="923" y="1470"/>
              </a:cxn>
              <a:cxn ang="0">
                <a:pos x="969" y="1482"/>
              </a:cxn>
              <a:cxn ang="0">
                <a:pos x="1008" y="1466"/>
              </a:cxn>
              <a:cxn ang="0">
                <a:pos x="1000" y="1387"/>
              </a:cxn>
              <a:cxn ang="0">
                <a:pos x="1055" y="1281"/>
              </a:cxn>
              <a:cxn ang="0">
                <a:pos x="1225" y="1231"/>
              </a:cxn>
              <a:cxn ang="0">
                <a:pos x="1231" y="1027"/>
              </a:cxn>
              <a:cxn ang="0">
                <a:pos x="1195" y="902"/>
              </a:cxn>
              <a:cxn ang="0">
                <a:pos x="1104" y="851"/>
              </a:cxn>
              <a:cxn ang="0">
                <a:pos x="1077" y="801"/>
              </a:cxn>
              <a:cxn ang="0">
                <a:pos x="1091" y="712"/>
              </a:cxn>
              <a:cxn ang="0">
                <a:pos x="1081" y="557"/>
              </a:cxn>
              <a:cxn ang="0">
                <a:pos x="1076" y="438"/>
              </a:cxn>
              <a:cxn ang="0">
                <a:pos x="1091" y="368"/>
              </a:cxn>
              <a:cxn ang="0">
                <a:pos x="1071" y="314"/>
              </a:cxn>
              <a:cxn ang="0">
                <a:pos x="1000" y="205"/>
              </a:cxn>
              <a:cxn ang="0">
                <a:pos x="904" y="109"/>
              </a:cxn>
              <a:cxn ang="0">
                <a:pos x="853" y="21"/>
              </a:cxn>
            </a:cxnLst>
            <a:rect l="0" t="0" r="r" b="b"/>
            <a:pathLst>
              <a:path w="1241" h="1511">
                <a:moveTo>
                  <a:pt x="832" y="12"/>
                </a:moveTo>
                <a:lnTo>
                  <a:pt x="816" y="49"/>
                </a:lnTo>
                <a:lnTo>
                  <a:pt x="799" y="87"/>
                </a:lnTo>
                <a:lnTo>
                  <a:pt x="781" y="124"/>
                </a:lnTo>
                <a:lnTo>
                  <a:pt x="764" y="163"/>
                </a:lnTo>
                <a:lnTo>
                  <a:pt x="745" y="200"/>
                </a:lnTo>
                <a:lnTo>
                  <a:pt x="727" y="237"/>
                </a:lnTo>
                <a:lnTo>
                  <a:pt x="707" y="273"/>
                </a:lnTo>
                <a:lnTo>
                  <a:pt x="687" y="308"/>
                </a:lnTo>
                <a:lnTo>
                  <a:pt x="667" y="350"/>
                </a:lnTo>
                <a:lnTo>
                  <a:pt x="646" y="389"/>
                </a:lnTo>
                <a:lnTo>
                  <a:pt x="635" y="406"/>
                </a:lnTo>
                <a:lnTo>
                  <a:pt x="622" y="422"/>
                </a:lnTo>
                <a:lnTo>
                  <a:pt x="608" y="438"/>
                </a:lnTo>
                <a:lnTo>
                  <a:pt x="591" y="452"/>
                </a:lnTo>
                <a:lnTo>
                  <a:pt x="583" y="456"/>
                </a:lnTo>
                <a:lnTo>
                  <a:pt x="575" y="460"/>
                </a:lnTo>
                <a:lnTo>
                  <a:pt x="566" y="462"/>
                </a:lnTo>
                <a:lnTo>
                  <a:pt x="556" y="466"/>
                </a:lnTo>
                <a:lnTo>
                  <a:pt x="535" y="472"/>
                </a:lnTo>
                <a:lnTo>
                  <a:pt x="514" y="477"/>
                </a:lnTo>
                <a:lnTo>
                  <a:pt x="504" y="481"/>
                </a:lnTo>
                <a:lnTo>
                  <a:pt x="495" y="485"/>
                </a:lnTo>
                <a:lnTo>
                  <a:pt x="487" y="490"/>
                </a:lnTo>
                <a:lnTo>
                  <a:pt x="479" y="496"/>
                </a:lnTo>
                <a:lnTo>
                  <a:pt x="474" y="502"/>
                </a:lnTo>
                <a:lnTo>
                  <a:pt x="468" y="510"/>
                </a:lnTo>
                <a:lnTo>
                  <a:pt x="466" y="520"/>
                </a:lnTo>
                <a:lnTo>
                  <a:pt x="464" y="530"/>
                </a:lnTo>
                <a:lnTo>
                  <a:pt x="464" y="541"/>
                </a:lnTo>
                <a:lnTo>
                  <a:pt x="466" y="550"/>
                </a:lnTo>
                <a:lnTo>
                  <a:pt x="468" y="558"/>
                </a:lnTo>
                <a:lnTo>
                  <a:pt x="470" y="566"/>
                </a:lnTo>
                <a:lnTo>
                  <a:pt x="476" y="580"/>
                </a:lnTo>
                <a:lnTo>
                  <a:pt x="483" y="592"/>
                </a:lnTo>
                <a:lnTo>
                  <a:pt x="490" y="602"/>
                </a:lnTo>
                <a:lnTo>
                  <a:pt x="495" y="613"/>
                </a:lnTo>
                <a:lnTo>
                  <a:pt x="498" y="618"/>
                </a:lnTo>
                <a:lnTo>
                  <a:pt x="499" y="625"/>
                </a:lnTo>
                <a:lnTo>
                  <a:pt x="500" y="632"/>
                </a:lnTo>
                <a:lnTo>
                  <a:pt x="500" y="638"/>
                </a:lnTo>
                <a:lnTo>
                  <a:pt x="500" y="644"/>
                </a:lnTo>
                <a:lnTo>
                  <a:pt x="499" y="649"/>
                </a:lnTo>
                <a:lnTo>
                  <a:pt x="498" y="654"/>
                </a:lnTo>
                <a:lnTo>
                  <a:pt x="495" y="658"/>
                </a:lnTo>
                <a:lnTo>
                  <a:pt x="490" y="666"/>
                </a:lnTo>
                <a:lnTo>
                  <a:pt x="483" y="674"/>
                </a:lnTo>
                <a:lnTo>
                  <a:pt x="476" y="682"/>
                </a:lnTo>
                <a:lnTo>
                  <a:pt x="470" y="692"/>
                </a:lnTo>
                <a:lnTo>
                  <a:pt x="468" y="696"/>
                </a:lnTo>
                <a:lnTo>
                  <a:pt x="466" y="701"/>
                </a:lnTo>
                <a:lnTo>
                  <a:pt x="464" y="705"/>
                </a:lnTo>
                <a:lnTo>
                  <a:pt x="464" y="710"/>
                </a:lnTo>
                <a:lnTo>
                  <a:pt x="466" y="717"/>
                </a:lnTo>
                <a:lnTo>
                  <a:pt x="468" y="724"/>
                </a:lnTo>
                <a:lnTo>
                  <a:pt x="472" y="730"/>
                </a:lnTo>
                <a:lnTo>
                  <a:pt x="476" y="736"/>
                </a:lnTo>
                <a:lnTo>
                  <a:pt x="480" y="742"/>
                </a:lnTo>
                <a:lnTo>
                  <a:pt x="484" y="749"/>
                </a:lnTo>
                <a:lnTo>
                  <a:pt x="487" y="757"/>
                </a:lnTo>
                <a:lnTo>
                  <a:pt x="488" y="765"/>
                </a:lnTo>
                <a:lnTo>
                  <a:pt x="488" y="776"/>
                </a:lnTo>
                <a:lnTo>
                  <a:pt x="486" y="785"/>
                </a:lnTo>
                <a:lnTo>
                  <a:pt x="482" y="793"/>
                </a:lnTo>
                <a:lnTo>
                  <a:pt x="478" y="801"/>
                </a:lnTo>
                <a:lnTo>
                  <a:pt x="472" y="809"/>
                </a:lnTo>
                <a:lnTo>
                  <a:pt x="466" y="815"/>
                </a:lnTo>
                <a:lnTo>
                  <a:pt x="458" y="822"/>
                </a:lnTo>
                <a:lnTo>
                  <a:pt x="450" y="827"/>
                </a:lnTo>
                <a:lnTo>
                  <a:pt x="440" y="833"/>
                </a:lnTo>
                <a:lnTo>
                  <a:pt x="431" y="837"/>
                </a:lnTo>
                <a:lnTo>
                  <a:pt x="422" y="841"/>
                </a:lnTo>
                <a:lnTo>
                  <a:pt x="412" y="843"/>
                </a:lnTo>
                <a:lnTo>
                  <a:pt x="392" y="847"/>
                </a:lnTo>
                <a:lnTo>
                  <a:pt x="374" y="849"/>
                </a:lnTo>
                <a:lnTo>
                  <a:pt x="362" y="850"/>
                </a:lnTo>
                <a:lnTo>
                  <a:pt x="352" y="853"/>
                </a:lnTo>
                <a:lnTo>
                  <a:pt x="344" y="858"/>
                </a:lnTo>
                <a:lnTo>
                  <a:pt x="339" y="865"/>
                </a:lnTo>
                <a:lnTo>
                  <a:pt x="335" y="871"/>
                </a:lnTo>
                <a:lnTo>
                  <a:pt x="332" y="879"/>
                </a:lnTo>
                <a:lnTo>
                  <a:pt x="330" y="889"/>
                </a:lnTo>
                <a:lnTo>
                  <a:pt x="328" y="898"/>
                </a:lnTo>
                <a:lnTo>
                  <a:pt x="326" y="915"/>
                </a:lnTo>
                <a:lnTo>
                  <a:pt x="320" y="930"/>
                </a:lnTo>
                <a:lnTo>
                  <a:pt x="318" y="937"/>
                </a:lnTo>
                <a:lnTo>
                  <a:pt x="312" y="942"/>
                </a:lnTo>
                <a:lnTo>
                  <a:pt x="304" y="945"/>
                </a:lnTo>
                <a:lnTo>
                  <a:pt x="296" y="946"/>
                </a:lnTo>
                <a:lnTo>
                  <a:pt x="286" y="943"/>
                </a:lnTo>
                <a:lnTo>
                  <a:pt x="274" y="939"/>
                </a:lnTo>
                <a:lnTo>
                  <a:pt x="259" y="935"/>
                </a:lnTo>
                <a:lnTo>
                  <a:pt x="242" y="934"/>
                </a:lnTo>
                <a:lnTo>
                  <a:pt x="232" y="934"/>
                </a:lnTo>
                <a:lnTo>
                  <a:pt x="223" y="937"/>
                </a:lnTo>
                <a:lnTo>
                  <a:pt x="215" y="939"/>
                </a:lnTo>
                <a:lnTo>
                  <a:pt x="208" y="945"/>
                </a:lnTo>
                <a:lnTo>
                  <a:pt x="202" y="950"/>
                </a:lnTo>
                <a:lnTo>
                  <a:pt x="195" y="957"/>
                </a:lnTo>
                <a:lnTo>
                  <a:pt x="190" y="963"/>
                </a:lnTo>
                <a:lnTo>
                  <a:pt x="186" y="970"/>
                </a:lnTo>
                <a:lnTo>
                  <a:pt x="168" y="1002"/>
                </a:lnTo>
                <a:lnTo>
                  <a:pt x="151" y="1030"/>
                </a:lnTo>
                <a:lnTo>
                  <a:pt x="144" y="1035"/>
                </a:lnTo>
                <a:lnTo>
                  <a:pt x="136" y="1038"/>
                </a:lnTo>
                <a:lnTo>
                  <a:pt x="128" y="1038"/>
                </a:lnTo>
                <a:lnTo>
                  <a:pt x="120" y="1038"/>
                </a:lnTo>
                <a:lnTo>
                  <a:pt x="112" y="1037"/>
                </a:lnTo>
                <a:lnTo>
                  <a:pt x="103" y="1035"/>
                </a:lnTo>
                <a:lnTo>
                  <a:pt x="94" y="1034"/>
                </a:lnTo>
                <a:lnTo>
                  <a:pt x="86" y="1035"/>
                </a:lnTo>
                <a:lnTo>
                  <a:pt x="78" y="1039"/>
                </a:lnTo>
                <a:lnTo>
                  <a:pt x="70" y="1043"/>
                </a:lnTo>
                <a:lnTo>
                  <a:pt x="62" y="1050"/>
                </a:lnTo>
                <a:lnTo>
                  <a:pt x="54" y="1057"/>
                </a:lnTo>
                <a:lnTo>
                  <a:pt x="47" y="1065"/>
                </a:lnTo>
                <a:lnTo>
                  <a:pt x="40" y="1074"/>
                </a:lnTo>
                <a:lnTo>
                  <a:pt x="34" y="1085"/>
                </a:lnTo>
                <a:lnTo>
                  <a:pt x="27" y="1094"/>
                </a:lnTo>
                <a:lnTo>
                  <a:pt x="16" y="1117"/>
                </a:lnTo>
                <a:lnTo>
                  <a:pt x="8" y="1139"/>
                </a:lnTo>
                <a:lnTo>
                  <a:pt x="4" y="1150"/>
                </a:lnTo>
                <a:lnTo>
                  <a:pt x="3" y="1161"/>
                </a:lnTo>
                <a:lnTo>
                  <a:pt x="2" y="1171"/>
                </a:lnTo>
                <a:lnTo>
                  <a:pt x="0" y="1181"/>
                </a:lnTo>
                <a:lnTo>
                  <a:pt x="2" y="1190"/>
                </a:lnTo>
                <a:lnTo>
                  <a:pt x="6" y="1199"/>
                </a:lnTo>
                <a:lnTo>
                  <a:pt x="12" y="1210"/>
                </a:lnTo>
                <a:lnTo>
                  <a:pt x="20" y="1221"/>
                </a:lnTo>
                <a:lnTo>
                  <a:pt x="30" y="1231"/>
                </a:lnTo>
                <a:lnTo>
                  <a:pt x="42" y="1242"/>
                </a:lnTo>
                <a:lnTo>
                  <a:pt x="54" y="1251"/>
                </a:lnTo>
                <a:lnTo>
                  <a:pt x="68" y="1262"/>
                </a:lnTo>
                <a:lnTo>
                  <a:pt x="82" y="1271"/>
                </a:lnTo>
                <a:lnTo>
                  <a:pt x="96" y="1279"/>
                </a:lnTo>
                <a:lnTo>
                  <a:pt x="111" y="1287"/>
                </a:lnTo>
                <a:lnTo>
                  <a:pt x="126" y="1294"/>
                </a:lnTo>
                <a:lnTo>
                  <a:pt x="139" y="1299"/>
                </a:lnTo>
                <a:lnTo>
                  <a:pt x="152" y="1303"/>
                </a:lnTo>
                <a:lnTo>
                  <a:pt x="164" y="1306"/>
                </a:lnTo>
                <a:lnTo>
                  <a:pt x="175" y="1307"/>
                </a:lnTo>
                <a:lnTo>
                  <a:pt x="184" y="1305"/>
                </a:lnTo>
                <a:lnTo>
                  <a:pt x="195" y="1298"/>
                </a:lnTo>
                <a:lnTo>
                  <a:pt x="200" y="1294"/>
                </a:lnTo>
                <a:lnTo>
                  <a:pt x="207" y="1291"/>
                </a:lnTo>
                <a:lnTo>
                  <a:pt x="215" y="1290"/>
                </a:lnTo>
                <a:lnTo>
                  <a:pt x="223" y="1289"/>
                </a:lnTo>
                <a:lnTo>
                  <a:pt x="235" y="1290"/>
                </a:lnTo>
                <a:lnTo>
                  <a:pt x="246" y="1291"/>
                </a:lnTo>
                <a:lnTo>
                  <a:pt x="256" y="1295"/>
                </a:lnTo>
                <a:lnTo>
                  <a:pt x="267" y="1299"/>
                </a:lnTo>
                <a:lnTo>
                  <a:pt x="278" y="1303"/>
                </a:lnTo>
                <a:lnTo>
                  <a:pt x="288" y="1310"/>
                </a:lnTo>
                <a:lnTo>
                  <a:pt x="298" y="1315"/>
                </a:lnTo>
                <a:lnTo>
                  <a:pt x="307" y="1323"/>
                </a:lnTo>
                <a:lnTo>
                  <a:pt x="326" y="1338"/>
                </a:lnTo>
                <a:lnTo>
                  <a:pt x="342" y="1353"/>
                </a:lnTo>
                <a:lnTo>
                  <a:pt x="356" y="1367"/>
                </a:lnTo>
                <a:lnTo>
                  <a:pt x="368" y="1379"/>
                </a:lnTo>
                <a:lnTo>
                  <a:pt x="375" y="1384"/>
                </a:lnTo>
                <a:lnTo>
                  <a:pt x="382" y="1388"/>
                </a:lnTo>
                <a:lnTo>
                  <a:pt x="390" y="1391"/>
                </a:lnTo>
                <a:lnTo>
                  <a:pt x="396" y="1392"/>
                </a:lnTo>
                <a:lnTo>
                  <a:pt x="411" y="1395"/>
                </a:lnTo>
                <a:lnTo>
                  <a:pt x="427" y="1395"/>
                </a:lnTo>
                <a:lnTo>
                  <a:pt x="443" y="1395"/>
                </a:lnTo>
                <a:lnTo>
                  <a:pt x="459" y="1396"/>
                </a:lnTo>
                <a:lnTo>
                  <a:pt x="476" y="1398"/>
                </a:lnTo>
                <a:lnTo>
                  <a:pt x="495" y="1403"/>
                </a:lnTo>
                <a:lnTo>
                  <a:pt x="499" y="1404"/>
                </a:lnTo>
                <a:lnTo>
                  <a:pt x="503" y="1407"/>
                </a:lnTo>
                <a:lnTo>
                  <a:pt x="507" y="1410"/>
                </a:lnTo>
                <a:lnTo>
                  <a:pt x="511" y="1414"/>
                </a:lnTo>
                <a:lnTo>
                  <a:pt x="519" y="1423"/>
                </a:lnTo>
                <a:lnTo>
                  <a:pt x="526" y="1432"/>
                </a:lnTo>
                <a:lnTo>
                  <a:pt x="535" y="1442"/>
                </a:lnTo>
                <a:lnTo>
                  <a:pt x="544" y="1450"/>
                </a:lnTo>
                <a:lnTo>
                  <a:pt x="548" y="1452"/>
                </a:lnTo>
                <a:lnTo>
                  <a:pt x="555" y="1455"/>
                </a:lnTo>
                <a:lnTo>
                  <a:pt x="560" y="1456"/>
                </a:lnTo>
                <a:lnTo>
                  <a:pt x="567" y="1458"/>
                </a:lnTo>
                <a:lnTo>
                  <a:pt x="575" y="1456"/>
                </a:lnTo>
                <a:lnTo>
                  <a:pt x="583" y="1455"/>
                </a:lnTo>
                <a:lnTo>
                  <a:pt x="590" y="1454"/>
                </a:lnTo>
                <a:lnTo>
                  <a:pt x="595" y="1451"/>
                </a:lnTo>
                <a:lnTo>
                  <a:pt x="606" y="1444"/>
                </a:lnTo>
                <a:lnTo>
                  <a:pt x="614" y="1436"/>
                </a:lnTo>
                <a:lnTo>
                  <a:pt x="622" y="1428"/>
                </a:lnTo>
                <a:lnTo>
                  <a:pt x="630" y="1422"/>
                </a:lnTo>
                <a:lnTo>
                  <a:pt x="634" y="1419"/>
                </a:lnTo>
                <a:lnTo>
                  <a:pt x="639" y="1416"/>
                </a:lnTo>
                <a:lnTo>
                  <a:pt x="644" y="1415"/>
                </a:lnTo>
                <a:lnTo>
                  <a:pt x="651" y="1415"/>
                </a:lnTo>
                <a:lnTo>
                  <a:pt x="664" y="1416"/>
                </a:lnTo>
                <a:lnTo>
                  <a:pt x="678" y="1419"/>
                </a:lnTo>
                <a:lnTo>
                  <a:pt x="691" y="1424"/>
                </a:lnTo>
                <a:lnTo>
                  <a:pt x="705" y="1430"/>
                </a:lnTo>
                <a:lnTo>
                  <a:pt x="733" y="1446"/>
                </a:lnTo>
                <a:lnTo>
                  <a:pt x="763" y="1463"/>
                </a:lnTo>
                <a:lnTo>
                  <a:pt x="789" y="1480"/>
                </a:lnTo>
                <a:lnTo>
                  <a:pt x="815" y="1496"/>
                </a:lnTo>
                <a:lnTo>
                  <a:pt x="827" y="1503"/>
                </a:lnTo>
                <a:lnTo>
                  <a:pt x="837" y="1507"/>
                </a:lnTo>
                <a:lnTo>
                  <a:pt x="847" y="1511"/>
                </a:lnTo>
                <a:lnTo>
                  <a:pt x="856" y="1511"/>
                </a:lnTo>
                <a:lnTo>
                  <a:pt x="861" y="1511"/>
                </a:lnTo>
                <a:lnTo>
                  <a:pt x="867" y="1510"/>
                </a:lnTo>
                <a:lnTo>
                  <a:pt x="871" y="1507"/>
                </a:lnTo>
                <a:lnTo>
                  <a:pt x="876" y="1504"/>
                </a:lnTo>
                <a:lnTo>
                  <a:pt x="884" y="1498"/>
                </a:lnTo>
                <a:lnTo>
                  <a:pt x="892" y="1491"/>
                </a:lnTo>
                <a:lnTo>
                  <a:pt x="900" y="1483"/>
                </a:lnTo>
                <a:lnTo>
                  <a:pt x="908" y="1476"/>
                </a:lnTo>
                <a:lnTo>
                  <a:pt x="913" y="1474"/>
                </a:lnTo>
                <a:lnTo>
                  <a:pt x="917" y="1471"/>
                </a:lnTo>
                <a:lnTo>
                  <a:pt x="923" y="1470"/>
                </a:lnTo>
                <a:lnTo>
                  <a:pt x="928" y="1470"/>
                </a:lnTo>
                <a:lnTo>
                  <a:pt x="937" y="1470"/>
                </a:lnTo>
                <a:lnTo>
                  <a:pt x="945" y="1472"/>
                </a:lnTo>
                <a:lnTo>
                  <a:pt x="953" y="1475"/>
                </a:lnTo>
                <a:lnTo>
                  <a:pt x="961" y="1479"/>
                </a:lnTo>
                <a:lnTo>
                  <a:pt x="969" y="1482"/>
                </a:lnTo>
                <a:lnTo>
                  <a:pt x="977" y="1484"/>
                </a:lnTo>
                <a:lnTo>
                  <a:pt x="985" y="1487"/>
                </a:lnTo>
                <a:lnTo>
                  <a:pt x="995" y="1487"/>
                </a:lnTo>
                <a:lnTo>
                  <a:pt x="1000" y="1482"/>
                </a:lnTo>
                <a:lnTo>
                  <a:pt x="1005" y="1474"/>
                </a:lnTo>
                <a:lnTo>
                  <a:pt x="1008" y="1466"/>
                </a:lnTo>
                <a:lnTo>
                  <a:pt x="1009" y="1456"/>
                </a:lnTo>
                <a:lnTo>
                  <a:pt x="1011" y="1447"/>
                </a:lnTo>
                <a:lnTo>
                  <a:pt x="1011" y="1438"/>
                </a:lnTo>
                <a:lnTo>
                  <a:pt x="1009" y="1428"/>
                </a:lnTo>
                <a:lnTo>
                  <a:pt x="1008" y="1419"/>
                </a:lnTo>
                <a:lnTo>
                  <a:pt x="1000" y="1387"/>
                </a:lnTo>
                <a:lnTo>
                  <a:pt x="995" y="1372"/>
                </a:lnTo>
                <a:lnTo>
                  <a:pt x="1013" y="1341"/>
                </a:lnTo>
                <a:lnTo>
                  <a:pt x="1028" y="1313"/>
                </a:lnTo>
                <a:lnTo>
                  <a:pt x="1036" y="1301"/>
                </a:lnTo>
                <a:lnTo>
                  <a:pt x="1044" y="1290"/>
                </a:lnTo>
                <a:lnTo>
                  <a:pt x="1055" y="1281"/>
                </a:lnTo>
                <a:lnTo>
                  <a:pt x="1067" y="1271"/>
                </a:lnTo>
                <a:lnTo>
                  <a:pt x="1205" y="1271"/>
                </a:lnTo>
                <a:lnTo>
                  <a:pt x="1212" y="1261"/>
                </a:lnTo>
                <a:lnTo>
                  <a:pt x="1217" y="1251"/>
                </a:lnTo>
                <a:lnTo>
                  <a:pt x="1221" y="1241"/>
                </a:lnTo>
                <a:lnTo>
                  <a:pt x="1225" y="1231"/>
                </a:lnTo>
                <a:lnTo>
                  <a:pt x="1231" y="1211"/>
                </a:lnTo>
                <a:lnTo>
                  <a:pt x="1235" y="1190"/>
                </a:lnTo>
                <a:lnTo>
                  <a:pt x="1239" y="1146"/>
                </a:lnTo>
                <a:lnTo>
                  <a:pt x="1241" y="1097"/>
                </a:lnTo>
                <a:lnTo>
                  <a:pt x="1239" y="1075"/>
                </a:lnTo>
                <a:lnTo>
                  <a:pt x="1231" y="1027"/>
                </a:lnTo>
                <a:lnTo>
                  <a:pt x="1224" y="998"/>
                </a:lnTo>
                <a:lnTo>
                  <a:pt x="1219" y="969"/>
                </a:lnTo>
                <a:lnTo>
                  <a:pt x="1212" y="943"/>
                </a:lnTo>
                <a:lnTo>
                  <a:pt x="1205" y="922"/>
                </a:lnTo>
                <a:lnTo>
                  <a:pt x="1201" y="911"/>
                </a:lnTo>
                <a:lnTo>
                  <a:pt x="1195" y="902"/>
                </a:lnTo>
                <a:lnTo>
                  <a:pt x="1188" y="895"/>
                </a:lnTo>
                <a:lnTo>
                  <a:pt x="1180" y="889"/>
                </a:lnTo>
                <a:lnTo>
                  <a:pt x="1161" y="878"/>
                </a:lnTo>
                <a:lnTo>
                  <a:pt x="1141" y="870"/>
                </a:lnTo>
                <a:lnTo>
                  <a:pt x="1121" y="862"/>
                </a:lnTo>
                <a:lnTo>
                  <a:pt x="1104" y="851"/>
                </a:lnTo>
                <a:lnTo>
                  <a:pt x="1096" y="846"/>
                </a:lnTo>
                <a:lnTo>
                  <a:pt x="1088" y="838"/>
                </a:lnTo>
                <a:lnTo>
                  <a:pt x="1083" y="830"/>
                </a:lnTo>
                <a:lnTo>
                  <a:pt x="1079" y="819"/>
                </a:lnTo>
                <a:lnTo>
                  <a:pt x="1077" y="810"/>
                </a:lnTo>
                <a:lnTo>
                  <a:pt x="1077" y="801"/>
                </a:lnTo>
                <a:lnTo>
                  <a:pt x="1080" y="793"/>
                </a:lnTo>
                <a:lnTo>
                  <a:pt x="1083" y="785"/>
                </a:lnTo>
                <a:lnTo>
                  <a:pt x="1088" y="770"/>
                </a:lnTo>
                <a:lnTo>
                  <a:pt x="1091" y="760"/>
                </a:lnTo>
                <a:lnTo>
                  <a:pt x="1091" y="740"/>
                </a:lnTo>
                <a:lnTo>
                  <a:pt x="1091" y="712"/>
                </a:lnTo>
                <a:lnTo>
                  <a:pt x="1091" y="681"/>
                </a:lnTo>
                <a:lnTo>
                  <a:pt x="1091" y="650"/>
                </a:lnTo>
                <a:lnTo>
                  <a:pt x="1089" y="626"/>
                </a:lnTo>
                <a:lnTo>
                  <a:pt x="1088" y="602"/>
                </a:lnTo>
                <a:lnTo>
                  <a:pt x="1085" y="580"/>
                </a:lnTo>
                <a:lnTo>
                  <a:pt x="1081" y="557"/>
                </a:lnTo>
                <a:lnTo>
                  <a:pt x="1079" y="534"/>
                </a:lnTo>
                <a:lnTo>
                  <a:pt x="1076" y="512"/>
                </a:lnTo>
                <a:lnTo>
                  <a:pt x="1073" y="488"/>
                </a:lnTo>
                <a:lnTo>
                  <a:pt x="1072" y="464"/>
                </a:lnTo>
                <a:lnTo>
                  <a:pt x="1073" y="450"/>
                </a:lnTo>
                <a:lnTo>
                  <a:pt x="1076" y="438"/>
                </a:lnTo>
                <a:lnTo>
                  <a:pt x="1079" y="428"/>
                </a:lnTo>
                <a:lnTo>
                  <a:pt x="1081" y="416"/>
                </a:lnTo>
                <a:lnTo>
                  <a:pt x="1085" y="405"/>
                </a:lnTo>
                <a:lnTo>
                  <a:pt x="1088" y="393"/>
                </a:lnTo>
                <a:lnTo>
                  <a:pt x="1089" y="381"/>
                </a:lnTo>
                <a:lnTo>
                  <a:pt x="1091" y="368"/>
                </a:lnTo>
                <a:lnTo>
                  <a:pt x="1091" y="360"/>
                </a:lnTo>
                <a:lnTo>
                  <a:pt x="1089" y="353"/>
                </a:lnTo>
                <a:lnTo>
                  <a:pt x="1087" y="345"/>
                </a:lnTo>
                <a:lnTo>
                  <a:pt x="1085" y="338"/>
                </a:lnTo>
                <a:lnTo>
                  <a:pt x="1079" y="326"/>
                </a:lnTo>
                <a:lnTo>
                  <a:pt x="1071" y="314"/>
                </a:lnTo>
                <a:lnTo>
                  <a:pt x="1052" y="293"/>
                </a:lnTo>
                <a:lnTo>
                  <a:pt x="1036" y="272"/>
                </a:lnTo>
                <a:lnTo>
                  <a:pt x="1029" y="252"/>
                </a:lnTo>
                <a:lnTo>
                  <a:pt x="1020" y="234"/>
                </a:lnTo>
                <a:lnTo>
                  <a:pt x="1011" y="220"/>
                </a:lnTo>
                <a:lnTo>
                  <a:pt x="1000" y="205"/>
                </a:lnTo>
                <a:lnTo>
                  <a:pt x="977" y="181"/>
                </a:lnTo>
                <a:lnTo>
                  <a:pt x="952" y="159"/>
                </a:lnTo>
                <a:lnTo>
                  <a:pt x="940" y="147"/>
                </a:lnTo>
                <a:lnTo>
                  <a:pt x="928" y="135"/>
                </a:lnTo>
                <a:lnTo>
                  <a:pt x="916" y="123"/>
                </a:lnTo>
                <a:lnTo>
                  <a:pt x="904" y="109"/>
                </a:lnTo>
                <a:lnTo>
                  <a:pt x="893" y="93"/>
                </a:lnTo>
                <a:lnTo>
                  <a:pt x="884" y="77"/>
                </a:lnTo>
                <a:lnTo>
                  <a:pt x="875" y="57"/>
                </a:lnTo>
                <a:lnTo>
                  <a:pt x="868" y="36"/>
                </a:lnTo>
                <a:lnTo>
                  <a:pt x="863" y="31"/>
                </a:lnTo>
                <a:lnTo>
                  <a:pt x="853" y="21"/>
                </a:lnTo>
                <a:lnTo>
                  <a:pt x="847" y="16"/>
                </a:lnTo>
                <a:lnTo>
                  <a:pt x="843" y="11"/>
                </a:lnTo>
                <a:lnTo>
                  <a:pt x="839" y="5"/>
                </a:lnTo>
                <a:lnTo>
                  <a:pt x="837" y="0"/>
                </a:lnTo>
                <a:lnTo>
                  <a:pt x="832" y="12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3175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 sz="1400"/>
          </a:p>
        </p:txBody>
      </p:sp>
      <p:sp>
        <p:nvSpPr>
          <p:cNvPr id="153" name="Freeform 38"/>
          <p:cNvSpPr>
            <a:spLocks/>
          </p:cNvSpPr>
          <p:nvPr/>
        </p:nvSpPr>
        <p:spPr bwMode="auto">
          <a:xfrm>
            <a:off x="3655776" y="4772786"/>
            <a:ext cx="736725" cy="639546"/>
          </a:xfrm>
          <a:custGeom>
            <a:avLst/>
            <a:gdLst/>
            <a:ahLst/>
            <a:cxnLst>
              <a:cxn ang="0">
                <a:pos x="745" y="200"/>
              </a:cxn>
              <a:cxn ang="0">
                <a:pos x="635" y="406"/>
              </a:cxn>
              <a:cxn ang="0">
                <a:pos x="566" y="462"/>
              </a:cxn>
              <a:cxn ang="0">
                <a:pos x="487" y="490"/>
              </a:cxn>
              <a:cxn ang="0">
                <a:pos x="464" y="541"/>
              </a:cxn>
              <a:cxn ang="0">
                <a:pos x="490" y="602"/>
              </a:cxn>
              <a:cxn ang="0">
                <a:pos x="500" y="644"/>
              </a:cxn>
              <a:cxn ang="0">
                <a:pos x="476" y="682"/>
              </a:cxn>
              <a:cxn ang="0">
                <a:pos x="466" y="717"/>
              </a:cxn>
              <a:cxn ang="0">
                <a:pos x="487" y="757"/>
              </a:cxn>
              <a:cxn ang="0">
                <a:pos x="472" y="809"/>
              </a:cxn>
              <a:cxn ang="0">
                <a:pos x="422" y="841"/>
              </a:cxn>
              <a:cxn ang="0">
                <a:pos x="344" y="858"/>
              </a:cxn>
              <a:cxn ang="0">
                <a:pos x="326" y="915"/>
              </a:cxn>
              <a:cxn ang="0">
                <a:pos x="286" y="943"/>
              </a:cxn>
              <a:cxn ang="0">
                <a:pos x="215" y="939"/>
              </a:cxn>
              <a:cxn ang="0">
                <a:pos x="168" y="1002"/>
              </a:cxn>
              <a:cxn ang="0">
                <a:pos x="112" y="1037"/>
              </a:cxn>
              <a:cxn ang="0">
                <a:pos x="62" y="1050"/>
              </a:cxn>
              <a:cxn ang="0">
                <a:pos x="16" y="1117"/>
              </a:cxn>
              <a:cxn ang="0">
                <a:pos x="2" y="1190"/>
              </a:cxn>
              <a:cxn ang="0">
                <a:pos x="54" y="1251"/>
              </a:cxn>
              <a:cxn ang="0">
                <a:pos x="139" y="1299"/>
              </a:cxn>
              <a:cxn ang="0">
                <a:pos x="200" y="1294"/>
              </a:cxn>
              <a:cxn ang="0">
                <a:pos x="256" y="1295"/>
              </a:cxn>
              <a:cxn ang="0">
                <a:pos x="326" y="1338"/>
              </a:cxn>
              <a:cxn ang="0">
                <a:pos x="390" y="1391"/>
              </a:cxn>
              <a:cxn ang="0">
                <a:pos x="476" y="1398"/>
              </a:cxn>
              <a:cxn ang="0">
                <a:pos x="519" y="1423"/>
              </a:cxn>
              <a:cxn ang="0">
                <a:pos x="560" y="1456"/>
              </a:cxn>
              <a:cxn ang="0">
                <a:pos x="606" y="1444"/>
              </a:cxn>
              <a:cxn ang="0">
                <a:pos x="644" y="1415"/>
              </a:cxn>
              <a:cxn ang="0">
                <a:pos x="733" y="1446"/>
              </a:cxn>
              <a:cxn ang="0">
                <a:pos x="847" y="1511"/>
              </a:cxn>
              <a:cxn ang="0">
                <a:pos x="884" y="1498"/>
              </a:cxn>
              <a:cxn ang="0">
                <a:pos x="923" y="1470"/>
              </a:cxn>
              <a:cxn ang="0">
                <a:pos x="969" y="1482"/>
              </a:cxn>
              <a:cxn ang="0">
                <a:pos x="1008" y="1466"/>
              </a:cxn>
              <a:cxn ang="0">
                <a:pos x="1000" y="1387"/>
              </a:cxn>
              <a:cxn ang="0">
                <a:pos x="1055" y="1281"/>
              </a:cxn>
              <a:cxn ang="0">
                <a:pos x="1225" y="1231"/>
              </a:cxn>
              <a:cxn ang="0">
                <a:pos x="1231" y="1027"/>
              </a:cxn>
              <a:cxn ang="0">
                <a:pos x="1195" y="902"/>
              </a:cxn>
              <a:cxn ang="0">
                <a:pos x="1104" y="851"/>
              </a:cxn>
              <a:cxn ang="0">
                <a:pos x="1077" y="801"/>
              </a:cxn>
              <a:cxn ang="0">
                <a:pos x="1091" y="712"/>
              </a:cxn>
              <a:cxn ang="0">
                <a:pos x="1081" y="557"/>
              </a:cxn>
              <a:cxn ang="0">
                <a:pos x="1076" y="438"/>
              </a:cxn>
              <a:cxn ang="0">
                <a:pos x="1091" y="368"/>
              </a:cxn>
              <a:cxn ang="0">
                <a:pos x="1071" y="314"/>
              </a:cxn>
              <a:cxn ang="0">
                <a:pos x="1000" y="205"/>
              </a:cxn>
              <a:cxn ang="0">
                <a:pos x="904" y="109"/>
              </a:cxn>
              <a:cxn ang="0">
                <a:pos x="853" y="21"/>
              </a:cxn>
            </a:cxnLst>
            <a:rect l="0" t="0" r="r" b="b"/>
            <a:pathLst>
              <a:path w="1241" h="1511">
                <a:moveTo>
                  <a:pt x="832" y="12"/>
                </a:moveTo>
                <a:lnTo>
                  <a:pt x="816" y="49"/>
                </a:lnTo>
                <a:lnTo>
                  <a:pt x="799" y="87"/>
                </a:lnTo>
                <a:lnTo>
                  <a:pt x="781" y="124"/>
                </a:lnTo>
                <a:lnTo>
                  <a:pt x="764" y="163"/>
                </a:lnTo>
                <a:lnTo>
                  <a:pt x="745" y="200"/>
                </a:lnTo>
                <a:lnTo>
                  <a:pt x="727" y="237"/>
                </a:lnTo>
                <a:lnTo>
                  <a:pt x="707" y="273"/>
                </a:lnTo>
                <a:lnTo>
                  <a:pt x="687" y="308"/>
                </a:lnTo>
                <a:lnTo>
                  <a:pt x="667" y="350"/>
                </a:lnTo>
                <a:lnTo>
                  <a:pt x="646" y="389"/>
                </a:lnTo>
                <a:lnTo>
                  <a:pt x="635" y="406"/>
                </a:lnTo>
                <a:lnTo>
                  <a:pt x="622" y="422"/>
                </a:lnTo>
                <a:lnTo>
                  <a:pt x="608" y="438"/>
                </a:lnTo>
                <a:lnTo>
                  <a:pt x="591" y="452"/>
                </a:lnTo>
                <a:lnTo>
                  <a:pt x="583" y="456"/>
                </a:lnTo>
                <a:lnTo>
                  <a:pt x="575" y="460"/>
                </a:lnTo>
                <a:lnTo>
                  <a:pt x="566" y="462"/>
                </a:lnTo>
                <a:lnTo>
                  <a:pt x="556" y="466"/>
                </a:lnTo>
                <a:lnTo>
                  <a:pt x="535" y="472"/>
                </a:lnTo>
                <a:lnTo>
                  <a:pt x="514" y="477"/>
                </a:lnTo>
                <a:lnTo>
                  <a:pt x="504" y="481"/>
                </a:lnTo>
                <a:lnTo>
                  <a:pt x="495" y="485"/>
                </a:lnTo>
                <a:lnTo>
                  <a:pt x="487" y="490"/>
                </a:lnTo>
                <a:lnTo>
                  <a:pt x="479" y="496"/>
                </a:lnTo>
                <a:lnTo>
                  <a:pt x="474" y="502"/>
                </a:lnTo>
                <a:lnTo>
                  <a:pt x="468" y="510"/>
                </a:lnTo>
                <a:lnTo>
                  <a:pt x="466" y="520"/>
                </a:lnTo>
                <a:lnTo>
                  <a:pt x="464" y="530"/>
                </a:lnTo>
                <a:lnTo>
                  <a:pt x="464" y="541"/>
                </a:lnTo>
                <a:lnTo>
                  <a:pt x="466" y="550"/>
                </a:lnTo>
                <a:lnTo>
                  <a:pt x="468" y="558"/>
                </a:lnTo>
                <a:lnTo>
                  <a:pt x="470" y="566"/>
                </a:lnTo>
                <a:lnTo>
                  <a:pt x="476" y="580"/>
                </a:lnTo>
                <a:lnTo>
                  <a:pt x="483" y="592"/>
                </a:lnTo>
                <a:lnTo>
                  <a:pt x="490" y="602"/>
                </a:lnTo>
                <a:lnTo>
                  <a:pt x="495" y="613"/>
                </a:lnTo>
                <a:lnTo>
                  <a:pt x="498" y="618"/>
                </a:lnTo>
                <a:lnTo>
                  <a:pt x="499" y="625"/>
                </a:lnTo>
                <a:lnTo>
                  <a:pt x="500" y="632"/>
                </a:lnTo>
                <a:lnTo>
                  <a:pt x="500" y="638"/>
                </a:lnTo>
                <a:lnTo>
                  <a:pt x="500" y="644"/>
                </a:lnTo>
                <a:lnTo>
                  <a:pt x="499" y="649"/>
                </a:lnTo>
                <a:lnTo>
                  <a:pt x="498" y="654"/>
                </a:lnTo>
                <a:lnTo>
                  <a:pt x="495" y="658"/>
                </a:lnTo>
                <a:lnTo>
                  <a:pt x="490" y="666"/>
                </a:lnTo>
                <a:lnTo>
                  <a:pt x="483" y="674"/>
                </a:lnTo>
                <a:lnTo>
                  <a:pt x="476" y="682"/>
                </a:lnTo>
                <a:lnTo>
                  <a:pt x="470" y="692"/>
                </a:lnTo>
                <a:lnTo>
                  <a:pt x="468" y="696"/>
                </a:lnTo>
                <a:lnTo>
                  <a:pt x="466" y="701"/>
                </a:lnTo>
                <a:lnTo>
                  <a:pt x="464" y="705"/>
                </a:lnTo>
                <a:lnTo>
                  <a:pt x="464" y="710"/>
                </a:lnTo>
                <a:lnTo>
                  <a:pt x="466" y="717"/>
                </a:lnTo>
                <a:lnTo>
                  <a:pt x="468" y="724"/>
                </a:lnTo>
                <a:lnTo>
                  <a:pt x="472" y="730"/>
                </a:lnTo>
                <a:lnTo>
                  <a:pt x="476" y="736"/>
                </a:lnTo>
                <a:lnTo>
                  <a:pt x="480" y="742"/>
                </a:lnTo>
                <a:lnTo>
                  <a:pt x="484" y="749"/>
                </a:lnTo>
                <a:lnTo>
                  <a:pt x="487" y="757"/>
                </a:lnTo>
                <a:lnTo>
                  <a:pt x="488" y="765"/>
                </a:lnTo>
                <a:lnTo>
                  <a:pt x="488" y="776"/>
                </a:lnTo>
                <a:lnTo>
                  <a:pt x="486" y="785"/>
                </a:lnTo>
                <a:lnTo>
                  <a:pt x="482" y="793"/>
                </a:lnTo>
                <a:lnTo>
                  <a:pt x="478" y="801"/>
                </a:lnTo>
                <a:lnTo>
                  <a:pt x="472" y="809"/>
                </a:lnTo>
                <a:lnTo>
                  <a:pt x="466" y="815"/>
                </a:lnTo>
                <a:lnTo>
                  <a:pt x="458" y="822"/>
                </a:lnTo>
                <a:lnTo>
                  <a:pt x="450" y="827"/>
                </a:lnTo>
                <a:lnTo>
                  <a:pt x="440" y="833"/>
                </a:lnTo>
                <a:lnTo>
                  <a:pt x="431" y="837"/>
                </a:lnTo>
                <a:lnTo>
                  <a:pt x="422" y="841"/>
                </a:lnTo>
                <a:lnTo>
                  <a:pt x="412" y="843"/>
                </a:lnTo>
                <a:lnTo>
                  <a:pt x="392" y="847"/>
                </a:lnTo>
                <a:lnTo>
                  <a:pt x="374" y="849"/>
                </a:lnTo>
                <a:lnTo>
                  <a:pt x="362" y="850"/>
                </a:lnTo>
                <a:lnTo>
                  <a:pt x="352" y="853"/>
                </a:lnTo>
                <a:lnTo>
                  <a:pt x="344" y="858"/>
                </a:lnTo>
                <a:lnTo>
                  <a:pt x="339" y="865"/>
                </a:lnTo>
                <a:lnTo>
                  <a:pt x="335" y="871"/>
                </a:lnTo>
                <a:lnTo>
                  <a:pt x="332" y="879"/>
                </a:lnTo>
                <a:lnTo>
                  <a:pt x="330" y="889"/>
                </a:lnTo>
                <a:lnTo>
                  <a:pt x="328" y="898"/>
                </a:lnTo>
                <a:lnTo>
                  <a:pt x="326" y="915"/>
                </a:lnTo>
                <a:lnTo>
                  <a:pt x="320" y="930"/>
                </a:lnTo>
                <a:lnTo>
                  <a:pt x="318" y="937"/>
                </a:lnTo>
                <a:lnTo>
                  <a:pt x="312" y="942"/>
                </a:lnTo>
                <a:lnTo>
                  <a:pt x="304" y="945"/>
                </a:lnTo>
                <a:lnTo>
                  <a:pt x="296" y="946"/>
                </a:lnTo>
                <a:lnTo>
                  <a:pt x="286" y="943"/>
                </a:lnTo>
                <a:lnTo>
                  <a:pt x="274" y="939"/>
                </a:lnTo>
                <a:lnTo>
                  <a:pt x="259" y="935"/>
                </a:lnTo>
                <a:lnTo>
                  <a:pt x="242" y="934"/>
                </a:lnTo>
                <a:lnTo>
                  <a:pt x="232" y="934"/>
                </a:lnTo>
                <a:lnTo>
                  <a:pt x="223" y="937"/>
                </a:lnTo>
                <a:lnTo>
                  <a:pt x="215" y="939"/>
                </a:lnTo>
                <a:lnTo>
                  <a:pt x="208" y="945"/>
                </a:lnTo>
                <a:lnTo>
                  <a:pt x="202" y="950"/>
                </a:lnTo>
                <a:lnTo>
                  <a:pt x="195" y="957"/>
                </a:lnTo>
                <a:lnTo>
                  <a:pt x="190" y="963"/>
                </a:lnTo>
                <a:lnTo>
                  <a:pt x="186" y="970"/>
                </a:lnTo>
                <a:lnTo>
                  <a:pt x="168" y="1002"/>
                </a:lnTo>
                <a:lnTo>
                  <a:pt x="151" y="1030"/>
                </a:lnTo>
                <a:lnTo>
                  <a:pt x="144" y="1035"/>
                </a:lnTo>
                <a:lnTo>
                  <a:pt x="136" y="1038"/>
                </a:lnTo>
                <a:lnTo>
                  <a:pt x="128" y="1038"/>
                </a:lnTo>
                <a:lnTo>
                  <a:pt x="120" y="1038"/>
                </a:lnTo>
                <a:lnTo>
                  <a:pt x="112" y="1037"/>
                </a:lnTo>
                <a:lnTo>
                  <a:pt x="103" y="1035"/>
                </a:lnTo>
                <a:lnTo>
                  <a:pt x="94" y="1034"/>
                </a:lnTo>
                <a:lnTo>
                  <a:pt x="86" y="1035"/>
                </a:lnTo>
                <a:lnTo>
                  <a:pt x="78" y="1039"/>
                </a:lnTo>
                <a:lnTo>
                  <a:pt x="70" y="1043"/>
                </a:lnTo>
                <a:lnTo>
                  <a:pt x="62" y="1050"/>
                </a:lnTo>
                <a:lnTo>
                  <a:pt x="54" y="1057"/>
                </a:lnTo>
                <a:lnTo>
                  <a:pt x="47" y="1065"/>
                </a:lnTo>
                <a:lnTo>
                  <a:pt x="40" y="1074"/>
                </a:lnTo>
                <a:lnTo>
                  <a:pt x="34" y="1085"/>
                </a:lnTo>
                <a:lnTo>
                  <a:pt x="27" y="1094"/>
                </a:lnTo>
                <a:lnTo>
                  <a:pt x="16" y="1117"/>
                </a:lnTo>
                <a:lnTo>
                  <a:pt x="8" y="1139"/>
                </a:lnTo>
                <a:lnTo>
                  <a:pt x="4" y="1150"/>
                </a:lnTo>
                <a:lnTo>
                  <a:pt x="3" y="1161"/>
                </a:lnTo>
                <a:lnTo>
                  <a:pt x="2" y="1171"/>
                </a:lnTo>
                <a:lnTo>
                  <a:pt x="0" y="1181"/>
                </a:lnTo>
                <a:lnTo>
                  <a:pt x="2" y="1190"/>
                </a:lnTo>
                <a:lnTo>
                  <a:pt x="6" y="1199"/>
                </a:lnTo>
                <a:lnTo>
                  <a:pt x="12" y="1210"/>
                </a:lnTo>
                <a:lnTo>
                  <a:pt x="20" y="1221"/>
                </a:lnTo>
                <a:lnTo>
                  <a:pt x="30" y="1231"/>
                </a:lnTo>
                <a:lnTo>
                  <a:pt x="42" y="1242"/>
                </a:lnTo>
                <a:lnTo>
                  <a:pt x="54" y="1251"/>
                </a:lnTo>
                <a:lnTo>
                  <a:pt x="68" y="1262"/>
                </a:lnTo>
                <a:lnTo>
                  <a:pt x="82" y="1271"/>
                </a:lnTo>
                <a:lnTo>
                  <a:pt x="96" y="1279"/>
                </a:lnTo>
                <a:lnTo>
                  <a:pt x="111" y="1287"/>
                </a:lnTo>
                <a:lnTo>
                  <a:pt x="126" y="1294"/>
                </a:lnTo>
                <a:lnTo>
                  <a:pt x="139" y="1299"/>
                </a:lnTo>
                <a:lnTo>
                  <a:pt x="152" y="1303"/>
                </a:lnTo>
                <a:lnTo>
                  <a:pt x="164" y="1306"/>
                </a:lnTo>
                <a:lnTo>
                  <a:pt x="175" y="1307"/>
                </a:lnTo>
                <a:lnTo>
                  <a:pt x="184" y="1305"/>
                </a:lnTo>
                <a:lnTo>
                  <a:pt x="195" y="1298"/>
                </a:lnTo>
                <a:lnTo>
                  <a:pt x="200" y="1294"/>
                </a:lnTo>
                <a:lnTo>
                  <a:pt x="207" y="1291"/>
                </a:lnTo>
                <a:lnTo>
                  <a:pt x="215" y="1290"/>
                </a:lnTo>
                <a:lnTo>
                  <a:pt x="223" y="1289"/>
                </a:lnTo>
                <a:lnTo>
                  <a:pt x="235" y="1290"/>
                </a:lnTo>
                <a:lnTo>
                  <a:pt x="246" y="1291"/>
                </a:lnTo>
                <a:lnTo>
                  <a:pt x="256" y="1295"/>
                </a:lnTo>
                <a:lnTo>
                  <a:pt x="267" y="1299"/>
                </a:lnTo>
                <a:lnTo>
                  <a:pt x="278" y="1303"/>
                </a:lnTo>
                <a:lnTo>
                  <a:pt x="288" y="1310"/>
                </a:lnTo>
                <a:lnTo>
                  <a:pt x="298" y="1315"/>
                </a:lnTo>
                <a:lnTo>
                  <a:pt x="307" y="1323"/>
                </a:lnTo>
                <a:lnTo>
                  <a:pt x="326" y="1338"/>
                </a:lnTo>
                <a:lnTo>
                  <a:pt x="342" y="1353"/>
                </a:lnTo>
                <a:lnTo>
                  <a:pt x="356" y="1367"/>
                </a:lnTo>
                <a:lnTo>
                  <a:pt x="368" y="1379"/>
                </a:lnTo>
                <a:lnTo>
                  <a:pt x="375" y="1384"/>
                </a:lnTo>
                <a:lnTo>
                  <a:pt x="382" y="1388"/>
                </a:lnTo>
                <a:lnTo>
                  <a:pt x="390" y="1391"/>
                </a:lnTo>
                <a:lnTo>
                  <a:pt x="396" y="1392"/>
                </a:lnTo>
                <a:lnTo>
                  <a:pt x="411" y="1395"/>
                </a:lnTo>
                <a:lnTo>
                  <a:pt x="427" y="1395"/>
                </a:lnTo>
                <a:lnTo>
                  <a:pt x="443" y="1395"/>
                </a:lnTo>
                <a:lnTo>
                  <a:pt x="459" y="1396"/>
                </a:lnTo>
                <a:lnTo>
                  <a:pt x="476" y="1398"/>
                </a:lnTo>
                <a:lnTo>
                  <a:pt x="495" y="1403"/>
                </a:lnTo>
                <a:lnTo>
                  <a:pt x="499" y="1404"/>
                </a:lnTo>
                <a:lnTo>
                  <a:pt x="503" y="1407"/>
                </a:lnTo>
                <a:lnTo>
                  <a:pt x="507" y="1410"/>
                </a:lnTo>
                <a:lnTo>
                  <a:pt x="511" y="1414"/>
                </a:lnTo>
                <a:lnTo>
                  <a:pt x="519" y="1423"/>
                </a:lnTo>
                <a:lnTo>
                  <a:pt x="526" y="1432"/>
                </a:lnTo>
                <a:lnTo>
                  <a:pt x="535" y="1442"/>
                </a:lnTo>
                <a:lnTo>
                  <a:pt x="544" y="1450"/>
                </a:lnTo>
                <a:lnTo>
                  <a:pt x="548" y="1452"/>
                </a:lnTo>
                <a:lnTo>
                  <a:pt x="555" y="1455"/>
                </a:lnTo>
                <a:lnTo>
                  <a:pt x="560" y="1456"/>
                </a:lnTo>
                <a:lnTo>
                  <a:pt x="567" y="1458"/>
                </a:lnTo>
                <a:lnTo>
                  <a:pt x="575" y="1456"/>
                </a:lnTo>
                <a:lnTo>
                  <a:pt x="583" y="1455"/>
                </a:lnTo>
                <a:lnTo>
                  <a:pt x="590" y="1454"/>
                </a:lnTo>
                <a:lnTo>
                  <a:pt x="595" y="1451"/>
                </a:lnTo>
                <a:lnTo>
                  <a:pt x="606" y="1444"/>
                </a:lnTo>
                <a:lnTo>
                  <a:pt x="614" y="1436"/>
                </a:lnTo>
                <a:lnTo>
                  <a:pt x="622" y="1428"/>
                </a:lnTo>
                <a:lnTo>
                  <a:pt x="630" y="1422"/>
                </a:lnTo>
                <a:lnTo>
                  <a:pt x="634" y="1419"/>
                </a:lnTo>
                <a:lnTo>
                  <a:pt x="639" y="1416"/>
                </a:lnTo>
                <a:lnTo>
                  <a:pt x="644" y="1415"/>
                </a:lnTo>
                <a:lnTo>
                  <a:pt x="651" y="1415"/>
                </a:lnTo>
                <a:lnTo>
                  <a:pt x="664" y="1416"/>
                </a:lnTo>
                <a:lnTo>
                  <a:pt x="678" y="1419"/>
                </a:lnTo>
                <a:lnTo>
                  <a:pt x="691" y="1424"/>
                </a:lnTo>
                <a:lnTo>
                  <a:pt x="705" y="1430"/>
                </a:lnTo>
                <a:lnTo>
                  <a:pt x="733" y="1446"/>
                </a:lnTo>
                <a:lnTo>
                  <a:pt x="763" y="1463"/>
                </a:lnTo>
                <a:lnTo>
                  <a:pt x="789" y="1480"/>
                </a:lnTo>
                <a:lnTo>
                  <a:pt x="815" y="1496"/>
                </a:lnTo>
                <a:lnTo>
                  <a:pt x="827" y="1503"/>
                </a:lnTo>
                <a:lnTo>
                  <a:pt x="837" y="1507"/>
                </a:lnTo>
                <a:lnTo>
                  <a:pt x="847" y="1511"/>
                </a:lnTo>
                <a:lnTo>
                  <a:pt x="856" y="1511"/>
                </a:lnTo>
                <a:lnTo>
                  <a:pt x="861" y="1511"/>
                </a:lnTo>
                <a:lnTo>
                  <a:pt x="867" y="1510"/>
                </a:lnTo>
                <a:lnTo>
                  <a:pt x="871" y="1507"/>
                </a:lnTo>
                <a:lnTo>
                  <a:pt x="876" y="1504"/>
                </a:lnTo>
                <a:lnTo>
                  <a:pt x="884" y="1498"/>
                </a:lnTo>
                <a:lnTo>
                  <a:pt x="892" y="1491"/>
                </a:lnTo>
                <a:lnTo>
                  <a:pt x="900" y="1483"/>
                </a:lnTo>
                <a:lnTo>
                  <a:pt x="908" y="1476"/>
                </a:lnTo>
                <a:lnTo>
                  <a:pt x="913" y="1474"/>
                </a:lnTo>
                <a:lnTo>
                  <a:pt x="917" y="1471"/>
                </a:lnTo>
                <a:lnTo>
                  <a:pt x="923" y="1470"/>
                </a:lnTo>
                <a:lnTo>
                  <a:pt x="928" y="1470"/>
                </a:lnTo>
                <a:lnTo>
                  <a:pt x="937" y="1470"/>
                </a:lnTo>
                <a:lnTo>
                  <a:pt x="945" y="1472"/>
                </a:lnTo>
                <a:lnTo>
                  <a:pt x="953" y="1475"/>
                </a:lnTo>
                <a:lnTo>
                  <a:pt x="961" y="1479"/>
                </a:lnTo>
                <a:lnTo>
                  <a:pt x="969" y="1482"/>
                </a:lnTo>
                <a:lnTo>
                  <a:pt x="977" y="1484"/>
                </a:lnTo>
                <a:lnTo>
                  <a:pt x="985" y="1487"/>
                </a:lnTo>
                <a:lnTo>
                  <a:pt x="995" y="1487"/>
                </a:lnTo>
                <a:lnTo>
                  <a:pt x="1000" y="1482"/>
                </a:lnTo>
                <a:lnTo>
                  <a:pt x="1005" y="1474"/>
                </a:lnTo>
                <a:lnTo>
                  <a:pt x="1008" y="1466"/>
                </a:lnTo>
                <a:lnTo>
                  <a:pt x="1009" y="1456"/>
                </a:lnTo>
                <a:lnTo>
                  <a:pt x="1011" y="1447"/>
                </a:lnTo>
                <a:lnTo>
                  <a:pt x="1011" y="1438"/>
                </a:lnTo>
                <a:lnTo>
                  <a:pt x="1009" y="1428"/>
                </a:lnTo>
                <a:lnTo>
                  <a:pt x="1008" y="1419"/>
                </a:lnTo>
                <a:lnTo>
                  <a:pt x="1000" y="1387"/>
                </a:lnTo>
                <a:lnTo>
                  <a:pt x="995" y="1372"/>
                </a:lnTo>
                <a:lnTo>
                  <a:pt x="1013" y="1341"/>
                </a:lnTo>
                <a:lnTo>
                  <a:pt x="1028" y="1313"/>
                </a:lnTo>
                <a:lnTo>
                  <a:pt x="1036" y="1301"/>
                </a:lnTo>
                <a:lnTo>
                  <a:pt x="1044" y="1290"/>
                </a:lnTo>
                <a:lnTo>
                  <a:pt x="1055" y="1281"/>
                </a:lnTo>
                <a:lnTo>
                  <a:pt x="1067" y="1271"/>
                </a:lnTo>
                <a:lnTo>
                  <a:pt x="1205" y="1271"/>
                </a:lnTo>
                <a:lnTo>
                  <a:pt x="1212" y="1261"/>
                </a:lnTo>
                <a:lnTo>
                  <a:pt x="1217" y="1251"/>
                </a:lnTo>
                <a:lnTo>
                  <a:pt x="1221" y="1241"/>
                </a:lnTo>
                <a:lnTo>
                  <a:pt x="1225" y="1231"/>
                </a:lnTo>
                <a:lnTo>
                  <a:pt x="1231" y="1211"/>
                </a:lnTo>
                <a:lnTo>
                  <a:pt x="1235" y="1190"/>
                </a:lnTo>
                <a:lnTo>
                  <a:pt x="1239" y="1146"/>
                </a:lnTo>
                <a:lnTo>
                  <a:pt x="1241" y="1097"/>
                </a:lnTo>
                <a:lnTo>
                  <a:pt x="1239" y="1075"/>
                </a:lnTo>
                <a:lnTo>
                  <a:pt x="1231" y="1027"/>
                </a:lnTo>
                <a:lnTo>
                  <a:pt x="1224" y="998"/>
                </a:lnTo>
                <a:lnTo>
                  <a:pt x="1219" y="969"/>
                </a:lnTo>
                <a:lnTo>
                  <a:pt x="1212" y="943"/>
                </a:lnTo>
                <a:lnTo>
                  <a:pt x="1205" y="922"/>
                </a:lnTo>
                <a:lnTo>
                  <a:pt x="1201" y="911"/>
                </a:lnTo>
                <a:lnTo>
                  <a:pt x="1195" y="902"/>
                </a:lnTo>
                <a:lnTo>
                  <a:pt x="1188" y="895"/>
                </a:lnTo>
                <a:lnTo>
                  <a:pt x="1180" y="889"/>
                </a:lnTo>
                <a:lnTo>
                  <a:pt x="1161" y="878"/>
                </a:lnTo>
                <a:lnTo>
                  <a:pt x="1141" y="870"/>
                </a:lnTo>
                <a:lnTo>
                  <a:pt x="1121" y="862"/>
                </a:lnTo>
                <a:lnTo>
                  <a:pt x="1104" y="851"/>
                </a:lnTo>
                <a:lnTo>
                  <a:pt x="1096" y="846"/>
                </a:lnTo>
                <a:lnTo>
                  <a:pt x="1088" y="838"/>
                </a:lnTo>
                <a:lnTo>
                  <a:pt x="1083" y="830"/>
                </a:lnTo>
                <a:lnTo>
                  <a:pt x="1079" y="819"/>
                </a:lnTo>
                <a:lnTo>
                  <a:pt x="1077" y="810"/>
                </a:lnTo>
                <a:lnTo>
                  <a:pt x="1077" y="801"/>
                </a:lnTo>
                <a:lnTo>
                  <a:pt x="1080" y="793"/>
                </a:lnTo>
                <a:lnTo>
                  <a:pt x="1083" y="785"/>
                </a:lnTo>
                <a:lnTo>
                  <a:pt x="1088" y="770"/>
                </a:lnTo>
                <a:lnTo>
                  <a:pt x="1091" y="760"/>
                </a:lnTo>
                <a:lnTo>
                  <a:pt x="1091" y="740"/>
                </a:lnTo>
                <a:lnTo>
                  <a:pt x="1091" y="712"/>
                </a:lnTo>
                <a:lnTo>
                  <a:pt x="1091" y="681"/>
                </a:lnTo>
                <a:lnTo>
                  <a:pt x="1091" y="650"/>
                </a:lnTo>
                <a:lnTo>
                  <a:pt x="1089" y="626"/>
                </a:lnTo>
                <a:lnTo>
                  <a:pt x="1088" y="602"/>
                </a:lnTo>
                <a:lnTo>
                  <a:pt x="1085" y="580"/>
                </a:lnTo>
                <a:lnTo>
                  <a:pt x="1081" y="557"/>
                </a:lnTo>
                <a:lnTo>
                  <a:pt x="1079" y="534"/>
                </a:lnTo>
                <a:lnTo>
                  <a:pt x="1076" y="512"/>
                </a:lnTo>
                <a:lnTo>
                  <a:pt x="1073" y="488"/>
                </a:lnTo>
                <a:lnTo>
                  <a:pt x="1072" y="464"/>
                </a:lnTo>
                <a:lnTo>
                  <a:pt x="1073" y="450"/>
                </a:lnTo>
                <a:lnTo>
                  <a:pt x="1076" y="438"/>
                </a:lnTo>
                <a:lnTo>
                  <a:pt x="1079" y="428"/>
                </a:lnTo>
                <a:lnTo>
                  <a:pt x="1081" y="416"/>
                </a:lnTo>
                <a:lnTo>
                  <a:pt x="1085" y="405"/>
                </a:lnTo>
                <a:lnTo>
                  <a:pt x="1088" y="393"/>
                </a:lnTo>
                <a:lnTo>
                  <a:pt x="1089" y="381"/>
                </a:lnTo>
                <a:lnTo>
                  <a:pt x="1091" y="368"/>
                </a:lnTo>
                <a:lnTo>
                  <a:pt x="1091" y="360"/>
                </a:lnTo>
                <a:lnTo>
                  <a:pt x="1089" y="353"/>
                </a:lnTo>
                <a:lnTo>
                  <a:pt x="1087" y="345"/>
                </a:lnTo>
                <a:lnTo>
                  <a:pt x="1085" y="338"/>
                </a:lnTo>
                <a:lnTo>
                  <a:pt x="1079" y="326"/>
                </a:lnTo>
                <a:lnTo>
                  <a:pt x="1071" y="314"/>
                </a:lnTo>
                <a:lnTo>
                  <a:pt x="1052" y="293"/>
                </a:lnTo>
                <a:lnTo>
                  <a:pt x="1036" y="272"/>
                </a:lnTo>
                <a:lnTo>
                  <a:pt x="1029" y="252"/>
                </a:lnTo>
                <a:lnTo>
                  <a:pt x="1020" y="234"/>
                </a:lnTo>
                <a:lnTo>
                  <a:pt x="1011" y="220"/>
                </a:lnTo>
                <a:lnTo>
                  <a:pt x="1000" y="205"/>
                </a:lnTo>
                <a:lnTo>
                  <a:pt x="977" y="181"/>
                </a:lnTo>
                <a:lnTo>
                  <a:pt x="952" y="159"/>
                </a:lnTo>
                <a:lnTo>
                  <a:pt x="940" y="147"/>
                </a:lnTo>
                <a:lnTo>
                  <a:pt x="928" y="135"/>
                </a:lnTo>
                <a:lnTo>
                  <a:pt x="916" y="123"/>
                </a:lnTo>
                <a:lnTo>
                  <a:pt x="904" y="109"/>
                </a:lnTo>
                <a:lnTo>
                  <a:pt x="893" y="93"/>
                </a:lnTo>
                <a:lnTo>
                  <a:pt x="884" y="77"/>
                </a:lnTo>
                <a:lnTo>
                  <a:pt x="875" y="57"/>
                </a:lnTo>
                <a:lnTo>
                  <a:pt x="868" y="36"/>
                </a:lnTo>
                <a:lnTo>
                  <a:pt x="863" y="31"/>
                </a:lnTo>
                <a:lnTo>
                  <a:pt x="853" y="21"/>
                </a:lnTo>
                <a:lnTo>
                  <a:pt x="847" y="16"/>
                </a:lnTo>
                <a:lnTo>
                  <a:pt x="843" y="11"/>
                </a:lnTo>
                <a:lnTo>
                  <a:pt x="839" y="5"/>
                </a:lnTo>
                <a:lnTo>
                  <a:pt x="837" y="0"/>
                </a:lnTo>
                <a:lnTo>
                  <a:pt x="832" y="12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 w="3175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374420538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44863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8" name="Picture 6"/>
          <p:cNvPicPr>
            <a:picLocks noChangeAspect="1" noChangeArrowheads="1"/>
          </p:cNvPicPr>
          <p:nvPr/>
        </p:nvPicPr>
        <p:blipFill>
          <a:blip r:embed="rId7" cstate="print"/>
          <a:srcRect l="8293" t="7344" r="2230" b="4562"/>
          <a:stretch>
            <a:fillRect/>
          </a:stretch>
        </p:blipFill>
        <p:spPr bwMode="auto">
          <a:xfrm>
            <a:off x="7366002" y="1625601"/>
            <a:ext cx="4512375" cy="3327400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" name="Прямоугольник 39"/>
          <p:cNvSpPr>
            <a:spLocks/>
          </p:cNvSpPr>
          <p:nvPr/>
        </p:nvSpPr>
        <p:spPr>
          <a:xfrm>
            <a:off x="254000" y="1688883"/>
            <a:ext cx="6832600" cy="38164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Регистрируйтесь на очные и </a:t>
            </a:r>
            <a:r>
              <a:rPr lang="ru-RU" dirty="0" err="1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онлайн-мероприятия</a:t>
            </a:r>
            <a:endParaRPr lang="ru-RU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Получайте сертификаты за участие в </a:t>
            </a:r>
            <a:r>
              <a:rPr lang="ru-RU" dirty="0" err="1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вебинарах</a:t>
            </a: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 и конференциях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Пользуйтесь цифровой образовательной платформой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LECTA</a:t>
            </a:r>
            <a:endParaRPr lang="ru-RU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Учитесь на курсах повышения квалификации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качивайте рабочие программы, сценарии уроков и внеклассных мероприятий, готовые презентации и многое другое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оздавайте собственные подборки интересных материалов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Участвуйте в конкурсах, акциях и спецпроектах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тановитесь членом экспертного сообщества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охраняйте архив обращений в службу </a:t>
            </a:r>
            <a:r>
              <a:rPr lang="ru-RU" dirty="0" err="1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техподдержки</a:t>
            </a:r>
            <a:endParaRPr lang="ru-RU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Управляйте новостными рассылками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EB2049"/>
                </a:solidFill>
              </a:rPr>
              <a:t>РЕГИСТРИРУЙТЕСЬ НА САЙТЕ ROSUCHEBNIK.RU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 </a:t>
            </a:r>
            <a:r>
              <a:rPr lang="ru-RU" dirty="0"/>
              <a:t>ПОЛЬЗУЙТЕСЬ ПРЕИМУЩЕСТВАМИ ЛИЧНОГО </a:t>
            </a:r>
            <a:r>
              <a:rPr lang="ru-RU" dirty="0" smtClean="0"/>
              <a:t>КАБИНЕ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116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3189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294967295"/>
          </p:nvPr>
        </p:nvSpPr>
        <p:spPr>
          <a:xfrm>
            <a:off x="393700" y="1149511"/>
            <a:ext cx="11315700" cy="4032089"/>
          </a:xfrm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риказ Министерства просвещения РФ №345 от 28.12.2018г.</a:t>
            </a:r>
            <a:endParaRPr lang="en-US" sz="2400" b="1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Font typeface="Arial" charset="0"/>
              <a:buNone/>
            </a:pP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buFont typeface="Arial" charset="0"/>
              <a:buNone/>
            </a:pP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П.4  - « …Организации, осуществляющие образовательную деятельность по основным общеобразовательным программам, вправе в течение 3-х лет использовать в образовательной деятельности учебники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из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ФПУ, приобретенные до вступления </a:t>
            </a:r>
          </a:p>
          <a:p>
            <a:pPr marL="0" indent="0">
              <a:buFont typeface="Arial" charset="0"/>
              <a:buNone/>
            </a:pP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в силу настоящего приказа…»</a:t>
            </a:r>
          </a:p>
          <a:p>
            <a:pPr marL="0" lvl="0" indent="0">
              <a:spcBef>
                <a:spcPts val="1200"/>
              </a:spcBef>
              <a:buNone/>
            </a:pPr>
            <a:endParaRPr lang="ru-RU" sz="1600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16817" y="129440"/>
            <a:ext cx="8710367" cy="467460"/>
          </a:xfrm>
        </p:spPr>
        <p:txBody>
          <a:bodyPr/>
          <a:lstStyle/>
          <a:p>
            <a:r>
              <a:rPr lang="ru-RU" altLang="ru-RU" dirty="0" smtClean="0">
                <a:latin typeface="+mn-lt"/>
              </a:rPr>
              <a:t>Федеральный перечень  учебников </a:t>
            </a:r>
            <a:endParaRPr lang="ru-RU" i="1" dirty="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5381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720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4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0" name="Прямоугольник 39"/>
          <p:cNvSpPr>
            <a:spLocks/>
          </p:cNvSpPr>
          <p:nvPr/>
        </p:nvSpPr>
        <p:spPr>
          <a:xfrm>
            <a:off x="449867" y="3435515"/>
            <a:ext cx="6209551" cy="3231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34433" y="129440"/>
            <a:ext cx="6904567" cy="648642"/>
          </a:xfrm>
        </p:spPr>
        <p:txBody>
          <a:bodyPr/>
          <a:lstStyle/>
          <a:p>
            <a:r>
              <a:rPr lang="ru-RU" altLang="ru-RU" dirty="0" smtClean="0">
                <a:latin typeface="Times New Roman" pitchFamily="18" charset="0"/>
                <a:cs typeface="Times New Roman" pitchFamily="18" charset="0"/>
              </a:rPr>
              <a:t>Электронная форма </a:t>
            </a:r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учебников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0" y="1254982"/>
            <a:ext cx="53594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Федеральный закон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Ф от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29.12.2012г.</a:t>
            </a:r>
          </a:p>
          <a:p>
            <a:pPr algn="ctr"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"Об образовании в Российской Федерации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» № 273-Ф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З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 bwMode="auto">
          <a:xfrm>
            <a:off x="142844" y="2170077"/>
            <a:ext cx="5635656" cy="3322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 fontScale="92500" lnSpcReduction="20000"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ru-RU" sz="1600" b="1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атья 16 «Реализация образовательных программ с применением электронного обучения и дистанционных образовательных технологий»</a:t>
            </a:r>
          </a:p>
          <a:p>
            <a:pPr marL="342900" indent="-342900">
              <a:lnSpc>
                <a:spcPct val="110000"/>
              </a:lnSpc>
              <a:spcBef>
                <a:spcPct val="20000"/>
              </a:spcBef>
              <a:buFont typeface="Arial" pitchFamily="34" charset="0"/>
              <a:buNone/>
              <a:defRPr/>
            </a:pPr>
            <a:endParaRPr lang="en-US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chemeClr val="accent1">
                  <a:lumMod val="75000"/>
                </a:schemeClr>
              </a:buClr>
              <a:buSzPct val="150000"/>
              <a:buFont typeface="Wingdings" pitchFamily="2" charset="2"/>
              <a:buChar char="ü"/>
              <a:defRPr/>
            </a:pPr>
            <a:r>
              <a:rPr lang="ru-RU" sz="16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едоставляется возможность образовательным организациям применять электронное обучение и дистанционные образовательные технологии при реализации образовательных программ</a:t>
            </a:r>
          </a:p>
          <a:p>
            <a:pPr>
              <a:lnSpc>
                <a:spcPct val="110000"/>
              </a:lnSpc>
              <a:spcBef>
                <a:spcPts val="0"/>
              </a:spcBef>
              <a:buClr>
                <a:schemeClr val="accent1">
                  <a:lumMod val="75000"/>
                </a:schemeClr>
              </a:buClr>
              <a:buSzPct val="150000"/>
              <a:buFont typeface="Wingdings" pitchFamily="2" charset="2"/>
              <a:buChar char="ü"/>
              <a:defRPr/>
            </a:pPr>
            <a:endParaRPr 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chemeClr val="accent1">
                  <a:lumMod val="75000"/>
                </a:schemeClr>
              </a:buClr>
              <a:buSzPct val="150000"/>
              <a:buFont typeface="Wingdings" pitchFamily="2" charset="2"/>
              <a:buChar char="ü"/>
              <a:defRPr/>
            </a:pPr>
            <a:r>
              <a:rPr lang="ru-RU" sz="16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Указывается необходимость создания </a:t>
            </a:r>
            <a:r>
              <a:rPr lang="ru-RU" sz="1600" b="1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нформационно-образовательной среды</a:t>
            </a:r>
            <a:r>
              <a:rPr lang="ru-RU" sz="16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, включающей в себя электронные информационные ресурсы, совокупность информационных технологий, телекоммуникационных технологий, соответствующих технологических средств</a:t>
            </a:r>
          </a:p>
          <a:p>
            <a:pPr marL="342900" indent="-342900">
              <a:lnSpc>
                <a:spcPct val="110000"/>
              </a:lnSpc>
              <a:spcBef>
                <a:spcPct val="20000"/>
              </a:spcBef>
              <a:buFont typeface="Arial" pitchFamily="34" charset="0"/>
              <a:buNone/>
              <a:defRPr/>
            </a:pPr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556250" y="1171702"/>
            <a:ext cx="6483350" cy="492830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object 3"/>
          <p:cNvSpPr>
            <a:spLocks noChangeArrowheads="1"/>
          </p:cNvSpPr>
          <p:nvPr/>
        </p:nvSpPr>
        <p:spPr bwMode="auto">
          <a:xfrm>
            <a:off x="5778500" y="1600082"/>
            <a:ext cx="3019425" cy="4344176"/>
          </a:xfrm>
          <a:prstGeom prst="rect">
            <a:avLst/>
          </a:prstGeom>
          <a:blipFill dpi="0" rotWithShape="1">
            <a:blip r:embed="rId7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ru-RU" altLang="ru-RU"/>
          </a:p>
        </p:txBody>
      </p:sp>
      <p:sp>
        <p:nvSpPr>
          <p:cNvPr id="12" name="object 2"/>
          <p:cNvSpPr>
            <a:spLocks noChangeArrowheads="1"/>
          </p:cNvSpPr>
          <p:nvPr/>
        </p:nvSpPr>
        <p:spPr bwMode="auto">
          <a:xfrm>
            <a:off x="8699500" y="1336823"/>
            <a:ext cx="3251200" cy="4607435"/>
          </a:xfrm>
          <a:prstGeom prst="rect">
            <a:avLst/>
          </a:prstGeom>
          <a:blipFill dpi="0" rotWithShape="1">
            <a:blip r:embed="rId8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67801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38" y="237471"/>
            <a:ext cx="11821062" cy="64864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000" dirty="0" smtClean="0"/>
              <a:t>САЙТ КОРПОРАЦИИ «</a:t>
            </a:r>
            <a:r>
              <a:rPr lang="ru-RU" sz="2000" dirty="0" smtClean="0">
                <a:solidFill>
                  <a:srgbClr val="EB2049"/>
                </a:solidFill>
              </a:rPr>
              <a:t>РОССИЙСКИЙ УЧЕБНИК</a:t>
            </a:r>
            <a:r>
              <a:rPr lang="ru-RU" sz="2000" dirty="0" smtClean="0"/>
              <a:t>»: МЕТОДИЧЕСКАЯ ПОМОЩЬ ПО ПРЕДМЕТУ</a:t>
            </a:r>
            <a:endParaRPr lang="ru-RU" sz="2000" dirty="0"/>
          </a:p>
        </p:txBody>
      </p:sp>
      <p:pic>
        <p:nvPicPr>
          <p:cNvPr id="8" name="Рисунок 2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201479"/>
            <a:ext cx="12153900" cy="5497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4753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4" name="Группа 7"/>
          <p:cNvGrpSpPr/>
          <p:nvPr/>
        </p:nvGrpSpPr>
        <p:grpSpPr>
          <a:xfrm>
            <a:off x="722489" y="1159933"/>
            <a:ext cx="10724444" cy="4842934"/>
            <a:chOff x="2135559" y="1700808"/>
            <a:chExt cx="7843648" cy="44532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529"/>
            <a:stretch/>
          </p:blipFill>
          <p:spPr>
            <a:xfrm>
              <a:off x="2155015" y="2409691"/>
              <a:ext cx="7824192" cy="3744416"/>
            </a:xfrm>
            <a:prstGeom prst="rect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5559" y="1700808"/>
              <a:ext cx="7833165" cy="708883"/>
            </a:xfrm>
            <a:prstGeom prst="rect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7803" y="131146"/>
            <a:ext cx="10601087" cy="64864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 smtClean="0"/>
              <a:t>САЙТ КОРПОРАЦИИ «</a:t>
            </a:r>
            <a:r>
              <a:rPr lang="ru-RU" sz="2400" dirty="0" smtClean="0">
                <a:solidFill>
                  <a:srgbClr val="EB2049"/>
                </a:solidFill>
              </a:rPr>
              <a:t>РОССИЙСКИЙ УЧЕБНИК</a:t>
            </a:r>
            <a:r>
              <a:rPr lang="ru-RU" sz="2400" dirty="0" smtClean="0"/>
              <a:t>»</a:t>
            </a:r>
            <a:br>
              <a:rPr lang="ru-RU" sz="2400" dirty="0" smtClean="0"/>
            </a:br>
            <a:r>
              <a:rPr lang="ru-RU" sz="2400" dirty="0" smtClean="0"/>
              <a:t>МЕТОДИЧЕСКАЯ ПОМОЩЬ ПО ПРЕДМЕТУ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64753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38" y="322531"/>
            <a:ext cx="11037797" cy="55997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000" dirty="0" smtClean="0"/>
              <a:t>САЙТ КОРПОРАЦИИ «</a:t>
            </a:r>
            <a:r>
              <a:rPr lang="ru-RU" sz="2000" dirty="0" smtClean="0">
                <a:solidFill>
                  <a:srgbClr val="EB2049"/>
                </a:solidFill>
              </a:rPr>
              <a:t>РОССИЙСКИЙ УЧЕБНИК</a:t>
            </a:r>
            <a:r>
              <a:rPr lang="ru-RU" sz="2000" dirty="0" smtClean="0"/>
              <a:t>»: МЕТОДИЧЕСКАЯ ПОМОЩЬ ПО ПРЕДМЕТУ</a:t>
            </a:r>
            <a:endParaRPr lang="ru-RU" sz="2000" dirty="0"/>
          </a:p>
        </p:txBody>
      </p:sp>
      <p:pic>
        <p:nvPicPr>
          <p:cNvPr id="515075" name="Picture 3" descr="C:\Users\Елена\Pictures\Безымянный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33" y="1129845"/>
            <a:ext cx="11074400" cy="4944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753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1367" y="115888"/>
            <a:ext cx="11391900" cy="108585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2400" dirty="0" smtClean="0">
                <a:latin typeface="+mn-lt"/>
              </a:rPr>
              <a:t/>
            </a:r>
            <a:br>
              <a:rPr lang="en-US" sz="2400" dirty="0" smtClean="0">
                <a:latin typeface="+mn-lt"/>
              </a:rPr>
            </a:br>
            <a:endParaRPr lang="ru-RU" sz="2400" dirty="0">
              <a:latin typeface="+mn-lt"/>
            </a:endParaRPr>
          </a:p>
        </p:txBody>
      </p:sp>
      <p:sp>
        <p:nvSpPr>
          <p:cNvPr id="92163" name="Номер слайда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F5B2E50B-E473-437C-B24E-07A0A8320BFB}" type="slidenum">
              <a:rPr lang="ru-RU" smtClean="0"/>
              <a:pPr>
                <a:defRPr/>
              </a:pPr>
              <a:t>44</a:t>
            </a:fld>
            <a:endParaRPr lang="ru-RU" smtClean="0"/>
          </a:p>
        </p:txBody>
      </p:sp>
      <p:pic>
        <p:nvPicPr>
          <p:cNvPr id="63492" name="Picture 2" descr="F:\Д-ВГ\1\1.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5834" y="152400"/>
            <a:ext cx="11908367" cy="5991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Овал 4"/>
          <p:cNvSpPr/>
          <p:nvPr/>
        </p:nvSpPr>
        <p:spPr>
          <a:xfrm>
            <a:off x="670985" y="0"/>
            <a:ext cx="2017183" cy="368300"/>
          </a:xfrm>
          <a:prstGeom prst="ellipse">
            <a:avLst/>
          </a:prstGeom>
          <a:noFill/>
          <a:ln w="63500">
            <a:solidFill>
              <a:srgbClr val="FF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912285" y="800100"/>
            <a:ext cx="4127500" cy="541338"/>
          </a:xfrm>
          <a:prstGeom prst="roundRect">
            <a:avLst>
              <a:gd name="adj" fmla="val 49001"/>
            </a:avLst>
          </a:prstGeom>
          <a:noFill/>
          <a:ln w="50800">
            <a:solidFill>
              <a:srgbClr val="66FF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2495551" y="441325"/>
            <a:ext cx="1007533" cy="287338"/>
          </a:xfrm>
          <a:prstGeom prst="ellipse">
            <a:avLst/>
          </a:prstGeom>
          <a:noFill/>
          <a:ln w="63500">
            <a:solidFill>
              <a:srgbClr val="66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496" name="Номер слайда 3"/>
          <p:cNvSpPr txBox="1">
            <a:spLocks/>
          </p:cNvSpPr>
          <p:nvPr/>
        </p:nvSpPr>
        <p:spPr bwMode="auto">
          <a:xfrm>
            <a:off x="11256434" y="6386513"/>
            <a:ext cx="75776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B8223C7D-0AEE-486A-AE74-346F60B3ACDB}" type="slidenum">
              <a:rPr lang="ru-RU" altLang="ru-RU" sz="1200">
                <a:solidFill>
                  <a:srgbClr val="898989"/>
                </a:solidFill>
                <a:latin typeface="Calibri" pitchFamily="34" charset="0"/>
              </a:rPr>
              <a:pPr algn="r"/>
              <a:t>44</a:t>
            </a:fld>
            <a:endParaRPr lang="ru-RU" altLang="ru-RU" sz="1200">
              <a:solidFill>
                <a:srgbClr val="898989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6008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5" descr="D:\Masha\черная пятница\!!!Мероприятия\18-09-26 Презентация для ЦУИТ\лекта и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52" r="22473" b="5103"/>
          <a:stretch>
            <a:fillRect/>
          </a:stretch>
        </p:blipFill>
        <p:spPr bwMode="auto">
          <a:xfrm>
            <a:off x="6770688" y="0"/>
            <a:ext cx="54213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олилиния 16"/>
          <p:cNvSpPr/>
          <p:nvPr/>
        </p:nvSpPr>
        <p:spPr>
          <a:xfrm>
            <a:off x="6586537" y="0"/>
            <a:ext cx="3289303" cy="6858000"/>
          </a:xfrm>
          <a:custGeom>
            <a:avLst/>
            <a:gdLst>
              <a:gd name="connsiteX0" fmla="*/ 0 w 1714512"/>
              <a:gd name="connsiteY0" fmla="*/ 6854428 h 6854428"/>
              <a:gd name="connsiteX1" fmla="*/ 0 w 1714512"/>
              <a:gd name="connsiteY1" fmla="*/ 0 h 6854428"/>
              <a:gd name="connsiteX2" fmla="*/ 1714512 w 1714512"/>
              <a:gd name="connsiteY2" fmla="*/ 6854428 h 6854428"/>
              <a:gd name="connsiteX3" fmla="*/ 0 w 1714512"/>
              <a:gd name="connsiteY3" fmla="*/ 6854428 h 6854428"/>
              <a:gd name="connsiteX0" fmla="*/ 619172 w 2333684"/>
              <a:gd name="connsiteY0" fmla="*/ 6858000 h 6858000"/>
              <a:gd name="connsiteX1" fmla="*/ 0 w 2333684"/>
              <a:gd name="connsiteY1" fmla="*/ 0 h 6858000"/>
              <a:gd name="connsiteX2" fmla="*/ 2333684 w 2333684"/>
              <a:gd name="connsiteY2" fmla="*/ 6858000 h 6858000"/>
              <a:gd name="connsiteX3" fmla="*/ 619172 w 2333684"/>
              <a:gd name="connsiteY3" fmla="*/ 6858000 h 6858000"/>
              <a:gd name="connsiteX0" fmla="*/ 809716 w 2524228"/>
              <a:gd name="connsiteY0" fmla="*/ 6858000 h 6858000"/>
              <a:gd name="connsiteX1" fmla="*/ 0 w 2524228"/>
              <a:gd name="connsiteY1" fmla="*/ 0 h 6858000"/>
              <a:gd name="connsiteX2" fmla="*/ 2524228 w 2524228"/>
              <a:gd name="connsiteY2" fmla="*/ 6858000 h 6858000"/>
              <a:gd name="connsiteX3" fmla="*/ 809716 w 2524228"/>
              <a:gd name="connsiteY3" fmla="*/ 6858000 h 6858000"/>
              <a:gd name="connsiteX0" fmla="*/ 0 w 2690874"/>
              <a:gd name="connsiteY0" fmla="*/ 6858000 h 6858000"/>
              <a:gd name="connsiteX1" fmla="*/ 166646 w 2690874"/>
              <a:gd name="connsiteY1" fmla="*/ 0 h 6858000"/>
              <a:gd name="connsiteX2" fmla="*/ 2690874 w 2690874"/>
              <a:gd name="connsiteY2" fmla="*/ 6858000 h 6858000"/>
              <a:gd name="connsiteX3" fmla="*/ 0 w 2690874"/>
              <a:gd name="connsiteY3" fmla="*/ 6858000 h 6858000"/>
              <a:gd name="connsiteX0" fmla="*/ 0 w 2071702"/>
              <a:gd name="connsiteY0" fmla="*/ 6858000 h 6858000"/>
              <a:gd name="connsiteX1" fmla="*/ 166646 w 2071702"/>
              <a:gd name="connsiteY1" fmla="*/ 0 h 6858000"/>
              <a:gd name="connsiteX2" fmla="*/ 2071702 w 2071702"/>
              <a:gd name="connsiteY2" fmla="*/ 6858000 h 6858000"/>
              <a:gd name="connsiteX3" fmla="*/ 0 w 2071702"/>
              <a:gd name="connsiteY3" fmla="*/ 6858000 h 6858000"/>
              <a:gd name="connsiteX0" fmla="*/ 0 w 3024166"/>
              <a:gd name="connsiteY0" fmla="*/ 6858000 h 6858000"/>
              <a:gd name="connsiteX1" fmla="*/ 166646 w 3024166"/>
              <a:gd name="connsiteY1" fmla="*/ 0 h 6858000"/>
              <a:gd name="connsiteX2" fmla="*/ 3024166 w 3024166"/>
              <a:gd name="connsiteY2" fmla="*/ 6858000 h 6858000"/>
              <a:gd name="connsiteX3" fmla="*/ 0 w 302416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4166" h="6858000">
                <a:moveTo>
                  <a:pt x="0" y="6858000"/>
                </a:moveTo>
                <a:lnTo>
                  <a:pt x="166646" y="0"/>
                </a:lnTo>
                <a:lnTo>
                  <a:pt x="302416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14338" name="Object 6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9212695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6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343" name="Picture 11" descr="D:\Masha\черная пятница\!Фирменные стили и логотипы\Логотипы\все логотипы россыпью-0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57" y="363066"/>
            <a:ext cx="2142035" cy="6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622301" y="1957070"/>
            <a:ext cx="2232025" cy="18002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371475" y="1639746"/>
            <a:ext cx="59405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smtClean="0">
                <a:solidFill>
                  <a:srgbClr val="2D3494"/>
                </a:solidFill>
                <a:latin typeface="Calibri" pitchFamily="34" charset="0"/>
              </a:rPr>
              <a:t>КНИГ</a:t>
            </a:r>
            <a:r>
              <a:rPr lang="ru-RU" sz="1600">
                <a:solidFill>
                  <a:srgbClr val="2D3494"/>
                </a:solidFill>
                <a:latin typeface="Calibri" pitchFamily="34" charset="0"/>
              </a:rPr>
              <a:t>О</a:t>
            </a:r>
            <a:r>
              <a:rPr lang="ru-RU" sz="1600" smtClean="0">
                <a:solidFill>
                  <a:srgbClr val="2D3494"/>
                </a:solidFill>
                <a:latin typeface="Calibri" pitchFamily="34" charset="0"/>
              </a:rPr>
              <a:t>ВЫДАЧА</a:t>
            </a:r>
            <a:r>
              <a:rPr lang="ru-RU" sz="160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itchFamily="34" charset="0"/>
              </a:rPr>
              <a:t>– возможность обеспечить школу учебниками, сэкономить время и средства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.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23875" y="2279505"/>
            <a:ext cx="170772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3200" dirty="0" smtClean="0">
                <a:solidFill>
                  <a:srgbClr val="2D3494"/>
                </a:solidFill>
              </a:rPr>
              <a:t>1</a:t>
            </a:r>
          </a:p>
          <a:p>
            <a:pPr algn="ctr"/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учебник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295264" y="2279505"/>
            <a:ext cx="170772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3200" dirty="0" smtClean="0">
                <a:solidFill>
                  <a:srgbClr val="2D3494"/>
                </a:solidFill>
              </a:rPr>
              <a:t>500</a:t>
            </a:r>
          </a:p>
          <a:p>
            <a:pPr algn="ctr"/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дней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066653" y="2310281"/>
            <a:ext cx="1707720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3200" dirty="0" smtClean="0">
                <a:solidFill>
                  <a:srgbClr val="2D3494"/>
                </a:solidFill>
              </a:rPr>
              <a:t>ЛЮБЫЕ</a:t>
            </a:r>
            <a:r>
              <a:rPr lang="ru-RU" sz="32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устройства пользователя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838043" y="2279505"/>
            <a:ext cx="170772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3200" dirty="0" smtClean="0">
                <a:solidFill>
                  <a:srgbClr val="2D3494"/>
                </a:solidFill>
              </a:rPr>
              <a:t>75</a:t>
            </a:r>
          </a:p>
          <a:p>
            <a:pPr algn="ctr"/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р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ублей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400667" y="3495292"/>
            <a:ext cx="74291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Calibri" pitchFamily="34" charset="0"/>
              </a:rPr>
              <a:t>В библиотеке платформы </a:t>
            </a:r>
            <a:r>
              <a:rPr lang="en-US" sz="1600" dirty="0" smtClean="0">
                <a:latin typeface="Calibri" pitchFamily="34" charset="0"/>
              </a:rPr>
              <a:t>LECTA </a:t>
            </a:r>
            <a:r>
              <a:rPr lang="ru-RU" sz="1600" b="1" dirty="0" smtClean="0">
                <a:latin typeface="Calibri" pitchFamily="34" charset="0"/>
              </a:rPr>
              <a:t>более 500 учебников и учебных пособий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Calibri" pitchFamily="34" charset="0"/>
              </a:rPr>
              <a:t>в электронной форме </a:t>
            </a:r>
            <a:r>
              <a:rPr lang="ru-RU" sz="1600" dirty="0" smtClean="0">
                <a:latin typeface="Calibri" pitchFamily="34" charset="0"/>
              </a:rPr>
              <a:t>(ЭФУ) и </a:t>
            </a:r>
            <a:r>
              <a:rPr lang="ru-RU" sz="1600" dirty="0" err="1" smtClean="0">
                <a:latin typeface="Calibri" pitchFamily="34" charset="0"/>
              </a:rPr>
              <a:t>аудиприложений</a:t>
            </a:r>
            <a:r>
              <a:rPr lang="ru-RU" sz="1600" dirty="0" smtClean="0">
                <a:latin typeface="Calibri" pitchFamily="34" charset="0"/>
              </a:rPr>
              <a:t> по всей школьной программе.</a:t>
            </a:r>
            <a:endParaRPr lang="ru-RU" sz="1600" dirty="0">
              <a:latin typeface="Calibri Light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83632" y="303507"/>
            <a:ext cx="4248472" cy="785818"/>
          </a:xfrm>
        </p:spPr>
        <p:txBody>
          <a:bodyPr anchor="ctr">
            <a:normAutofit/>
          </a:bodyPr>
          <a:lstStyle/>
          <a:p>
            <a:pPr mar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2F3696"/>
                </a:solidFill>
              </a:rPr>
              <a:t>НАДЕЖНАЯ ОСНОВА ЦИФРОВОЙ ШКОЛЫ:</a:t>
            </a:r>
            <a:r>
              <a:rPr lang="en-US" sz="1600" dirty="0">
                <a:solidFill>
                  <a:srgbClr val="2F3696"/>
                </a:solidFill>
              </a:rPr>
              <a:t> </a:t>
            </a:r>
            <a:br>
              <a:rPr lang="en-US" sz="1600" dirty="0">
                <a:solidFill>
                  <a:srgbClr val="2F3696"/>
                </a:solidFill>
              </a:rPr>
            </a:br>
            <a:r>
              <a:rPr lang="ru-RU" sz="1600" dirty="0">
                <a:solidFill>
                  <a:srgbClr val="2F3696"/>
                </a:solidFill>
              </a:rPr>
              <a:t>ПРОСТЫЕ РЕШЕНИЯ СЛОЖНЫХ </a:t>
            </a:r>
            <a:r>
              <a:rPr lang="ru-RU" sz="1600" dirty="0" smtClean="0">
                <a:solidFill>
                  <a:srgbClr val="2F3696"/>
                </a:solidFill>
              </a:rPr>
              <a:t>ЗАДАЧ</a:t>
            </a:r>
            <a:endParaRPr lang="ru-RU" sz="1400" dirty="0">
              <a:solidFill>
                <a:srgbClr val="2F3696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67471" y="4313382"/>
            <a:ext cx="7642056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2D3494"/>
            </a:solidFill>
            <a:miter lim="800000"/>
            <a:headEnd type="none" w="med" len="med"/>
            <a:tailEnd type="none"/>
          </a:ln>
        </p:spPr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23875" y="4564901"/>
            <a:ext cx="7663580" cy="78815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71475" y="5493699"/>
            <a:ext cx="124636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 smtClean="0"/>
              <a:t>Классная работа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091269" y="5493698"/>
            <a:ext cx="122310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 smtClean="0"/>
              <a:t>Контрольная работа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666068" y="5493698"/>
            <a:ext cx="19304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 smtClean="0"/>
              <a:t>Курсы повышения квалификаци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838045" y="5493699"/>
            <a:ext cx="151948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smtClean="0"/>
              <a:t>ВПР-тренажер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620427" y="5493699"/>
            <a:ext cx="111601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smtClean="0"/>
              <a:t>Атлас+</a:t>
            </a:r>
          </a:p>
        </p:txBody>
      </p:sp>
    </p:spTree>
    <p:extLst>
      <p:ext uri="{BB962C8B-B14F-4D97-AF65-F5344CB8AC3E}">
        <p14:creationId xmlns:p14="http://schemas.microsoft.com/office/powerpoint/2010/main" val="1788852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ЧТО ОКРУЖАЕТ УЧИТЕЛЯ СЕГОДНЯ?">
            <a:extLst>
              <a:ext uri="{FF2B5EF4-FFF2-40B4-BE49-F238E27FC236}">
                <a16:creationId xmlns="" xmlns:a16="http://schemas.microsoft.com/office/drawing/2014/main" id="{9B071EFB-0F62-D545-807E-0CE715EF401E}"/>
              </a:ext>
            </a:extLst>
          </p:cNvPr>
          <p:cNvSpPr txBox="1">
            <a:spLocks/>
          </p:cNvSpPr>
          <p:nvPr/>
        </p:nvSpPr>
        <p:spPr>
          <a:xfrm>
            <a:off x="2676122" y="1795757"/>
            <a:ext cx="3078342" cy="5147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ОБЛЕГЧАЕТ РАБОТУ УЧИТЕЛЯ</a:t>
            </a:r>
          </a:p>
        </p:txBody>
      </p:sp>
      <p:sp>
        <p:nvSpPr>
          <p:cNvPr id="13" name="ЧТО ОКРУЖАЕТ УЧИТЕЛЯ СЕГОДНЯ?">
            <a:extLst>
              <a:ext uri="{FF2B5EF4-FFF2-40B4-BE49-F238E27FC236}">
                <a16:creationId xmlns="" xmlns:a16="http://schemas.microsoft.com/office/drawing/2014/main" id="{9E7F6303-984E-2B49-81E7-DA78337C00B9}"/>
              </a:ext>
            </a:extLst>
          </p:cNvPr>
          <p:cNvSpPr txBox="1">
            <a:spLocks/>
          </p:cNvSpPr>
          <p:nvPr/>
        </p:nvSpPr>
        <p:spPr>
          <a:xfrm>
            <a:off x="8583429" y="2982638"/>
            <a:ext cx="2724681" cy="5593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50000"/>
              </a:lnSpc>
            </a:pPr>
            <a:r>
              <a:rPr lang="ru-RU" sz="2000" b="1" dirty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«КЛАССНАЯ РАБОТА»</a:t>
            </a:r>
          </a:p>
        </p:txBody>
      </p:sp>
      <p:sp>
        <p:nvSpPr>
          <p:cNvPr id="14" name="ЧТО ОКРУЖАЕТ УЧИТЕЛЯ СЕГОДНЯ?">
            <a:extLst>
              <a:ext uri="{FF2B5EF4-FFF2-40B4-BE49-F238E27FC236}">
                <a16:creationId xmlns="" xmlns:a16="http://schemas.microsoft.com/office/drawing/2014/main" id="{E193DA1A-CE06-5447-B8C0-48DE1C9EA800}"/>
              </a:ext>
            </a:extLst>
          </p:cNvPr>
          <p:cNvSpPr txBox="1">
            <a:spLocks/>
          </p:cNvSpPr>
          <p:nvPr/>
        </p:nvSpPr>
        <p:spPr>
          <a:xfrm>
            <a:off x="8583429" y="3712898"/>
            <a:ext cx="3202171" cy="6070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50000"/>
              </a:lnSpc>
            </a:pPr>
            <a:r>
              <a:rPr lang="ru-RU" sz="2000" b="1" dirty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«</a:t>
            </a:r>
            <a:r>
              <a:rPr lang="ru-RU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КОНТРОЛЬНАЯ РАБОТА»</a:t>
            </a:r>
            <a:endParaRPr lang="ru-RU" sz="2000" b="1" dirty="0">
              <a:solidFill>
                <a:schemeClr val="tx1">
                  <a:lumMod val="90000"/>
                  <a:lumOff val="10000"/>
                </a:schemeClr>
              </a:solidFill>
              <a:sym typeface="HeliosCompressed"/>
            </a:endParaRPr>
          </a:p>
        </p:txBody>
      </p:sp>
      <p:sp>
        <p:nvSpPr>
          <p:cNvPr id="15" name="ЧТО ОКРУЖАЕТ УЧИТЕЛЯ СЕГОДНЯ?">
            <a:extLst>
              <a:ext uri="{FF2B5EF4-FFF2-40B4-BE49-F238E27FC236}">
                <a16:creationId xmlns="" xmlns:a16="http://schemas.microsoft.com/office/drawing/2014/main" id="{DCB82A16-0E4C-4148-B743-D9C421AA8C71}"/>
              </a:ext>
            </a:extLst>
          </p:cNvPr>
          <p:cNvSpPr txBox="1">
            <a:spLocks/>
          </p:cNvSpPr>
          <p:nvPr/>
        </p:nvSpPr>
        <p:spPr>
          <a:xfrm>
            <a:off x="2686142" y="3235233"/>
            <a:ext cx="3379573" cy="5147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ПОМОГАЕТ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ЛУЧШЕ УЧИТЬ И УЧИТЬСЯ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sym typeface="HeliosCompressed"/>
            </a:endParaRPr>
          </a:p>
        </p:txBody>
      </p:sp>
      <p:sp>
        <p:nvSpPr>
          <p:cNvPr id="16" name="ЧТО ОКРУЖАЕТ УЧИТЕЛЯ СЕГОДНЯ?">
            <a:extLst>
              <a:ext uri="{FF2B5EF4-FFF2-40B4-BE49-F238E27FC236}">
                <a16:creationId xmlns="" xmlns:a16="http://schemas.microsoft.com/office/drawing/2014/main" id="{4BAB4E26-9C5E-1843-AED8-89ECA7323E2E}"/>
              </a:ext>
            </a:extLst>
          </p:cNvPr>
          <p:cNvSpPr txBox="1">
            <a:spLocks/>
          </p:cNvSpPr>
          <p:nvPr/>
        </p:nvSpPr>
        <p:spPr>
          <a:xfrm>
            <a:off x="2548467" y="4505999"/>
            <a:ext cx="3742265" cy="884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50000"/>
              </a:lnSpc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iosCompressed"/>
              </a:rPr>
              <a:t>ОБЕСПЕЧИВАЕТ ИСПОЛЬЗОВАНИЕ СОВРЕМЕННЫХ ЦИФРОВЫХ ТЕХНОЛОГИЙ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25768866-F9DB-D342-9592-C571EDD9A63E}"/>
              </a:ext>
            </a:extLst>
          </p:cNvPr>
          <p:cNvSpPr txBox="1"/>
          <p:nvPr/>
        </p:nvSpPr>
        <p:spPr>
          <a:xfrm rot="16200000">
            <a:off x="6792921" y="3422306"/>
            <a:ext cx="2266497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>
              <a:lnSpc>
                <a:spcPct val="70000"/>
              </a:lnSpc>
            </a:pPr>
            <a:r>
              <a:rPr lang="ru-RU" sz="4000" dirty="0">
                <a:solidFill>
                  <a:srgbClr val="2D3494"/>
                </a:solidFill>
                <a:latin typeface="Calibri" panose="020F0502020204030204" pitchFamily="34" charset="0"/>
              </a:rPr>
              <a:t>СЕРВИСЫ</a:t>
            </a:r>
          </a:p>
        </p:txBody>
      </p:sp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162253" y="221823"/>
            <a:ext cx="2145857" cy="726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653916" y="1740797"/>
            <a:ext cx="618750" cy="6525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629303" y="3170976"/>
            <a:ext cx="641250" cy="6525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629303" y="4610344"/>
            <a:ext cx="641250" cy="652500"/>
          </a:xfrm>
          <a:prstGeom prst="rect">
            <a:avLst/>
          </a:prstGeom>
        </p:spPr>
      </p:pic>
      <p:sp>
        <p:nvSpPr>
          <p:cNvPr id="23" name="AutoShap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4568048" y="3654003"/>
            <a:ext cx="4081091" cy="304716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1475703" y="1606127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1474168" y="3003480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1460805" y="4458912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280014" y="132460"/>
            <a:ext cx="10601087" cy="64864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400" dirty="0"/>
              <a:t>LECTA – </a:t>
            </a:r>
            <a:r>
              <a:rPr lang="ru-RU" sz="2400" dirty="0" smtClean="0"/>
              <a:t>УНИКАЛЬНАЯ ИНТЕРАКТИВНАЯ </a:t>
            </a:r>
            <a:br>
              <a:rPr lang="ru-RU" sz="2400" dirty="0" smtClean="0"/>
            </a:br>
            <a:r>
              <a:rPr lang="ru-RU" sz="2400" dirty="0" smtClean="0"/>
              <a:t>ЦИФРОВАЯ </a:t>
            </a:r>
            <a:r>
              <a:rPr lang="ru-RU" sz="2400" dirty="0"/>
              <a:t>ОБРАЗОВАТЕЛЬНАЯ ПЛАТФОРМ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9162253" y="1057929"/>
            <a:ext cx="246765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181818">
                    <a:lumMod val="90000"/>
                    <a:lumOff val="10000"/>
                  </a:srgb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Адрес сайта:</a:t>
            </a:r>
            <a:r>
              <a:rPr lang="ru-RU" sz="2000" dirty="0">
                <a:solidFill>
                  <a:srgbClr val="2D3494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endParaRPr lang="en-US" sz="2000" dirty="0" smtClean="0">
              <a:solidFill>
                <a:srgbClr val="2D3494"/>
              </a:solidFill>
              <a:latin typeface="Calibri" panose="020F0502020204030204" pitchFamily="34" charset="0"/>
              <a:ea typeface="HeliosCompressed"/>
              <a:cs typeface="HeliosCompressed"/>
            </a:endParaRPr>
          </a:p>
          <a:p>
            <a:r>
              <a:rPr lang="en-US" sz="2000" dirty="0" smtClean="0">
                <a:solidFill>
                  <a:srgbClr val="2683C6">
                    <a:lumMod val="25000"/>
                  </a:srgbClr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lecta.rosuchebnik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654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БЛАГОДАРЯ:"/>
          <p:cNvSpPr txBox="1"/>
          <p:nvPr/>
        </p:nvSpPr>
        <p:spPr>
          <a:xfrm>
            <a:off x="5661274" y="330071"/>
            <a:ext cx="5701101" cy="396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15000" b="0">
                <a:solidFill>
                  <a:srgbClr val="F69323"/>
                </a:solidFill>
                <a:latin typeface="HeliosExtraCompressed"/>
                <a:ea typeface="HeliosExtraCompressed"/>
                <a:cs typeface="HeliosExtraCompressed"/>
                <a:sym typeface="HeliosExtraCompressed"/>
              </a:defRPr>
            </a:lvl1pPr>
          </a:lstStyle>
          <a:p>
            <a:r>
              <a:rPr lang="ru-RU" sz="2800" b="1" dirty="0">
                <a:solidFill>
                  <a:srgbClr val="2D3494"/>
                </a:solidFill>
                <a:latin typeface="+mn-lt"/>
                <a:ea typeface="HeliosCompressed"/>
                <a:cs typeface="HeliosCompressed"/>
              </a:rPr>
              <a:t>ПОПРОБУЙТЕ И УБЕДИТЕСЬ САМИ!</a:t>
            </a:r>
            <a:endParaRPr sz="2800" b="1" dirty="0">
              <a:solidFill>
                <a:srgbClr val="2D3494"/>
              </a:solidFill>
              <a:latin typeface="+mn-lt"/>
              <a:ea typeface="HeliosCompressed"/>
              <a:cs typeface="HeliosCompressed"/>
            </a:endParaRPr>
          </a:p>
        </p:txBody>
      </p:sp>
      <p:sp>
        <p:nvSpPr>
          <p:cNvPr id="13" name="Сервисы «Классная работа» и «Контроль»"/>
          <p:cNvSpPr txBox="1"/>
          <p:nvPr/>
        </p:nvSpPr>
        <p:spPr>
          <a:xfrm>
            <a:off x="2789147" y="5609595"/>
            <a:ext cx="3009959" cy="5000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8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Сервисы «Классная работа», «Контроль»</a:t>
            </a:r>
            <a:endParaRPr sz="180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14" name="2018"/>
          <p:cNvSpPr txBox="1"/>
          <p:nvPr/>
        </p:nvSpPr>
        <p:spPr>
          <a:xfrm>
            <a:off x="6825287" y="5541508"/>
            <a:ext cx="638556" cy="2975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20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rPr>
              <a:t>2019</a:t>
            </a:r>
            <a:endParaRPr lang="ru-RU" sz="200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145291" y="2739634"/>
            <a:ext cx="170772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5 </a:t>
            </a: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чебников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189104" y="2739633"/>
            <a:ext cx="170772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2 месяца</a:t>
            </a:r>
            <a:endParaRPr lang="ru-RU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676879" y="3710478"/>
            <a:ext cx="170772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0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бесплатно</a:t>
            </a:r>
            <a:endParaRPr lang="ru-RU" sz="20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744611" y="5490210"/>
            <a:ext cx="170772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20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бесплатно</a:t>
            </a:r>
          </a:p>
        </p:txBody>
      </p:sp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45502" y="148261"/>
            <a:ext cx="2185063" cy="739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" name="Freeform 20"/>
          <p:cNvSpPr>
            <a:spLocks noEditPoints="1"/>
          </p:cNvSpPr>
          <p:nvPr/>
        </p:nvSpPr>
        <p:spPr bwMode="auto">
          <a:xfrm flipH="1">
            <a:off x="1243653" y="2653510"/>
            <a:ext cx="522595" cy="536478"/>
          </a:xfrm>
          <a:custGeom>
            <a:avLst/>
            <a:gdLst/>
            <a:ahLst/>
            <a:cxnLst>
              <a:cxn ang="0">
                <a:pos x="64" y="384"/>
              </a:cxn>
              <a:cxn ang="0">
                <a:pos x="0" y="176"/>
              </a:cxn>
              <a:cxn ang="0">
                <a:pos x="376" y="224"/>
              </a:cxn>
              <a:cxn ang="0">
                <a:pos x="374" y="214"/>
              </a:cxn>
              <a:cxn ang="0">
                <a:pos x="370" y="206"/>
              </a:cxn>
              <a:cxn ang="0">
                <a:pos x="368" y="194"/>
              </a:cxn>
              <a:cxn ang="0">
                <a:pos x="372" y="184"/>
              </a:cxn>
              <a:cxn ang="0">
                <a:pos x="378" y="180"/>
              </a:cxn>
              <a:cxn ang="0">
                <a:pos x="384" y="166"/>
              </a:cxn>
              <a:cxn ang="0">
                <a:pos x="384" y="160"/>
              </a:cxn>
              <a:cxn ang="0">
                <a:pos x="382" y="148"/>
              </a:cxn>
              <a:cxn ang="0">
                <a:pos x="364" y="130"/>
              </a:cxn>
              <a:cxn ang="0">
                <a:pos x="352" y="128"/>
              </a:cxn>
              <a:cxn ang="0">
                <a:pos x="272" y="128"/>
              </a:cxn>
              <a:cxn ang="0">
                <a:pos x="286" y="88"/>
              </a:cxn>
              <a:cxn ang="0">
                <a:pos x="288" y="64"/>
              </a:cxn>
              <a:cxn ang="0">
                <a:pos x="286" y="44"/>
              </a:cxn>
              <a:cxn ang="0">
                <a:pos x="280" y="24"/>
              </a:cxn>
              <a:cxn ang="0">
                <a:pos x="268" y="6"/>
              </a:cxn>
              <a:cxn ang="0">
                <a:pos x="248" y="0"/>
              </a:cxn>
              <a:cxn ang="0">
                <a:pos x="238" y="2"/>
              </a:cxn>
              <a:cxn ang="0">
                <a:pos x="228" y="10"/>
              </a:cxn>
              <a:cxn ang="0">
                <a:pos x="226" y="16"/>
              </a:cxn>
              <a:cxn ang="0">
                <a:pos x="220" y="62"/>
              </a:cxn>
              <a:cxn ang="0">
                <a:pos x="208" y="92"/>
              </a:cxn>
              <a:cxn ang="0">
                <a:pos x="198" y="108"/>
              </a:cxn>
              <a:cxn ang="0">
                <a:pos x="80" y="192"/>
              </a:cxn>
              <a:cxn ang="0">
                <a:pos x="80" y="352"/>
              </a:cxn>
              <a:cxn ang="0">
                <a:pos x="120" y="368"/>
              </a:cxn>
              <a:cxn ang="0">
                <a:pos x="162" y="380"/>
              </a:cxn>
              <a:cxn ang="0">
                <a:pos x="208" y="384"/>
              </a:cxn>
              <a:cxn ang="0">
                <a:pos x="224" y="384"/>
              </a:cxn>
              <a:cxn ang="0">
                <a:pos x="276" y="380"/>
              </a:cxn>
              <a:cxn ang="0">
                <a:pos x="318" y="370"/>
              </a:cxn>
              <a:cxn ang="0">
                <a:pos x="342" y="354"/>
              </a:cxn>
              <a:cxn ang="0">
                <a:pos x="352" y="336"/>
              </a:cxn>
              <a:cxn ang="0">
                <a:pos x="352" y="330"/>
              </a:cxn>
              <a:cxn ang="0">
                <a:pos x="350" y="326"/>
              </a:cxn>
              <a:cxn ang="0">
                <a:pos x="352" y="316"/>
              </a:cxn>
              <a:cxn ang="0">
                <a:pos x="356" y="312"/>
              </a:cxn>
              <a:cxn ang="0">
                <a:pos x="364" y="302"/>
              </a:cxn>
              <a:cxn ang="0">
                <a:pos x="368" y="288"/>
              </a:cxn>
              <a:cxn ang="0">
                <a:pos x="366" y="278"/>
              </a:cxn>
              <a:cxn ang="0">
                <a:pos x="362" y="270"/>
              </a:cxn>
              <a:cxn ang="0">
                <a:pos x="360" y="258"/>
              </a:cxn>
              <a:cxn ang="0">
                <a:pos x="364" y="248"/>
              </a:cxn>
              <a:cxn ang="0">
                <a:pos x="370" y="244"/>
              </a:cxn>
              <a:cxn ang="0">
                <a:pos x="376" y="230"/>
              </a:cxn>
              <a:cxn ang="0">
                <a:pos x="376" y="224"/>
              </a:cxn>
            </a:cxnLst>
            <a:rect l="0" t="0" r="r" b="b"/>
            <a:pathLst>
              <a:path w="384" h="384">
                <a:moveTo>
                  <a:pt x="0" y="384"/>
                </a:moveTo>
                <a:lnTo>
                  <a:pt x="64" y="384"/>
                </a:lnTo>
                <a:lnTo>
                  <a:pt x="64" y="176"/>
                </a:lnTo>
                <a:lnTo>
                  <a:pt x="0" y="176"/>
                </a:lnTo>
                <a:lnTo>
                  <a:pt x="0" y="384"/>
                </a:lnTo>
                <a:close/>
                <a:moveTo>
                  <a:pt x="376" y="224"/>
                </a:moveTo>
                <a:lnTo>
                  <a:pt x="376" y="224"/>
                </a:lnTo>
                <a:lnTo>
                  <a:pt x="374" y="214"/>
                </a:lnTo>
                <a:lnTo>
                  <a:pt x="370" y="206"/>
                </a:lnTo>
                <a:lnTo>
                  <a:pt x="370" y="206"/>
                </a:lnTo>
                <a:lnTo>
                  <a:pt x="368" y="200"/>
                </a:lnTo>
                <a:lnTo>
                  <a:pt x="368" y="194"/>
                </a:lnTo>
                <a:lnTo>
                  <a:pt x="370" y="188"/>
                </a:lnTo>
                <a:lnTo>
                  <a:pt x="372" y="184"/>
                </a:lnTo>
                <a:lnTo>
                  <a:pt x="372" y="184"/>
                </a:lnTo>
                <a:lnTo>
                  <a:pt x="378" y="180"/>
                </a:lnTo>
                <a:lnTo>
                  <a:pt x="382" y="174"/>
                </a:lnTo>
                <a:lnTo>
                  <a:pt x="384" y="166"/>
                </a:lnTo>
                <a:lnTo>
                  <a:pt x="384" y="160"/>
                </a:lnTo>
                <a:lnTo>
                  <a:pt x="384" y="160"/>
                </a:lnTo>
                <a:lnTo>
                  <a:pt x="384" y="154"/>
                </a:lnTo>
                <a:lnTo>
                  <a:pt x="382" y="148"/>
                </a:lnTo>
                <a:lnTo>
                  <a:pt x="374" y="138"/>
                </a:lnTo>
                <a:lnTo>
                  <a:pt x="364" y="130"/>
                </a:lnTo>
                <a:lnTo>
                  <a:pt x="358" y="128"/>
                </a:lnTo>
                <a:lnTo>
                  <a:pt x="352" y="128"/>
                </a:lnTo>
                <a:lnTo>
                  <a:pt x="272" y="128"/>
                </a:lnTo>
                <a:lnTo>
                  <a:pt x="272" y="128"/>
                </a:lnTo>
                <a:lnTo>
                  <a:pt x="280" y="108"/>
                </a:lnTo>
                <a:lnTo>
                  <a:pt x="286" y="88"/>
                </a:lnTo>
                <a:lnTo>
                  <a:pt x="288" y="76"/>
                </a:lnTo>
                <a:lnTo>
                  <a:pt x="288" y="64"/>
                </a:lnTo>
                <a:lnTo>
                  <a:pt x="288" y="64"/>
                </a:lnTo>
                <a:lnTo>
                  <a:pt x="286" y="44"/>
                </a:lnTo>
                <a:lnTo>
                  <a:pt x="284" y="34"/>
                </a:lnTo>
                <a:lnTo>
                  <a:pt x="280" y="24"/>
                </a:lnTo>
                <a:lnTo>
                  <a:pt x="274" y="14"/>
                </a:lnTo>
                <a:lnTo>
                  <a:pt x="268" y="6"/>
                </a:lnTo>
                <a:lnTo>
                  <a:pt x="258" y="2"/>
                </a:lnTo>
                <a:lnTo>
                  <a:pt x="248" y="0"/>
                </a:lnTo>
                <a:lnTo>
                  <a:pt x="248" y="0"/>
                </a:lnTo>
                <a:lnTo>
                  <a:pt x="238" y="2"/>
                </a:lnTo>
                <a:lnTo>
                  <a:pt x="232" y="4"/>
                </a:lnTo>
                <a:lnTo>
                  <a:pt x="228" y="10"/>
                </a:lnTo>
                <a:lnTo>
                  <a:pt x="226" y="16"/>
                </a:lnTo>
                <a:lnTo>
                  <a:pt x="226" y="16"/>
                </a:lnTo>
                <a:lnTo>
                  <a:pt x="224" y="40"/>
                </a:lnTo>
                <a:lnTo>
                  <a:pt x="220" y="62"/>
                </a:lnTo>
                <a:lnTo>
                  <a:pt x="214" y="78"/>
                </a:lnTo>
                <a:lnTo>
                  <a:pt x="208" y="92"/>
                </a:lnTo>
                <a:lnTo>
                  <a:pt x="202" y="100"/>
                </a:lnTo>
                <a:lnTo>
                  <a:pt x="198" y="108"/>
                </a:lnTo>
                <a:lnTo>
                  <a:pt x="192" y="112"/>
                </a:lnTo>
                <a:lnTo>
                  <a:pt x="80" y="192"/>
                </a:lnTo>
                <a:lnTo>
                  <a:pt x="80" y="352"/>
                </a:lnTo>
                <a:lnTo>
                  <a:pt x="80" y="352"/>
                </a:lnTo>
                <a:lnTo>
                  <a:pt x="92" y="358"/>
                </a:lnTo>
                <a:lnTo>
                  <a:pt x="120" y="368"/>
                </a:lnTo>
                <a:lnTo>
                  <a:pt x="140" y="374"/>
                </a:lnTo>
                <a:lnTo>
                  <a:pt x="162" y="380"/>
                </a:lnTo>
                <a:lnTo>
                  <a:pt x="184" y="382"/>
                </a:lnTo>
                <a:lnTo>
                  <a:pt x="208" y="384"/>
                </a:lnTo>
                <a:lnTo>
                  <a:pt x="224" y="384"/>
                </a:lnTo>
                <a:lnTo>
                  <a:pt x="224" y="384"/>
                </a:lnTo>
                <a:lnTo>
                  <a:pt x="252" y="384"/>
                </a:lnTo>
                <a:lnTo>
                  <a:pt x="276" y="380"/>
                </a:lnTo>
                <a:lnTo>
                  <a:pt x="298" y="376"/>
                </a:lnTo>
                <a:lnTo>
                  <a:pt x="318" y="370"/>
                </a:lnTo>
                <a:lnTo>
                  <a:pt x="332" y="362"/>
                </a:lnTo>
                <a:lnTo>
                  <a:pt x="342" y="354"/>
                </a:lnTo>
                <a:lnTo>
                  <a:pt x="350" y="346"/>
                </a:lnTo>
                <a:lnTo>
                  <a:pt x="352" y="336"/>
                </a:lnTo>
                <a:lnTo>
                  <a:pt x="352" y="336"/>
                </a:lnTo>
                <a:lnTo>
                  <a:pt x="352" y="330"/>
                </a:lnTo>
                <a:lnTo>
                  <a:pt x="352" y="330"/>
                </a:lnTo>
                <a:lnTo>
                  <a:pt x="350" y="326"/>
                </a:lnTo>
                <a:lnTo>
                  <a:pt x="352" y="320"/>
                </a:lnTo>
                <a:lnTo>
                  <a:pt x="352" y="316"/>
                </a:lnTo>
                <a:lnTo>
                  <a:pt x="356" y="312"/>
                </a:lnTo>
                <a:lnTo>
                  <a:pt x="356" y="312"/>
                </a:lnTo>
                <a:lnTo>
                  <a:pt x="362" y="308"/>
                </a:lnTo>
                <a:lnTo>
                  <a:pt x="364" y="302"/>
                </a:lnTo>
                <a:lnTo>
                  <a:pt x="368" y="296"/>
                </a:lnTo>
                <a:lnTo>
                  <a:pt x="368" y="288"/>
                </a:lnTo>
                <a:lnTo>
                  <a:pt x="368" y="288"/>
                </a:lnTo>
                <a:lnTo>
                  <a:pt x="366" y="278"/>
                </a:lnTo>
                <a:lnTo>
                  <a:pt x="362" y="270"/>
                </a:lnTo>
                <a:lnTo>
                  <a:pt x="362" y="270"/>
                </a:lnTo>
                <a:lnTo>
                  <a:pt x="360" y="264"/>
                </a:lnTo>
                <a:lnTo>
                  <a:pt x="360" y="258"/>
                </a:lnTo>
                <a:lnTo>
                  <a:pt x="362" y="252"/>
                </a:lnTo>
                <a:lnTo>
                  <a:pt x="364" y="248"/>
                </a:lnTo>
                <a:lnTo>
                  <a:pt x="364" y="248"/>
                </a:lnTo>
                <a:lnTo>
                  <a:pt x="370" y="244"/>
                </a:lnTo>
                <a:lnTo>
                  <a:pt x="374" y="238"/>
                </a:lnTo>
                <a:lnTo>
                  <a:pt x="376" y="230"/>
                </a:lnTo>
                <a:lnTo>
                  <a:pt x="376" y="224"/>
                </a:lnTo>
                <a:lnTo>
                  <a:pt x="376" y="224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/>
          </a:p>
        </p:txBody>
      </p:sp>
      <p:sp>
        <p:nvSpPr>
          <p:cNvPr id="25" name="Freeform 20"/>
          <p:cNvSpPr>
            <a:spLocks noEditPoints="1"/>
          </p:cNvSpPr>
          <p:nvPr/>
        </p:nvSpPr>
        <p:spPr bwMode="auto">
          <a:xfrm flipH="1">
            <a:off x="1293167" y="4787216"/>
            <a:ext cx="522595" cy="536478"/>
          </a:xfrm>
          <a:custGeom>
            <a:avLst/>
            <a:gdLst/>
            <a:ahLst/>
            <a:cxnLst>
              <a:cxn ang="0">
                <a:pos x="64" y="384"/>
              </a:cxn>
              <a:cxn ang="0">
                <a:pos x="0" y="176"/>
              </a:cxn>
              <a:cxn ang="0">
                <a:pos x="376" y="224"/>
              </a:cxn>
              <a:cxn ang="0">
                <a:pos x="374" y="214"/>
              </a:cxn>
              <a:cxn ang="0">
                <a:pos x="370" y="206"/>
              </a:cxn>
              <a:cxn ang="0">
                <a:pos x="368" y="194"/>
              </a:cxn>
              <a:cxn ang="0">
                <a:pos x="372" y="184"/>
              </a:cxn>
              <a:cxn ang="0">
                <a:pos x="378" y="180"/>
              </a:cxn>
              <a:cxn ang="0">
                <a:pos x="384" y="166"/>
              </a:cxn>
              <a:cxn ang="0">
                <a:pos x="384" y="160"/>
              </a:cxn>
              <a:cxn ang="0">
                <a:pos x="382" y="148"/>
              </a:cxn>
              <a:cxn ang="0">
                <a:pos x="364" y="130"/>
              </a:cxn>
              <a:cxn ang="0">
                <a:pos x="352" y="128"/>
              </a:cxn>
              <a:cxn ang="0">
                <a:pos x="272" y="128"/>
              </a:cxn>
              <a:cxn ang="0">
                <a:pos x="286" y="88"/>
              </a:cxn>
              <a:cxn ang="0">
                <a:pos x="288" y="64"/>
              </a:cxn>
              <a:cxn ang="0">
                <a:pos x="286" y="44"/>
              </a:cxn>
              <a:cxn ang="0">
                <a:pos x="280" y="24"/>
              </a:cxn>
              <a:cxn ang="0">
                <a:pos x="268" y="6"/>
              </a:cxn>
              <a:cxn ang="0">
                <a:pos x="248" y="0"/>
              </a:cxn>
              <a:cxn ang="0">
                <a:pos x="238" y="2"/>
              </a:cxn>
              <a:cxn ang="0">
                <a:pos x="228" y="10"/>
              </a:cxn>
              <a:cxn ang="0">
                <a:pos x="226" y="16"/>
              </a:cxn>
              <a:cxn ang="0">
                <a:pos x="220" y="62"/>
              </a:cxn>
              <a:cxn ang="0">
                <a:pos x="208" y="92"/>
              </a:cxn>
              <a:cxn ang="0">
                <a:pos x="198" y="108"/>
              </a:cxn>
              <a:cxn ang="0">
                <a:pos x="80" y="192"/>
              </a:cxn>
              <a:cxn ang="0">
                <a:pos x="80" y="352"/>
              </a:cxn>
              <a:cxn ang="0">
                <a:pos x="120" y="368"/>
              </a:cxn>
              <a:cxn ang="0">
                <a:pos x="162" y="380"/>
              </a:cxn>
              <a:cxn ang="0">
                <a:pos x="208" y="384"/>
              </a:cxn>
              <a:cxn ang="0">
                <a:pos x="224" y="384"/>
              </a:cxn>
              <a:cxn ang="0">
                <a:pos x="276" y="380"/>
              </a:cxn>
              <a:cxn ang="0">
                <a:pos x="318" y="370"/>
              </a:cxn>
              <a:cxn ang="0">
                <a:pos x="342" y="354"/>
              </a:cxn>
              <a:cxn ang="0">
                <a:pos x="352" y="336"/>
              </a:cxn>
              <a:cxn ang="0">
                <a:pos x="352" y="330"/>
              </a:cxn>
              <a:cxn ang="0">
                <a:pos x="350" y="326"/>
              </a:cxn>
              <a:cxn ang="0">
                <a:pos x="352" y="316"/>
              </a:cxn>
              <a:cxn ang="0">
                <a:pos x="356" y="312"/>
              </a:cxn>
              <a:cxn ang="0">
                <a:pos x="364" y="302"/>
              </a:cxn>
              <a:cxn ang="0">
                <a:pos x="368" y="288"/>
              </a:cxn>
              <a:cxn ang="0">
                <a:pos x="366" y="278"/>
              </a:cxn>
              <a:cxn ang="0">
                <a:pos x="362" y="270"/>
              </a:cxn>
              <a:cxn ang="0">
                <a:pos x="360" y="258"/>
              </a:cxn>
              <a:cxn ang="0">
                <a:pos x="364" y="248"/>
              </a:cxn>
              <a:cxn ang="0">
                <a:pos x="370" y="244"/>
              </a:cxn>
              <a:cxn ang="0">
                <a:pos x="376" y="230"/>
              </a:cxn>
              <a:cxn ang="0">
                <a:pos x="376" y="224"/>
              </a:cxn>
            </a:cxnLst>
            <a:rect l="0" t="0" r="r" b="b"/>
            <a:pathLst>
              <a:path w="384" h="384">
                <a:moveTo>
                  <a:pt x="0" y="384"/>
                </a:moveTo>
                <a:lnTo>
                  <a:pt x="64" y="384"/>
                </a:lnTo>
                <a:lnTo>
                  <a:pt x="64" y="176"/>
                </a:lnTo>
                <a:lnTo>
                  <a:pt x="0" y="176"/>
                </a:lnTo>
                <a:lnTo>
                  <a:pt x="0" y="384"/>
                </a:lnTo>
                <a:close/>
                <a:moveTo>
                  <a:pt x="376" y="224"/>
                </a:moveTo>
                <a:lnTo>
                  <a:pt x="376" y="224"/>
                </a:lnTo>
                <a:lnTo>
                  <a:pt x="374" y="214"/>
                </a:lnTo>
                <a:lnTo>
                  <a:pt x="370" y="206"/>
                </a:lnTo>
                <a:lnTo>
                  <a:pt x="370" y="206"/>
                </a:lnTo>
                <a:lnTo>
                  <a:pt x="368" y="200"/>
                </a:lnTo>
                <a:lnTo>
                  <a:pt x="368" y="194"/>
                </a:lnTo>
                <a:lnTo>
                  <a:pt x="370" y="188"/>
                </a:lnTo>
                <a:lnTo>
                  <a:pt x="372" y="184"/>
                </a:lnTo>
                <a:lnTo>
                  <a:pt x="372" y="184"/>
                </a:lnTo>
                <a:lnTo>
                  <a:pt x="378" y="180"/>
                </a:lnTo>
                <a:lnTo>
                  <a:pt x="382" y="174"/>
                </a:lnTo>
                <a:lnTo>
                  <a:pt x="384" y="166"/>
                </a:lnTo>
                <a:lnTo>
                  <a:pt x="384" y="160"/>
                </a:lnTo>
                <a:lnTo>
                  <a:pt x="384" y="160"/>
                </a:lnTo>
                <a:lnTo>
                  <a:pt x="384" y="154"/>
                </a:lnTo>
                <a:lnTo>
                  <a:pt x="382" y="148"/>
                </a:lnTo>
                <a:lnTo>
                  <a:pt x="374" y="138"/>
                </a:lnTo>
                <a:lnTo>
                  <a:pt x="364" y="130"/>
                </a:lnTo>
                <a:lnTo>
                  <a:pt x="358" y="128"/>
                </a:lnTo>
                <a:lnTo>
                  <a:pt x="352" y="128"/>
                </a:lnTo>
                <a:lnTo>
                  <a:pt x="272" y="128"/>
                </a:lnTo>
                <a:lnTo>
                  <a:pt x="272" y="128"/>
                </a:lnTo>
                <a:lnTo>
                  <a:pt x="280" y="108"/>
                </a:lnTo>
                <a:lnTo>
                  <a:pt x="286" y="88"/>
                </a:lnTo>
                <a:lnTo>
                  <a:pt x="288" y="76"/>
                </a:lnTo>
                <a:lnTo>
                  <a:pt x="288" y="64"/>
                </a:lnTo>
                <a:lnTo>
                  <a:pt x="288" y="64"/>
                </a:lnTo>
                <a:lnTo>
                  <a:pt x="286" y="44"/>
                </a:lnTo>
                <a:lnTo>
                  <a:pt x="284" y="34"/>
                </a:lnTo>
                <a:lnTo>
                  <a:pt x="280" y="24"/>
                </a:lnTo>
                <a:lnTo>
                  <a:pt x="274" y="14"/>
                </a:lnTo>
                <a:lnTo>
                  <a:pt x="268" y="6"/>
                </a:lnTo>
                <a:lnTo>
                  <a:pt x="258" y="2"/>
                </a:lnTo>
                <a:lnTo>
                  <a:pt x="248" y="0"/>
                </a:lnTo>
                <a:lnTo>
                  <a:pt x="248" y="0"/>
                </a:lnTo>
                <a:lnTo>
                  <a:pt x="238" y="2"/>
                </a:lnTo>
                <a:lnTo>
                  <a:pt x="232" y="4"/>
                </a:lnTo>
                <a:lnTo>
                  <a:pt x="228" y="10"/>
                </a:lnTo>
                <a:lnTo>
                  <a:pt x="226" y="16"/>
                </a:lnTo>
                <a:lnTo>
                  <a:pt x="226" y="16"/>
                </a:lnTo>
                <a:lnTo>
                  <a:pt x="224" y="40"/>
                </a:lnTo>
                <a:lnTo>
                  <a:pt x="220" y="62"/>
                </a:lnTo>
                <a:lnTo>
                  <a:pt x="214" y="78"/>
                </a:lnTo>
                <a:lnTo>
                  <a:pt x="208" y="92"/>
                </a:lnTo>
                <a:lnTo>
                  <a:pt x="202" y="100"/>
                </a:lnTo>
                <a:lnTo>
                  <a:pt x="198" y="108"/>
                </a:lnTo>
                <a:lnTo>
                  <a:pt x="192" y="112"/>
                </a:lnTo>
                <a:lnTo>
                  <a:pt x="80" y="192"/>
                </a:lnTo>
                <a:lnTo>
                  <a:pt x="80" y="352"/>
                </a:lnTo>
                <a:lnTo>
                  <a:pt x="80" y="352"/>
                </a:lnTo>
                <a:lnTo>
                  <a:pt x="92" y="358"/>
                </a:lnTo>
                <a:lnTo>
                  <a:pt x="120" y="368"/>
                </a:lnTo>
                <a:lnTo>
                  <a:pt x="140" y="374"/>
                </a:lnTo>
                <a:lnTo>
                  <a:pt x="162" y="380"/>
                </a:lnTo>
                <a:lnTo>
                  <a:pt x="184" y="382"/>
                </a:lnTo>
                <a:lnTo>
                  <a:pt x="208" y="384"/>
                </a:lnTo>
                <a:lnTo>
                  <a:pt x="224" y="384"/>
                </a:lnTo>
                <a:lnTo>
                  <a:pt x="224" y="384"/>
                </a:lnTo>
                <a:lnTo>
                  <a:pt x="252" y="384"/>
                </a:lnTo>
                <a:lnTo>
                  <a:pt x="276" y="380"/>
                </a:lnTo>
                <a:lnTo>
                  <a:pt x="298" y="376"/>
                </a:lnTo>
                <a:lnTo>
                  <a:pt x="318" y="370"/>
                </a:lnTo>
                <a:lnTo>
                  <a:pt x="332" y="362"/>
                </a:lnTo>
                <a:lnTo>
                  <a:pt x="342" y="354"/>
                </a:lnTo>
                <a:lnTo>
                  <a:pt x="350" y="346"/>
                </a:lnTo>
                <a:lnTo>
                  <a:pt x="352" y="336"/>
                </a:lnTo>
                <a:lnTo>
                  <a:pt x="352" y="336"/>
                </a:lnTo>
                <a:lnTo>
                  <a:pt x="352" y="330"/>
                </a:lnTo>
                <a:lnTo>
                  <a:pt x="352" y="330"/>
                </a:lnTo>
                <a:lnTo>
                  <a:pt x="350" y="326"/>
                </a:lnTo>
                <a:lnTo>
                  <a:pt x="352" y="320"/>
                </a:lnTo>
                <a:lnTo>
                  <a:pt x="352" y="316"/>
                </a:lnTo>
                <a:lnTo>
                  <a:pt x="356" y="312"/>
                </a:lnTo>
                <a:lnTo>
                  <a:pt x="356" y="312"/>
                </a:lnTo>
                <a:lnTo>
                  <a:pt x="362" y="308"/>
                </a:lnTo>
                <a:lnTo>
                  <a:pt x="364" y="302"/>
                </a:lnTo>
                <a:lnTo>
                  <a:pt x="368" y="296"/>
                </a:lnTo>
                <a:lnTo>
                  <a:pt x="368" y="288"/>
                </a:lnTo>
                <a:lnTo>
                  <a:pt x="368" y="288"/>
                </a:lnTo>
                <a:lnTo>
                  <a:pt x="366" y="278"/>
                </a:lnTo>
                <a:lnTo>
                  <a:pt x="362" y="270"/>
                </a:lnTo>
                <a:lnTo>
                  <a:pt x="362" y="270"/>
                </a:lnTo>
                <a:lnTo>
                  <a:pt x="360" y="264"/>
                </a:lnTo>
                <a:lnTo>
                  <a:pt x="360" y="258"/>
                </a:lnTo>
                <a:lnTo>
                  <a:pt x="362" y="252"/>
                </a:lnTo>
                <a:lnTo>
                  <a:pt x="364" y="248"/>
                </a:lnTo>
                <a:lnTo>
                  <a:pt x="364" y="248"/>
                </a:lnTo>
                <a:lnTo>
                  <a:pt x="370" y="244"/>
                </a:lnTo>
                <a:lnTo>
                  <a:pt x="374" y="238"/>
                </a:lnTo>
                <a:lnTo>
                  <a:pt x="376" y="230"/>
                </a:lnTo>
                <a:lnTo>
                  <a:pt x="376" y="224"/>
                </a:lnTo>
                <a:lnTo>
                  <a:pt x="376" y="224"/>
                </a:lnTo>
                <a:close/>
              </a:path>
            </a:pathLst>
          </a:custGeom>
          <a:solidFill>
            <a:srgbClr val="2D3494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/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646311" y="2030160"/>
            <a:ext cx="528212" cy="528212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643278" y="2016670"/>
            <a:ext cx="618751" cy="585000"/>
          </a:xfrm>
          <a:prstGeom prst="rect">
            <a:avLst/>
          </a:prstGeo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081972" y="2656749"/>
            <a:ext cx="874829" cy="859207"/>
          </a:xfrm>
          <a:prstGeom prst="rect">
            <a:avLst/>
          </a:prstGeom>
        </p:spPr>
      </p:pic>
      <p:pic>
        <p:nvPicPr>
          <p:cNvPr id="87" name="Рисунок 86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894439" y="4747117"/>
            <a:ext cx="618751" cy="618750"/>
          </a:xfrm>
          <a:prstGeom prst="rect">
            <a:avLst/>
          </a:prstGeom>
        </p:spPr>
      </p:pic>
      <p:pic>
        <p:nvPicPr>
          <p:cNvPr id="88" name="Рисунок 87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760585" y="4792155"/>
            <a:ext cx="618751" cy="585000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9132138" y="4754044"/>
            <a:ext cx="618751" cy="618750"/>
          </a:xfrm>
          <a:prstGeom prst="rect">
            <a:avLst/>
          </a:prstGeom>
        </p:spPr>
      </p:pic>
      <p:sp>
        <p:nvSpPr>
          <p:cNvPr id="91" name="Овал 90"/>
          <p:cNvSpPr/>
          <p:nvPr/>
        </p:nvSpPr>
        <p:spPr>
          <a:xfrm>
            <a:off x="3375379" y="3150088"/>
            <a:ext cx="1004711" cy="913912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2" name="Овал 91"/>
          <p:cNvSpPr/>
          <p:nvPr/>
        </p:nvSpPr>
        <p:spPr>
          <a:xfrm>
            <a:off x="6491111" y="1884625"/>
            <a:ext cx="953319" cy="858577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3" name="Овал 92"/>
          <p:cNvSpPr/>
          <p:nvPr/>
        </p:nvSpPr>
        <p:spPr>
          <a:xfrm>
            <a:off x="8771468" y="2359380"/>
            <a:ext cx="1467555" cy="1377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4" name="Овал 93"/>
          <p:cNvSpPr/>
          <p:nvPr/>
        </p:nvSpPr>
        <p:spPr>
          <a:xfrm>
            <a:off x="8951304" y="4576062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5" name="Овал 94"/>
          <p:cNvSpPr/>
          <p:nvPr/>
        </p:nvSpPr>
        <p:spPr>
          <a:xfrm>
            <a:off x="6615289" y="4651025"/>
            <a:ext cx="933891" cy="869953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96" name="Овал 95"/>
          <p:cNvSpPr/>
          <p:nvPr/>
        </p:nvSpPr>
        <p:spPr>
          <a:xfrm>
            <a:off x="3740796" y="4565310"/>
            <a:ext cx="978245" cy="97824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8856" y="1105622"/>
            <a:ext cx="1175961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Активируйте </a:t>
            </a:r>
            <a:r>
              <a:rPr lang="ru-RU" dirty="0" err="1" smtClean="0"/>
              <a:t>промо-коды</a:t>
            </a:r>
            <a:r>
              <a:rPr lang="ru-RU" dirty="0" smtClean="0"/>
              <a:t> на сайте</a:t>
            </a:r>
            <a:r>
              <a:rPr lang="ru-RU" dirty="0" smtClean="0">
                <a:solidFill>
                  <a:srgbClr val="2D3494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r>
              <a:rPr lang="en-US" sz="2000" b="1" dirty="0" smtClean="0">
                <a:solidFill>
                  <a:srgbClr val="FF0000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lecta.rosuchebnik.ru</a:t>
            </a:r>
            <a:r>
              <a:rPr lang="ru-RU" sz="2000" b="1" dirty="0">
                <a:solidFill>
                  <a:srgbClr val="FF0000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 </a:t>
            </a:r>
            <a:r>
              <a:rPr lang="ru-RU" dirty="0" smtClean="0"/>
              <a:t>и получите </a:t>
            </a:r>
            <a:r>
              <a:rPr lang="ru-RU" b="1" dirty="0">
                <a:solidFill>
                  <a:srgbClr val="2D3494"/>
                </a:solidFill>
              </a:rPr>
              <a:t>БЕСПЛАТНЫЙ</a:t>
            </a:r>
            <a:r>
              <a:rPr lang="ru-RU" dirty="0"/>
              <a:t> </a:t>
            </a:r>
            <a:r>
              <a:rPr lang="ru-RU" dirty="0" smtClean="0"/>
              <a:t>доступ к </a:t>
            </a:r>
            <a:r>
              <a:rPr lang="ru-RU" dirty="0"/>
              <a:t>электронным учебникам и уникальным сервисам на </a:t>
            </a:r>
            <a:r>
              <a:rPr lang="ru-RU" dirty="0" smtClean="0"/>
              <a:t>сайте </a:t>
            </a:r>
            <a:r>
              <a:rPr lang="en-US" dirty="0"/>
              <a:t>L</a:t>
            </a:r>
            <a:r>
              <a:rPr lang="ru-RU" dirty="0"/>
              <a:t>ЕСТА</a:t>
            </a:r>
            <a:r>
              <a:rPr lang="ru-RU" dirty="0" smtClean="0"/>
              <a:t>:</a:t>
            </a:r>
            <a:endParaRPr lang="ru-RU" sz="1600" dirty="0"/>
          </a:p>
        </p:txBody>
      </p:sp>
      <p:sp>
        <p:nvSpPr>
          <p:cNvPr id="27" name="Овал 26"/>
          <p:cNvSpPr/>
          <p:nvPr/>
        </p:nvSpPr>
        <p:spPr>
          <a:xfrm>
            <a:off x="3488269" y="1873956"/>
            <a:ext cx="897753" cy="860200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16907" y="2145212"/>
            <a:ext cx="2110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 smtClean="0"/>
              <a:t>промо-код</a:t>
            </a:r>
            <a:r>
              <a:rPr lang="ru-RU" dirty="0" smtClean="0"/>
              <a:t> </a:t>
            </a:r>
            <a:r>
              <a:rPr lang="ru-RU" sz="2000" b="1" dirty="0" smtClean="0">
                <a:solidFill>
                  <a:srgbClr val="FF0000"/>
                </a:solidFill>
              </a:rPr>
              <a:t>5books</a:t>
            </a:r>
            <a:r>
              <a:rPr lang="ru-RU" sz="1600" b="1" dirty="0" smtClean="0">
                <a:solidFill>
                  <a:srgbClr val="2D3494"/>
                </a:solidFill>
              </a:rPr>
              <a:t> </a:t>
            </a:r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508000" y="3262489"/>
            <a:ext cx="240453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 smtClean="0"/>
              <a:t>промо-код</a:t>
            </a:r>
            <a:r>
              <a:rPr lang="ru-RU" dirty="0" smtClean="0"/>
              <a:t> </a:t>
            </a:r>
            <a:r>
              <a:rPr lang="en-US" sz="2000" b="1" dirty="0" smtClean="0">
                <a:solidFill>
                  <a:srgbClr val="FF0000"/>
                </a:solidFill>
              </a:rPr>
              <a:t>UMK2019</a:t>
            </a:r>
            <a:r>
              <a:rPr lang="ru-RU" sz="1600" b="1" dirty="0" smtClean="0">
                <a:solidFill>
                  <a:srgbClr val="2D3494"/>
                </a:solidFill>
              </a:rPr>
              <a:t> </a:t>
            </a:r>
            <a:endParaRPr lang="ru-RU" dirty="0"/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470705" y="3352799"/>
            <a:ext cx="435252" cy="520728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826932" y="3373540"/>
            <a:ext cx="499989" cy="499989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3160889" y="4018846"/>
            <a:ext cx="163003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10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учебников</a:t>
            </a:r>
          </a:p>
        </p:txBody>
      </p:sp>
      <p:sp>
        <p:nvSpPr>
          <p:cNvPr id="38" name="Овал 37"/>
          <p:cNvSpPr/>
          <p:nvPr/>
        </p:nvSpPr>
        <p:spPr>
          <a:xfrm>
            <a:off x="6502400" y="3138313"/>
            <a:ext cx="936979" cy="880533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648923" y="3252804"/>
            <a:ext cx="618751" cy="585000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6172172" y="3964477"/>
            <a:ext cx="170772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1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 месяц</a:t>
            </a:r>
            <a:endParaRPr lang="ru-RU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098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/>
          <p:cNvPicPr>
            <a:picLocks noChangeAspect="1" noChangeArrowheads="1"/>
          </p:cNvPicPr>
          <p:nvPr/>
        </p:nvPicPr>
        <p:blipFill rotWithShape="1">
          <a:blip r:embed="rId5" cstate="print"/>
          <a:srcRect l="34648" r="16145"/>
          <a:stretch/>
        </p:blipFill>
        <p:spPr bwMode="auto">
          <a:xfrm>
            <a:off x="6132477" y="1"/>
            <a:ext cx="6050288" cy="686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Равнобедренный треугольник 16"/>
          <p:cNvSpPr/>
          <p:nvPr/>
        </p:nvSpPr>
        <p:spPr>
          <a:xfrm>
            <a:off x="5498956" y="0"/>
            <a:ext cx="2031847" cy="6862888"/>
          </a:xfrm>
          <a:prstGeom prst="triangle">
            <a:avLst>
              <a:gd name="adj" fmla="val 313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459203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2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05247" y="2057235"/>
            <a:ext cx="596559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Материалы и лекции от известных авторов учебно-методических комплектов</a:t>
            </a: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В настоящее время реализуется 56 образовательных программ. Учебные материалы открыты для свободного доступа. С ними ознакомились более 50 000 учителей.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Полный курс обучения с 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помощью современных образовательных </a:t>
            </a: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и информационных технологий прошли свыше 7 000 педагогов.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  <a:p>
            <a:pPr marL="285750" indent="-285750"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Налажено сетевое 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взаимодействие с ИРО и ИПК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97030" y="1391643"/>
            <a:ext cx="59738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К</a:t>
            </a:r>
            <a:r>
              <a:rPr lang="ru-RU" b="1" dirty="0" smtClean="0"/>
              <a:t>урсы </a:t>
            </a:r>
            <a:r>
              <a:rPr lang="ru-RU" b="1" dirty="0"/>
              <a:t>повышения квалификации для педагогов</a:t>
            </a:r>
          </a:p>
        </p:txBody>
      </p:sp>
      <p:grpSp>
        <p:nvGrpSpPr>
          <p:cNvPr id="4" name="Группа 8"/>
          <p:cNvGrpSpPr/>
          <p:nvPr/>
        </p:nvGrpSpPr>
        <p:grpSpPr>
          <a:xfrm>
            <a:off x="310235" y="5604660"/>
            <a:ext cx="7288722" cy="751692"/>
            <a:chOff x="617880" y="5160192"/>
            <a:chExt cx="7288722" cy="751692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617880" y="5160192"/>
              <a:ext cx="667950" cy="715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147993" y="5162971"/>
              <a:ext cx="546504" cy="748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021804" y="5254650"/>
              <a:ext cx="620721" cy="620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3" name="Прямоугольник 12"/>
            <p:cNvSpPr/>
            <p:nvPr/>
          </p:nvSpPr>
          <p:spPr>
            <a:xfrm>
              <a:off x="1358856" y="5291163"/>
              <a:ext cx="216214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/>
                <a:t>в любое время,</a:t>
              </a:r>
            </a:p>
            <a:p>
              <a:r>
                <a:rPr lang="ru-RU" sz="1200" dirty="0"/>
                <a:t>в любом месте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3796162" y="5291163"/>
              <a:ext cx="216214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/>
                <a:t>удостоверение</a:t>
              </a:r>
            </a:p>
            <a:p>
              <a:r>
                <a:rPr lang="ru-RU" sz="1200" dirty="0"/>
                <a:t>установленного образца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6761174" y="5458055"/>
              <a:ext cx="11454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/>
                <a:t>лицензия</a:t>
              </a: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ЕНТР ДОПОЛНИТЕЛЬНОГО ОБРАЗОВАНИЯ </a:t>
            </a:r>
            <a:br>
              <a:rPr lang="ru-RU" dirty="0"/>
            </a:br>
            <a:r>
              <a:rPr lang="ru-RU" dirty="0"/>
              <a:t>КОРПОРАЦИИ </a:t>
            </a:r>
            <a:r>
              <a:rPr lang="ru-RU" dirty="0">
                <a:solidFill>
                  <a:srgbClr val="EB2049"/>
                </a:solidFill>
              </a:rPr>
              <a:t>«РОССИЙСКИЙ УЧЕБНИК»</a:t>
            </a:r>
          </a:p>
        </p:txBody>
      </p:sp>
    </p:spTree>
    <p:extLst>
      <p:ext uri="{BB962C8B-B14F-4D97-AF65-F5344CB8AC3E}">
        <p14:creationId xmlns:p14="http://schemas.microsoft.com/office/powerpoint/2010/main" val="2592678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086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423361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2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Заголовок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ИТРИНА КУРСОВ ЦДО </a:t>
            </a:r>
            <a:r>
              <a:rPr lang="ru-RU" dirty="0" smtClean="0">
                <a:solidFill>
                  <a:srgbClr val="EB2049"/>
                </a:solidFill>
              </a:rPr>
              <a:t>«РОССИЙСКИЙ УЧЕБНИК»</a:t>
            </a:r>
            <a:r>
              <a:rPr lang="ru-RU" dirty="0" smtClean="0"/>
              <a:t> НА ОФИЦИАЛЬНОМ САЙТЕ КОРПОРАЦИИ</a:t>
            </a:r>
            <a:endParaRPr lang="ru-RU" dirty="0">
              <a:solidFill>
                <a:srgbClr val="EB2049"/>
              </a:solidFill>
            </a:endParaRPr>
          </a:p>
        </p:txBody>
      </p:sp>
      <p:grpSp>
        <p:nvGrpSpPr>
          <p:cNvPr id="2" name="Группа 7"/>
          <p:cNvGrpSpPr/>
          <p:nvPr/>
        </p:nvGrpSpPr>
        <p:grpSpPr>
          <a:xfrm>
            <a:off x="407321" y="1178772"/>
            <a:ext cx="8683328" cy="399250"/>
            <a:chOff x="1765095" y="1327859"/>
            <a:chExt cx="8683328" cy="399250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5095" y="1337798"/>
              <a:ext cx="8683328" cy="389311"/>
            </a:xfrm>
            <a:prstGeom prst="rect">
              <a:avLst/>
            </a:prstGeom>
          </p:spPr>
        </p:pic>
        <p:sp>
          <p:nvSpPr>
            <p:cNvPr id="9" name="Прямоугольник 8"/>
            <p:cNvSpPr/>
            <p:nvPr/>
          </p:nvSpPr>
          <p:spPr>
            <a:xfrm>
              <a:off x="2699605" y="1327859"/>
              <a:ext cx="289607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dirty="0" smtClean="0"/>
                <a:t>rosuchebnik.ru</a:t>
              </a:r>
              <a:endParaRPr lang="ru-RU" dirty="0"/>
            </a:p>
          </p:txBody>
        </p:sp>
      </p:grpSp>
      <p:pic>
        <p:nvPicPr>
          <p:cNvPr id="420915" name="Picture 51" descr="C:\Users\Chugunova.SL\Desktop\Снимок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733536" y="1771135"/>
            <a:ext cx="5898292" cy="3904735"/>
          </a:xfrm>
          <a:prstGeom prst="rect">
            <a:avLst/>
          </a:prstGeom>
          <a:noFill/>
        </p:spPr>
      </p:pic>
      <p:pic>
        <p:nvPicPr>
          <p:cNvPr id="420916" name="Picture 52" descr="C:\Users\Chugunova.SL\Desktop\Безымянный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30659" y="1746423"/>
            <a:ext cx="5618206" cy="418482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Номер слайда 6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A14BD8F-F77A-4CBB-BE06-C4B88929D050}" type="slidenum">
              <a:rPr lang="en-GB" altLang="ru-RU"/>
              <a:pPr/>
              <a:t>5</a:t>
            </a:fld>
            <a:endParaRPr lang="en-GB" altLang="ru-RU"/>
          </a:p>
        </p:txBody>
      </p:sp>
      <p:sp>
        <p:nvSpPr>
          <p:cNvPr id="18435" name="AutoShape 7" descr="https://mail.drofa.ru/WorldClient.dll?Session=PSRKC0FV1PY4Z&amp;View=Attachment&amp;Number=1493&amp;FolderID=0&amp;Part=2&amp;Filename=cover1.jpg&amp;OpenAttachment=1"/>
          <p:cNvSpPr>
            <a:spLocks noChangeAspect="1" noChangeArrowheads="1"/>
          </p:cNvSpPr>
          <p:nvPr/>
        </p:nvSpPr>
        <p:spPr bwMode="auto">
          <a:xfrm>
            <a:off x="84667" y="-136525"/>
            <a:ext cx="9105900" cy="887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8436" name="AutoShape 9" descr="https://mail.drofa.ru/WorldClient.dll?Session=PSRKC0FV1PY4Z&amp;View=Attachment&amp;Number=1493&amp;FolderID=0&amp;Part=2&amp;Filename=cover1.jpg&amp;OpenAttachment=1"/>
          <p:cNvSpPr>
            <a:spLocks noChangeAspect="1" noChangeArrowheads="1"/>
          </p:cNvSpPr>
          <p:nvPr/>
        </p:nvSpPr>
        <p:spPr bwMode="auto">
          <a:xfrm>
            <a:off x="527382" y="404664"/>
            <a:ext cx="9105900" cy="887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384267" y="201614"/>
            <a:ext cx="971556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400" b="1" dirty="0" smtClean="0">
                <a:solidFill>
                  <a:srgbClr val="2F3696"/>
                </a:solidFill>
                <a:latin typeface="Times New Roman" pitchFamily="18" charset="0"/>
                <a:cs typeface="Times New Roman" pitchFamily="18" charset="0"/>
              </a:rPr>
              <a:t>Технология. 10-11 классы. Базовый уровен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Авторы: В.Д.Симоненко, </a:t>
            </a:r>
            <a:r>
              <a:rPr lang="ru-RU" b="1" kern="0" dirty="0" err="1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Очинин</a:t>
            </a:r>
            <a:r>
              <a:rPr lang="ru-RU" b="1" kern="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П.С., </a:t>
            </a:r>
            <a:r>
              <a:rPr lang="ru-RU" b="1" kern="0" dirty="0" err="1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Матяш</a:t>
            </a:r>
            <a:r>
              <a:rPr lang="ru-RU" b="1" kern="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Н.В., Виноградов Д.В</a:t>
            </a:r>
            <a:r>
              <a:rPr lang="ru-RU" b="1" i="1" kern="0" dirty="0" smtClean="0">
                <a:solidFill>
                  <a:srgbClr val="0070C0"/>
                </a:solidFill>
              </a:rPr>
              <a:t>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4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439" name="Прямоугольник 1"/>
          <p:cNvSpPr>
            <a:spLocks noChangeArrowheads="1"/>
          </p:cNvSpPr>
          <p:nvPr/>
        </p:nvSpPr>
        <p:spPr bwMode="auto">
          <a:xfrm>
            <a:off x="190459" y="1714488"/>
            <a:ext cx="11811083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400" dirty="0" smtClean="0"/>
          </a:p>
          <a:p>
            <a:endParaRPr lang="ru-RU" sz="1400" dirty="0" smtClean="0"/>
          </a:p>
          <a:p>
            <a:pPr lvl="0"/>
            <a:endParaRPr lang="ru-RU" sz="1600" dirty="0" smtClean="0"/>
          </a:p>
          <a:p>
            <a:pPr algn="just"/>
            <a:endParaRPr lang="ru-RU" sz="1600" dirty="0">
              <a:solidFill>
                <a:srgbClr val="221E1F"/>
              </a:solidFill>
              <a:latin typeface="+mj-lt"/>
            </a:endParaRPr>
          </a:p>
          <a:p>
            <a:pPr algn="just"/>
            <a:endParaRPr lang="ru-RU" dirty="0">
              <a:latin typeface="+mj-lt"/>
            </a:endParaRPr>
          </a:p>
        </p:txBody>
      </p:sp>
      <p:pic>
        <p:nvPicPr>
          <p:cNvPr id="9" name="Picture 54" descr="3076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6242051" y="1350679"/>
            <a:ext cx="2667019" cy="3312941"/>
          </a:xfrm>
          <a:noFill/>
          <a:ln>
            <a:solidFill>
              <a:srgbClr val="0070C0"/>
            </a:solidFill>
          </a:ln>
        </p:spPr>
      </p:pic>
      <p:pic>
        <p:nvPicPr>
          <p:cNvPr id="12" name="Picture 5" descr="1669_10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048771" y="1350679"/>
            <a:ext cx="2762269" cy="3312941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sp>
        <p:nvSpPr>
          <p:cNvPr id="13" name="Содержимое 7"/>
          <p:cNvSpPr>
            <a:spLocks noGrp="1"/>
          </p:cNvSpPr>
          <p:nvPr>
            <p:ph sz="half" idx="1"/>
          </p:nvPr>
        </p:nvSpPr>
        <p:spPr>
          <a:xfrm>
            <a:off x="285709" y="1435476"/>
            <a:ext cx="5581691" cy="3407838"/>
          </a:xfrm>
        </p:spPr>
        <p:txBody>
          <a:bodyPr wrap="square" rtlCol="0">
            <a:spAutoFit/>
          </a:bodyPr>
          <a:lstStyle/>
          <a:p>
            <a:pPr marL="265176" indent="-265176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В комплект входят:</a:t>
            </a:r>
          </a:p>
          <a:p>
            <a:pPr marL="265176" indent="-265176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учебник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  <a:p>
            <a:pPr marL="265176" indent="-265176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рограмма с приложением на </a:t>
            </a:r>
            <a:r>
              <a:rPr lang="en-US" sz="2400" b="1" dirty="0">
                <a:latin typeface="Times New Roman" pitchFamily="18" charset="0"/>
                <a:cs typeface="Times New Roman" pitchFamily="18" charset="0"/>
              </a:rPr>
              <a:t>CD</a:t>
            </a: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265176" indent="-265176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методические </a:t>
            </a: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рекомендации</a:t>
            </a:r>
          </a:p>
          <a:p>
            <a:pPr marL="265176" indent="-265176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ЭФУ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  <a:p>
            <a:pPr marL="265176" indent="-26517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265176" indent="-265176"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rgbClr val="2F3696"/>
              </a:solidFill>
            </a:endParaRPr>
          </a:p>
          <a:p>
            <a:pPr marL="265176" indent="-265176"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 smtClean="0">
              <a:solidFill>
                <a:srgbClr val="2F3696"/>
              </a:solidFill>
            </a:endParaRPr>
          </a:p>
          <a:p>
            <a:pPr marL="265176" indent="-265176"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 smtClean="0">
                <a:solidFill>
                  <a:srgbClr val="C00000"/>
                </a:solidFill>
              </a:rPr>
              <a:t>ФП № 2.3.1.1.8.1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85709" y="5072075"/>
            <a:ext cx="115253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Методическое пособие:    </a:t>
            </a:r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https://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rosuchebnik.ru/metodicheskaja-pomosch/materialy/umk-liniya-umk-simonenkotehnologiya-10-11-b_predmet-tehnologiya_type-metodicheskoe-posobie/</a:t>
            </a:r>
          </a:p>
          <a:p>
            <a:endParaRPr lang="en-US" sz="14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ограмма:     </a:t>
            </a:r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https: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//rosuchebnik.ru/kompleks/umk-liniya-umk-simonenko-tehnologiya-10-11-b/#actlink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6714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086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423361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2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3"/>
          <a:stretch/>
        </p:blipFill>
        <p:spPr>
          <a:xfrm>
            <a:off x="6249752" y="2136913"/>
            <a:ext cx="5472705" cy="342075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Заголовок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ЕНТР ДОПОЛНИТЕЛЬНОГО ОБРАЗОВАНИЯ НА ОБРАЗОВАТЕЛЬНОЙ ПЛАТФОРМЕ </a:t>
            </a:r>
            <a:r>
              <a:rPr lang="ru-RU" dirty="0">
                <a:solidFill>
                  <a:srgbClr val="EB2049"/>
                </a:solidFill>
              </a:rPr>
              <a:t>LECTA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8"/>
          <a:stretch/>
        </p:blipFill>
        <p:spPr>
          <a:xfrm>
            <a:off x="407321" y="2136913"/>
            <a:ext cx="5520536" cy="345152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" name="Группа 7"/>
          <p:cNvGrpSpPr/>
          <p:nvPr/>
        </p:nvGrpSpPr>
        <p:grpSpPr>
          <a:xfrm>
            <a:off x="407321" y="1178772"/>
            <a:ext cx="8683328" cy="399250"/>
            <a:chOff x="1765095" y="1327859"/>
            <a:chExt cx="8683328" cy="399250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5095" y="1337798"/>
              <a:ext cx="8683328" cy="389311"/>
            </a:xfrm>
            <a:prstGeom prst="rect">
              <a:avLst/>
            </a:prstGeom>
          </p:spPr>
        </p:pic>
        <p:sp>
          <p:nvSpPr>
            <p:cNvPr id="9" name="Прямоугольник 8"/>
            <p:cNvSpPr/>
            <p:nvPr/>
          </p:nvSpPr>
          <p:spPr>
            <a:xfrm>
              <a:off x="2699605" y="1327859"/>
              <a:ext cx="289607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dirty="0" smtClean="0"/>
                <a:t>lecta.rosuchebnik.ru</a:t>
              </a:r>
              <a:endParaRPr lang="ru-RU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7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2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1" y="3299040"/>
            <a:ext cx="12191999" cy="1610316"/>
          </a:xfrm>
          <a:prstGeom prst="rect">
            <a:avLst/>
          </a:prstGeom>
          <a:solidFill>
            <a:srgbClr val="005CAB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5" name="Заголовок 5"/>
          <p:cNvSpPr txBox="1">
            <a:spLocks/>
          </p:cNvSpPr>
          <p:nvPr/>
        </p:nvSpPr>
        <p:spPr>
          <a:xfrm>
            <a:off x="334433" y="100389"/>
            <a:ext cx="11519999" cy="6486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ГРАММА ЛОЯЛЬНОСТИ ДЛЯ УЧИТЕЛЕЙ</a:t>
            </a:r>
            <a:endParaRPr lang="ru-RU" sz="3200" b="1" dirty="0">
              <a:solidFill>
                <a:srgbClr val="005CA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Текст 1"/>
          <p:cNvSpPr txBox="1">
            <a:spLocks/>
          </p:cNvSpPr>
          <p:nvPr/>
        </p:nvSpPr>
        <p:spPr>
          <a:xfrm>
            <a:off x="423983" y="3416980"/>
            <a:ext cx="5507421" cy="47707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СОЕДИНЯЙТЕСЬ!</a:t>
            </a:r>
            <a:endParaRPr lang="en-US" sz="2400" b="1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1854" y="1738900"/>
            <a:ext cx="6652644" cy="3954419"/>
          </a:xfrm>
          <a:prstGeom prst="rect">
            <a:avLst/>
          </a:prstGeom>
        </p:spPr>
      </p:pic>
      <p:sp>
        <p:nvSpPr>
          <p:cNvPr id="8" name="Полилиния 7"/>
          <p:cNvSpPr/>
          <p:nvPr/>
        </p:nvSpPr>
        <p:spPr>
          <a:xfrm flipV="1">
            <a:off x="9248626" y="178454"/>
            <a:ext cx="2943373" cy="607096"/>
          </a:xfrm>
          <a:custGeom>
            <a:avLst/>
            <a:gdLst>
              <a:gd name="connsiteX0" fmla="*/ 0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0 w 2286016"/>
              <a:gd name="connsiteY4" fmla="*/ 0 h 785818"/>
              <a:gd name="connsiteX0" fmla="*/ 309522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309522 w 2286016"/>
              <a:gd name="connsiteY4" fmla="*/ 0 h 785818"/>
              <a:gd name="connsiteX0" fmla="*/ 195194 w 2286016"/>
              <a:gd name="connsiteY0" fmla="*/ 0 h 785842"/>
              <a:gd name="connsiteX1" fmla="*/ 2286016 w 2286016"/>
              <a:gd name="connsiteY1" fmla="*/ 24 h 785842"/>
              <a:gd name="connsiteX2" fmla="*/ 2286016 w 2286016"/>
              <a:gd name="connsiteY2" fmla="*/ 785842 h 785842"/>
              <a:gd name="connsiteX3" fmla="*/ 0 w 2286016"/>
              <a:gd name="connsiteY3" fmla="*/ 785842 h 785842"/>
              <a:gd name="connsiteX4" fmla="*/ 195194 w 2286016"/>
              <a:gd name="connsiteY4" fmla="*/ 0 h 785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6016" h="785842">
                <a:moveTo>
                  <a:pt x="195194" y="0"/>
                </a:moveTo>
                <a:lnTo>
                  <a:pt x="2286016" y="24"/>
                </a:lnTo>
                <a:lnTo>
                  <a:pt x="2286016" y="785842"/>
                </a:lnTo>
                <a:lnTo>
                  <a:pt x="0" y="785842"/>
                </a:lnTo>
                <a:lnTo>
                  <a:pt x="195194" y="0"/>
                </a:lnTo>
                <a:close/>
              </a:path>
            </a:pathLst>
          </a:custGeom>
          <a:solidFill>
            <a:srgbClr val="EB2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олилиния 8"/>
          <p:cNvSpPr/>
          <p:nvPr/>
        </p:nvSpPr>
        <p:spPr>
          <a:xfrm flipV="1">
            <a:off x="8696739" y="0"/>
            <a:ext cx="3495260" cy="717455"/>
          </a:xfrm>
          <a:custGeom>
            <a:avLst/>
            <a:gdLst>
              <a:gd name="connsiteX0" fmla="*/ 0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0 w 4024298"/>
              <a:gd name="connsiteY4" fmla="*/ 0 h 1071570"/>
              <a:gd name="connsiteX0" fmla="*/ 45239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452398 w 4024298"/>
              <a:gd name="connsiteY4" fmla="*/ 0 h 1071570"/>
              <a:gd name="connsiteX0" fmla="*/ 83335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833358 w 4024298"/>
              <a:gd name="connsiteY4" fmla="*/ 0 h 1071570"/>
              <a:gd name="connsiteX0" fmla="*/ 380960 w 3571900"/>
              <a:gd name="connsiteY0" fmla="*/ 0 h 1071570"/>
              <a:gd name="connsiteX1" fmla="*/ 3571900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571900"/>
              <a:gd name="connsiteY0" fmla="*/ 0 h 1071570"/>
              <a:gd name="connsiteX1" fmla="*/ 3024166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024166"/>
              <a:gd name="connsiteY0" fmla="*/ 0 h 1071570"/>
              <a:gd name="connsiteX1" fmla="*/ 3024166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3024166"/>
              <a:gd name="connsiteY0" fmla="*/ 0 h 1071570"/>
              <a:gd name="connsiteX1" fmla="*/ 2905060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2905060"/>
              <a:gd name="connsiteY0" fmla="*/ 0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380960 w 2905060"/>
              <a:gd name="connsiteY4" fmla="*/ 0 h 1071570"/>
              <a:gd name="connsiteX0" fmla="*/ 258613 w 2905060"/>
              <a:gd name="connsiteY0" fmla="*/ 28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258613 w 2905060"/>
              <a:gd name="connsiteY4" fmla="*/ 28 h 107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5060" h="1071570">
                <a:moveTo>
                  <a:pt x="258613" y="28"/>
                </a:moveTo>
                <a:lnTo>
                  <a:pt x="2905060" y="0"/>
                </a:lnTo>
                <a:lnTo>
                  <a:pt x="2905060" y="1071570"/>
                </a:lnTo>
                <a:lnTo>
                  <a:pt x="0" y="1071570"/>
                </a:lnTo>
                <a:lnTo>
                  <a:pt x="258613" y="28"/>
                </a:lnTo>
                <a:close/>
              </a:path>
            </a:pathLst>
          </a:cu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9248626" y="143961"/>
            <a:ext cx="2612703" cy="400110"/>
          </a:xfrm>
          <a:prstGeom prst="rect">
            <a:avLst/>
          </a:prstGeom>
          <a:ln w="19050">
            <a:noFill/>
            <a:prstDash val="lgDash"/>
          </a:ln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rosuchebnik.ru/loyalty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1" name="Текст 1"/>
          <p:cNvSpPr txBox="1">
            <a:spLocks/>
          </p:cNvSpPr>
          <p:nvPr/>
        </p:nvSpPr>
        <p:spPr>
          <a:xfrm>
            <a:off x="143046" y="1053689"/>
            <a:ext cx="6481038" cy="1508758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20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стема накопления баллов, которая позволяет получать бонусы и подарки, участвуя в мероприятиях и активностях от корпорации «Российский учебник» и </a:t>
            </a:r>
            <a:r>
              <a:rPr lang="en-US" sz="20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CTA</a:t>
            </a:r>
          </a:p>
        </p:txBody>
      </p:sp>
      <p:sp>
        <p:nvSpPr>
          <p:cNvPr id="12" name="Текст 1"/>
          <p:cNvSpPr txBox="1">
            <a:spLocks/>
          </p:cNvSpPr>
          <p:nvPr/>
        </p:nvSpPr>
        <p:spPr>
          <a:xfrm>
            <a:off x="423983" y="3865599"/>
            <a:ext cx="5507421" cy="959338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ru-RU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</a:t>
            </a:r>
            <a:r>
              <a:rPr 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апливайте баллы </a:t>
            </a:r>
          </a:p>
          <a:p>
            <a:pPr>
              <a:spcBef>
                <a:spcPts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обменивайте их на скидки и подарки</a:t>
            </a:r>
            <a:endParaRPr lang="en-US" sz="2400" b="1" dirty="0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198669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7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2"/>
          <p:cNvSpPr txBox="1">
            <a:spLocks/>
          </p:cNvSpPr>
          <p:nvPr/>
        </p:nvSpPr>
        <p:spPr>
          <a:xfrm>
            <a:off x="334433" y="100389"/>
            <a:ext cx="11519999" cy="6486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К ПРИНЯТЬ УЧАСТИЕ В ПРОГРАММЕ?</a:t>
            </a:r>
            <a:endParaRPr lang="ru-RU" sz="3200" b="1" dirty="0">
              <a:solidFill>
                <a:srgbClr val="005CA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56413" y="5172247"/>
            <a:ext cx="58164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4400" b="1" dirty="0" smtClean="0">
                <a:solidFill>
                  <a:srgbClr val="E6274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 </a:t>
            </a:r>
            <a:endParaRPr lang="ru-RU" sz="2800" b="1" dirty="0" smtClean="0">
              <a:solidFill>
                <a:srgbClr val="E6274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651650" y="5721518"/>
            <a:ext cx="72576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 smtClean="0">
                <a:solidFill>
                  <a:srgbClr val="E6274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ллов</a:t>
            </a:r>
            <a:endParaRPr lang="ru-RU" sz="1050" b="1" dirty="0" smtClean="0">
              <a:solidFill>
                <a:srgbClr val="E6274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Полилиния 15"/>
          <p:cNvSpPr/>
          <p:nvPr/>
        </p:nvSpPr>
        <p:spPr>
          <a:xfrm flipV="1">
            <a:off x="9248626" y="178454"/>
            <a:ext cx="2943373" cy="607096"/>
          </a:xfrm>
          <a:custGeom>
            <a:avLst/>
            <a:gdLst>
              <a:gd name="connsiteX0" fmla="*/ 0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0 w 2286016"/>
              <a:gd name="connsiteY4" fmla="*/ 0 h 785818"/>
              <a:gd name="connsiteX0" fmla="*/ 309522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309522 w 2286016"/>
              <a:gd name="connsiteY4" fmla="*/ 0 h 785818"/>
              <a:gd name="connsiteX0" fmla="*/ 195194 w 2286016"/>
              <a:gd name="connsiteY0" fmla="*/ 0 h 785842"/>
              <a:gd name="connsiteX1" fmla="*/ 2286016 w 2286016"/>
              <a:gd name="connsiteY1" fmla="*/ 24 h 785842"/>
              <a:gd name="connsiteX2" fmla="*/ 2286016 w 2286016"/>
              <a:gd name="connsiteY2" fmla="*/ 785842 h 785842"/>
              <a:gd name="connsiteX3" fmla="*/ 0 w 2286016"/>
              <a:gd name="connsiteY3" fmla="*/ 785842 h 785842"/>
              <a:gd name="connsiteX4" fmla="*/ 195194 w 2286016"/>
              <a:gd name="connsiteY4" fmla="*/ 0 h 785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6016" h="785842">
                <a:moveTo>
                  <a:pt x="195194" y="0"/>
                </a:moveTo>
                <a:lnTo>
                  <a:pt x="2286016" y="24"/>
                </a:lnTo>
                <a:lnTo>
                  <a:pt x="2286016" y="785842"/>
                </a:lnTo>
                <a:lnTo>
                  <a:pt x="0" y="785842"/>
                </a:lnTo>
                <a:lnTo>
                  <a:pt x="195194" y="0"/>
                </a:lnTo>
                <a:close/>
              </a:path>
            </a:pathLst>
          </a:custGeom>
          <a:solidFill>
            <a:srgbClr val="EB2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Полилиния 16"/>
          <p:cNvSpPr/>
          <p:nvPr/>
        </p:nvSpPr>
        <p:spPr>
          <a:xfrm flipV="1">
            <a:off x="8696739" y="0"/>
            <a:ext cx="3495260" cy="717455"/>
          </a:xfrm>
          <a:custGeom>
            <a:avLst/>
            <a:gdLst>
              <a:gd name="connsiteX0" fmla="*/ 0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0 w 4024298"/>
              <a:gd name="connsiteY4" fmla="*/ 0 h 1071570"/>
              <a:gd name="connsiteX0" fmla="*/ 45239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452398 w 4024298"/>
              <a:gd name="connsiteY4" fmla="*/ 0 h 1071570"/>
              <a:gd name="connsiteX0" fmla="*/ 83335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833358 w 4024298"/>
              <a:gd name="connsiteY4" fmla="*/ 0 h 1071570"/>
              <a:gd name="connsiteX0" fmla="*/ 380960 w 3571900"/>
              <a:gd name="connsiteY0" fmla="*/ 0 h 1071570"/>
              <a:gd name="connsiteX1" fmla="*/ 3571900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571900"/>
              <a:gd name="connsiteY0" fmla="*/ 0 h 1071570"/>
              <a:gd name="connsiteX1" fmla="*/ 3024166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024166"/>
              <a:gd name="connsiteY0" fmla="*/ 0 h 1071570"/>
              <a:gd name="connsiteX1" fmla="*/ 3024166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3024166"/>
              <a:gd name="connsiteY0" fmla="*/ 0 h 1071570"/>
              <a:gd name="connsiteX1" fmla="*/ 2905060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2905060"/>
              <a:gd name="connsiteY0" fmla="*/ 0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380960 w 2905060"/>
              <a:gd name="connsiteY4" fmla="*/ 0 h 1071570"/>
              <a:gd name="connsiteX0" fmla="*/ 258613 w 2905060"/>
              <a:gd name="connsiteY0" fmla="*/ 28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258613 w 2905060"/>
              <a:gd name="connsiteY4" fmla="*/ 28 h 107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5060" h="1071570">
                <a:moveTo>
                  <a:pt x="258613" y="28"/>
                </a:moveTo>
                <a:lnTo>
                  <a:pt x="2905060" y="0"/>
                </a:lnTo>
                <a:lnTo>
                  <a:pt x="2905060" y="1071570"/>
                </a:lnTo>
                <a:lnTo>
                  <a:pt x="0" y="1071570"/>
                </a:lnTo>
                <a:lnTo>
                  <a:pt x="258613" y="28"/>
                </a:lnTo>
                <a:close/>
              </a:path>
            </a:pathLst>
          </a:cu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9248626" y="143961"/>
            <a:ext cx="2612703" cy="400110"/>
          </a:xfrm>
          <a:prstGeom prst="rect">
            <a:avLst/>
          </a:prstGeom>
          <a:ln w="19050">
            <a:noFill/>
            <a:prstDash val="lgDash"/>
          </a:ln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/loyalty</a:t>
            </a:r>
            <a:endParaRPr lang="ru-RU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39972" y="1096210"/>
            <a:ext cx="1073887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800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401877" y="1116419"/>
            <a:ext cx="1095155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800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899451" y="1160537"/>
            <a:ext cx="146729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800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66530" y="2579227"/>
            <a:ext cx="298629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Зарегистрируйтесь 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на сайте </a:t>
            </a:r>
            <a:r>
              <a:rPr lang="en-US" sz="2000" b="1" dirty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 или </a:t>
            </a:r>
            <a:r>
              <a:rPr lang="en-US" sz="2000" b="1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CTA</a:t>
            </a:r>
            <a:endParaRPr lang="en-US" sz="2000" b="1" dirty="0">
              <a:solidFill>
                <a:srgbClr val="005CA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058364" y="2579227"/>
            <a:ext cx="326997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капливайте баллы: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464668" y="2579227"/>
            <a:ext cx="326997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лучайте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подарки и бонусы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058363" y="3044590"/>
            <a:ext cx="3634523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Clr>
                <a:srgbClr val="005CA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посещайте </a:t>
            </a:r>
            <a:r>
              <a:rPr lang="ru-RU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вебинары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еминары</a:t>
            </a: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005CA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участвуйте в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конкурсах</a:t>
            </a:r>
          </a:p>
          <a:p>
            <a:pPr marL="171450" indent="-171450">
              <a:buClr>
                <a:srgbClr val="005CA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льзуйтесь сервисами </a:t>
            </a:r>
            <a:r>
              <a:rPr lang="ru-RU" sz="1600" b="1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CTA</a:t>
            </a:r>
            <a:endParaRPr lang="ru-RU" sz="1600" dirty="0" smtClean="0">
              <a:solidFill>
                <a:srgbClr val="005CA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005CA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овершайте 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покупки в магазинах </a:t>
            </a:r>
            <a:r>
              <a:rPr lang="ru-RU" sz="1600" b="1" dirty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CTA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 и</a:t>
            </a:r>
            <a:r>
              <a:rPr lang="ru-RU" sz="1600" b="1" dirty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1600" b="1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ok24.ru</a:t>
            </a:r>
            <a:endParaRPr lang="ru-RU" sz="1600" dirty="0">
              <a:solidFill>
                <a:srgbClr val="005CA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005CA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оставляйте отзывы о нашей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дукции</a:t>
            </a: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buClr>
                <a:srgbClr val="005CA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+ 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и еще 20 других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активностей</a:t>
            </a: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464668" y="3044590"/>
            <a:ext cx="3155832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Получайте скидки на продукцию корпорации «Российский учебник» и наших партнеров, а также подарки – бесплатные книги и курсы повышения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квалификаци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385751" y="5195502"/>
            <a:ext cx="24089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>
              <a:tabLst>
                <a:tab pos="720725" algn="l"/>
                <a:tab pos="984250" algn="l"/>
              </a:tabLst>
            </a:pP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за посещение мероприятия </a:t>
            </a: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за отзыв на сайте </a:t>
            </a:r>
            <a:r>
              <a:rPr lang="en-US" sz="1600" b="1" dirty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</a:t>
            </a:r>
            <a:endParaRPr lang="ru-RU" sz="1600" b="1" dirty="0">
              <a:solidFill>
                <a:srgbClr val="005CA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119212" y="5320112"/>
            <a:ext cx="389512" cy="642248"/>
          </a:xfrm>
          <a:prstGeom prst="rect">
            <a:avLst/>
          </a:prstGeom>
        </p:spPr>
      </p:pic>
      <p:cxnSp>
        <p:nvCxnSpPr>
          <p:cNvPr id="29" name="Прямая соединительная линия 28"/>
          <p:cNvCxnSpPr/>
          <p:nvPr/>
        </p:nvCxnSpPr>
        <p:spPr>
          <a:xfrm flipV="1">
            <a:off x="4058363" y="5029403"/>
            <a:ext cx="3559023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EB2049"/>
            </a:solidFill>
            <a:miter lim="800000"/>
            <a:headEnd type="none" w="med" len="med"/>
            <a:tailEnd type="none"/>
          </a:ln>
        </p:spPr>
      </p:cxnSp>
      <p:cxnSp>
        <p:nvCxnSpPr>
          <p:cNvPr id="30" name="Прямая соединительная линия 29"/>
          <p:cNvCxnSpPr/>
          <p:nvPr/>
        </p:nvCxnSpPr>
        <p:spPr>
          <a:xfrm flipV="1">
            <a:off x="4058363" y="6267653"/>
            <a:ext cx="3559023" cy="0"/>
          </a:xfrm>
          <a:prstGeom prst="line">
            <a:avLst/>
          </a:prstGeom>
          <a:solidFill>
            <a:srgbClr val="AE2C25"/>
          </a:solidFill>
          <a:ln w="9525">
            <a:solidFill>
              <a:srgbClr val="EB2049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46268372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7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12787" y="1938399"/>
            <a:ext cx="10816604" cy="8213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Заголовок 3"/>
          <p:cNvSpPr txBox="1">
            <a:spLocks/>
          </p:cNvSpPr>
          <p:nvPr/>
        </p:nvSpPr>
        <p:spPr>
          <a:xfrm>
            <a:off x="334433" y="100389"/>
            <a:ext cx="11519999" cy="6486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СТУПНЫЕ БОНУСЫ</a:t>
            </a:r>
            <a:endParaRPr lang="ru-RU" sz="3200" b="1" dirty="0">
              <a:solidFill>
                <a:srgbClr val="005CA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Полилиния 32"/>
          <p:cNvSpPr/>
          <p:nvPr/>
        </p:nvSpPr>
        <p:spPr>
          <a:xfrm flipV="1">
            <a:off x="9248626" y="178454"/>
            <a:ext cx="2943373" cy="607096"/>
          </a:xfrm>
          <a:custGeom>
            <a:avLst/>
            <a:gdLst>
              <a:gd name="connsiteX0" fmla="*/ 0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0 w 2286016"/>
              <a:gd name="connsiteY4" fmla="*/ 0 h 785818"/>
              <a:gd name="connsiteX0" fmla="*/ 309522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309522 w 2286016"/>
              <a:gd name="connsiteY4" fmla="*/ 0 h 785818"/>
              <a:gd name="connsiteX0" fmla="*/ 195194 w 2286016"/>
              <a:gd name="connsiteY0" fmla="*/ 0 h 785842"/>
              <a:gd name="connsiteX1" fmla="*/ 2286016 w 2286016"/>
              <a:gd name="connsiteY1" fmla="*/ 24 h 785842"/>
              <a:gd name="connsiteX2" fmla="*/ 2286016 w 2286016"/>
              <a:gd name="connsiteY2" fmla="*/ 785842 h 785842"/>
              <a:gd name="connsiteX3" fmla="*/ 0 w 2286016"/>
              <a:gd name="connsiteY3" fmla="*/ 785842 h 785842"/>
              <a:gd name="connsiteX4" fmla="*/ 195194 w 2286016"/>
              <a:gd name="connsiteY4" fmla="*/ 0 h 785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6016" h="785842">
                <a:moveTo>
                  <a:pt x="195194" y="0"/>
                </a:moveTo>
                <a:lnTo>
                  <a:pt x="2286016" y="24"/>
                </a:lnTo>
                <a:lnTo>
                  <a:pt x="2286016" y="785842"/>
                </a:lnTo>
                <a:lnTo>
                  <a:pt x="0" y="785842"/>
                </a:lnTo>
                <a:lnTo>
                  <a:pt x="195194" y="0"/>
                </a:lnTo>
                <a:close/>
              </a:path>
            </a:pathLst>
          </a:custGeom>
          <a:solidFill>
            <a:srgbClr val="EB2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 flipV="1">
            <a:off x="8696739" y="0"/>
            <a:ext cx="3495260" cy="717455"/>
          </a:xfrm>
          <a:custGeom>
            <a:avLst/>
            <a:gdLst>
              <a:gd name="connsiteX0" fmla="*/ 0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0 w 4024298"/>
              <a:gd name="connsiteY4" fmla="*/ 0 h 1071570"/>
              <a:gd name="connsiteX0" fmla="*/ 45239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452398 w 4024298"/>
              <a:gd name="connsiteY4" fmla="*/ 0 h 1071570"/>
              <a:gd name="connsiteX0" fmla="*/ 83335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833358 w 4024298"/>
              <a:gd name="connsiteY4" fmla="*/ 0 h 1071570"/>
              <a:gd name="connsiteX0" fmla="*/ 380960 w 3571900"/>
              <a:gd name="connsiteY0" fmla="*/ 0 h 1071570"/>
              <a:gd name="connsiteX1" fmla="*/ 3571900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571900"/>
              <a:gd name="connsiteY0" fmla="*/ 0 h 1071570"/>
              <a:gd name="connsiteX1" fmla="*/ 3024166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024166"/>
              <a:gd name="connsiteY0" fmla="*/ 0 h 1071570"/>
              <a:gd name="connsiteX1" fmla="*/ 3024166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3024166"/>
              <a:gd name="connsiteY0" fmla="*/ 0 h 1071570"/>
              <a:gd name="connsiteX1" fmla="*/ 2905060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2905060"/>
              <a:gd name="connsiteY0" fmla="*/ 0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380960 w 2905060"/>
              <a:gd name="connsiteY4" fmla="*/ 0 h 1071570"/>
              <a:gd name="connsiteX0" fmla="*/ 258613 w 2905060"/>
              <a:gd name="connsiteY0" fmla="*/ 28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258613 w 2905060"/>
              <a:gd name="connsiteY4" fmla="*/ 28 h 107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5060" h="1071570">
                <a:moveTo>
                  <a:pt x="258613" y="28"/>
                </a:moveTo>
                <a:lnTo>
                  <a:pt x="2905060" y="0"/>
                </a:lnTo>
                <a:lnTo>
                  <a:pt x="2905060" y="1071570"/>
                </a:lnTo>
                <a:lnTo>
                  <a:pt x="0" y="1071570"/>
                </a:lnTo>
                <a:lnTo>
                  <a:pt x="258613" y="28"/>
                </a:lnTo>
                <a:close/>
              </a:path>
            </a:pathLst>
          </a:cu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9248626" y="143961"/>
            <a:ext cx="2612703" cy="400110"/>
          </a:xfrm>
          <a:prstGeom prst="rect">
            <a:avLst/>
          </a:prstGeom>
          <a:ln w="19050">
            <a:noFill/>
            <a:prstDash val="lgDash"/>
          </a:ln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/loyalty</a:t>
            </a:r>
            <a:endParaRPr lang="ru-RU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12787" y="1106723"/>
            <a:ext cx="106859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62B32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азовый </a:t>
            </a:r>
            <a:r>
              <a:rPr lang="ru-RU" sz="3200" b="1" dirty="0" smtClean="0">
                <a:solidFill>
                  <a:srgbClr val="62B32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ровень</a:t>
            </a:r>
            <a:endParaRPr lang="en-US" sz="3200" b="1" dirty="0">
              <a:solidFill>
                <a:srgbClr val="62B32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229622" y="2027850"/>
            <a:ext cx="98425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ачала </a:t>
            </a:r>
            <a:r>
              <a:rPr lang="ru-RU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 будете получать бонусы базового уровня, которые сможете использовать неограниченное количество раз без </a:t>
            </a:r>
            <a:r>
              <a:rPr 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исания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8" t="78737" r="83284" b="3644"/>
          <a:stretch/>
        </p:blipFill>
        <p:spPr>
          <a:xfrm>
            <a:off x="978659" y="5255116"/>
            <a:ext cx="834226" cy="443219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55550" y="3371483"/>
            <a:ext cx="1080445" cy="343778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928" y="3147200"/>
            <a:ext cx="1222475" cy="792345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985334" y="3329413"/>
            <a:ext cx="1332066" cy="427918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84" t="72396" r="36103" b="5503"/>
          <a:stretch/>
        </p:blipFill>
        <p:spPr>
          <a:xfrm>
            <a:off x="10143612" y="5239701"/>
            <a:ext cx="918077" cy="493555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157430" y="3325661"/>
            <a:ext cx="1837483" cy="435423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09" y="3261129"/>
            <a:ext cx="1747104" cy="564487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767122" y="4102725"/>
            <a:ext cx="12573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0% скидка </a:t>
            </a:r>
            <a:endParaRPr lang="ru-RU" sz="14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любые ЭФУ </a:t>
            </a:r>
            <a:endParaRPr lang="ru-RU" sz="1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айте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LECTA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640050" y="4102725"/>
            <a:ext cx="151023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0% </a:t>
            </a: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кидка</a:t>
            </a:r>
          </a:p>
          <a:p>
            <a:pPr algn="ctr"/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на электронные книги на сайте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litres.ru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022717" y="4102725"/>
            <a:ext cx="12573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0% скидка </a:t>
            </a:r>
            <a:endParaRPr lang="ru-RU" sz="14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ниги на сайте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book24.ru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152453" y="4102725"/>
            <a:ext cx="18424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0% скидка </a:t>
            </a:r>
            <a:endParaRPr lang="ru-RU" sz="14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урсы повышения квалификации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rosuchebnik.ru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730409" y="4102725"/>
            <a:ext cx="1747104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0% скидка </a:t>
            </a:r>
            <a:endParaRPr lang="ru-RU" sz="14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урсы повышения квалификации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foxford.ru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53" t="79177" r="15251" b="3989"/>
          <a:stretch/>
        </p:blipFill>
        <p:spPr>
          <a:xfrm>
            <a:off x="7694494" y="5261156"/>
            <a:ext cx="834172" cy="423501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49" t="78962" r="60619" b="3560"/>
          <a:stretch/>
        </p:blipFill>
        <p:spPr>
          <a:xfrm>
            <a:off x="2986898" y="5256202"/>
            <a:ext cx="816534" cy="439673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64" t="79345" r="38119" b="4553"/>
          <a:stretch/>
        </p:blipFill>
        <p:spPr>
          <a:xfrm>
            <a:off x="5254640" y="5266799"/>
            <a:ext cx="793455" cy="40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83584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7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Заголовок 3"/>
          <p:cNvSpPr txBox="1">
            <a:spLocks/>
          </p:cNvSpPr>
          <p:nvPr/>
        </p:nvSpPr>
        <p:spPr>
          <a:xfrm>
            <a:off x="334433" y="100389"/>
            <a:ext cx="11519999" cy="64864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rgbClr val="005CA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СТУПНЫЕ БОНУСЫ</a:t>
            </a:r>
            <a:endParaRPr lang="ru-RU" sz="3200" b="1" dirty="0">
              <a:solidFill>
                <a:srgbClr val="005CA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Полилиния 32"/>
          <p:cNvSpPr/>
          <p:nvPr/>
        </p:nvSpPr>
        <p:spPr>
          <a:xfrm flipV="1">
            <a:off x="9248626" y="178454"/>
            <a:ext cx="2943373" cy="607096"/>
          </a:xfrm>
          <a:custGeom>
            <a:avLst/>
            <a:gdLst>
              <a:gd name="connsiteX0" fmla="*/ 0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0 w 2286016"/>
              <a:gd name="connsiteY4" fmla="*/ 0 h 785818"/>
              <a:gd name="connsiteX0" fmla="*/ 309522 w 2286016"/>
              <a:gd name="connsiteY0" fmla="*/ 0 h 785818"/>
              <a:gd name="connsiteX1" fmla="*/ 2286016 w 2286016"/>
              <a:gd name="connsiteY1" fmla="*/ 0 h 785818"/>
              <a:gd name="connsiteX2" fmla="*/ 2286016 w 2286016"/>
              <a:gd name="connsiteY2" fmla="*/ 785818 h 785818"/>
              <a:gd name="connsiteX3" fmla="*/ 0 w 2286016"/>
              <a:gd name="connsiteY3" fmla="*/ 785818 h 785818"/>
              <a:gd name="connsiteX4" fmla="*/ 309522 w 2286016"/>
              <a:gd name="connsiteY4" fmla="*/ 0 h 785818"/>
              <a:gd name="connsiteX0" fmla="*/ 195194 w 2286016"/>
              <a:gd name="connsiteY0" fmla="*/ 0 h 785842"/>
              <a:gd name="connsiteX1" fmla="*/ 2286016 w 2286016"/>
              <a:gd name="connsiteY1" fmla="*/ 24 h 785842"/>
              <a:gd name="connsiteX2" fmla="*/ 2286016 w 2286016"/>
              <a:gd name="connsiteY2" fmla="*/ 785842 h 785842"/>
              <a:gd name="connsiteX3" fmla="*/ 0 w 2286016"/>
              <a:gd name="connsiteY3" fmla="*/ 785842 h 785842"/>
              <a:gd name="connsiteX4" fmla="*/ 195194 w 2286016"/>
              <a:gd name="connsiteY4" fmla="*/ 0 h 785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86016" h="785842">
                <a:moveTo>
                  <a:pt x="195194" y="0"/>
                </a:moveTo>
                <a:lnTo>
                  <a:pt x="2286016" y="24"/>
                </a:lnTo>
                <a:lnTo>
                  <a:pt x="2286016" y="785842"/>
                </a:lnTo>
                <a:lnTo>
                  <a:pt x="0" y="785842"/>
                </a:lnTo>
                <a:lnTo>
                  <a:pt x="195194" y="0"/>
                </a:lnTo>
                <a:close/>
              </a:path>
            </a:pathLst>
          </a:custGeom>
          <a:solidFill>
            <a:srgbClr val="EB20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 flipV="1">
            <a:off x="8696739" y="0"/>
            <a:ext cx="3495260" cy="717455"/>
          </a:xfrm>
          <a:custGeom>
            <a:avLst/>
            <a:gdLst>
              <a:gd name="connsiteX0" fmla="*/ 0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0 w 4024298"/>
              <a:gd name="connsiteY4" fmla="*/ 0 h 1071570"/>
              <a:gd name="connsiteX0" fmla="*/ 45239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452398 w 4024298"/>
              <a:gd name="connsiteY4" fmla="*/ 0 h 1071570"/>
              <a:gd name="connsiteX0" fmla="*/ 833358 w 4024298"/>
              <a:gd name="connsiteY0" fmla="*/ 0 h 1071570"/>
              <a:gd name="connsiteX1" fmla="*/ 4024298 w 4024298"/>
              <a:gd name="connsiteY1" fmla="*/ 0 h 1071570"/>
              <a:gd name="connsiteX2" fmla="*/ 4024298 w 4024298"/>
              <a:gd name="connsiteY2" fmla="*/ 1071570 h 1071570"/>
              <a:gd name="connsiteX3" fmla="*/ 0 w 4024298"/>
              <a:gd name="connsiteY3" fmla="*/ 1071570 h 1071570"/>
              <a:gd name="connsiteX4" fmla="*/ 833358 w 4024298"/>
              <a:gd name="connsiteY4" fmla="*/ 0 h 1071570"/>
              <a:gd name="connsiteX0" fmla="*/ 380960 w 3571900"/>
              <a:gd name="connsiteY0" fmla="*/ 0 h 1071570"/>
              <a:gd name="connsiteX1" fmla="*/ 3571900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571900"/>
              <a:gd name="connsiteY0" fmla="*/ 0 h 1071570"/>
              <a:gd name="connsiteX1" fmla="*/ 3024166 w 3571900"/>
              <a:gd name="connsiteY1" fmla="*/ 0 h 1071570"/>
              <a:gd name="connsiteX2" fmla="*/ 3571900 w 3571900"/>
              <a:gd name="connsiteY2" fmla="*/ 1071570 h 1071570"/>
              <a:gd name="connsiteX3" fmla="*/ 0 w 3571900"/>
              <a:gd name="connsiteY3" fmla="*/ 1071570 h 1071570"/>
              <a:gd name="connsiteX4" fmla="*/ 380960 w 3571900"/>
              <a:gd name="connsiteY4" fmla="*/ 0 h 1071570"/>
              <a:gd name="connsiteX0" fmla="*/ 380960 w 3024166"/>
              <a:gd name="connsiteY0" fmla="*/ 0 h 1071570"/>
              <a:gd name="connsiteX1" fmla="*/ 3024166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3024166"/>
              <a:gd name="connsiteY0" fmla="*/ 0 h 1071570"/>
              <a:gd name="connsiteX1" fmla="*/ 2905060 w 3024166"/>
              <a:gd name="connsiteY1" fmla="*/ 0 h 1071570"/>
              <a:gd name="connsiteX2" fmla="*/ 3024166 w 3024166"/>
              <a:gd name="connsiteY2" fmla="*/ 1071570 h 1071570"/>
              <a:gd name="connsiteX3" fmla="*/ 0 w 3024166"/>
              <a:gd name="connsiteY3" fmla="*/ 1071570 h 1071570"/>
              <a:gd name="connsiteX4" fmla="*/ 380960 w 3024166"/>
              <a:gd name="connsiteY4" fmla="*/ 0 h 1071570"/>
              <a:gd name="connsiteX0" fmla="*/ 380960 w 2905060"/>
              <a:gd name="connsiteY0" fmla="*/ 0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380960 w 2905060"/>
              <a:gd name="connsiteY4" fmla="*/ 0 h 1071570"/>
              <a:gd name="connsiteX0" fmla="*/ 258613 w 2905060"/>
              <a:gd name="connsiteY0" fmla="*/ 28 h 1071570"/>
              <a:gd name="connsiteX1" fmla="*/ 2905060 w 2905060"/>
              <a:gd name="connsiteY1" fmla="*/ 0 h 1071570"/>
              <a:gd name="connsiteX2" fmla="*/ 2905060 w 2905060"/>
              <a:gd name="connsiteY2" fmla="*/ 1071570 h 1071570"/>
              <a:gd name="connsiteX3" fmla="*/ 0 w 2905060"/>
              <a:gd name="connsiteY3" fmla="*/ 1071570 h 1071570"/>
              <a:gd name="connsiteX4" fmla="*/ 258613 w 2905060"/>
              <a:gd name="connsiteY4" fmla="*/ 28 h 1071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05060" h="1071570">
                <a:moveTo>
                  <a:pt x="258613" y="28"/>
                </a:moveTo>
                <a:lnTo>
                  <a:pt x="2905060" y="0"/>
                </a:lnTo>
                <a:lnTo>
                  <a:pt x="2905060" y="1071570"/>
                </a:lnTo>
                <a:lnTo>
                  <a:pt x="0" y="1071570"/>
                </a:lnTo>
                <a:lnTo>
                  <a:pt x="258613" y="28"/>
                </a:lnTo>
                <a:close/>
              </a:path>
            </a:pathLst>
          </a:cu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9248626" y="143961"/>
            <a:ext cx="2612703" cy="400110"/>
          </a:xfrm>
          <a:prstGeom prst="rect">
            <a:avLst/>
          </a:prstGeom>
          <a:ln w="19050">
            <a:noFill/>
            <a:prstDash val="lgDash"/>
          </a:ln>
        </p:spPr>
        <p:txBody>
          <a:bodyPr wrap="non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suchebnik.ru/loyalty</a:t>
            </a:r>
            <a:endParaRPr lang="ru-RU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12787" y="1948338"/>
            <a:ext cx="10816604" cy="8213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55550" y="3401300"/>
            <a:ext cx="1080445" cy="343778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450" y="3177017"/>
            <a:ext cx="1222475" cy="792345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541206" y="3355478"/>
            <a:ext cx="1837483" cy="435423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409" y="3290946"/>
            <a:ext cx="1747104" cy="564487"/>
          </a:xfrm>
          <a:prstGeom prst="rect">
            <a:avLst/>
          </a:prstGeom>
        </p:spPr>
      </p:pic>
      <p:sp>
        <p:nvSpPr>
          <p:cNvPr id="30" name="Текст 1"/>
          <p:cNvSpPr txBox="1">
            <a:spLocks/>
          </p:cNvSpPr>
          <p:nvPr/>
        </p:nvSpPr>
        <p:spPr>
          <a:xfrm>
            <a:off x="361639" y="1079261"/>
            <a:ext cx="11518900" cy="498427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200" b="1" dirty="0" smtClean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двинутый уровень</a:t>
            </a:r>
            <a:endParaRPr lang="en-US" sz="3200" b="1" dirty="0" smtClean="0">
              <a:solidFill>
                <a:srgbClr val="00B0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Текст 1"/>
          <p:cNvSpPr txBox="1">
            <a:spLocks/>
          </p:cNvSpPr>
          <p:nvPr/>
        </p:nvSpPr>
        <p:spPr>
          <a:xfrm>
            <a:off x="1209180" y="2004747"/>
            <a:ext cx="9852509" cy="71520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bg2"/>
              </a:buClr>
              <a:buFont typeface="Arial" pitchFamily="34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005CAB"/>
              </a:buClr>
              <a:buFont typeface="Arial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копите </a:t>
            </a:r>
            <a:r>
              <a:rPr lang="ru-RU" sz="18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0 бал</a:t>
            </a:r>
            <a:r>
              <a:rPr lang="ru-RU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ов и перейдите на продвинутый уровень, где доступны самые ценные подарки! На этом уровне баллы списываются при получении бонуса.</a:t>
            </a:r>
            <a:endParaRPr lang="ru-RU"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67122" y="4075825"/>
            <a:ext cx="125730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0% скидка </a:t>
            </a:r>
            <a:endParaRPr lang="ru-RU" sz="14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любые ЭФУ </a:t>
            </a:r>
            <a:endParaRPr lang="ru-RU" sz="1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айте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LECTA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376143" y="4075825"/>
            <a:ext cx="170275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0% </a:t>
            </a: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кидка</a:t>
            </a:r>
          </a:p>
          <a:p>
            <a:pPr algn="ctr"/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на электронные книги на сайте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litres.ru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541205" y="4075825"/>
            <a:ext cx="1837483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0% скидка </a:t>
            </a:r>
            <a:endParaRPr lang="ru-RU" sz="14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урсы повышения квалификации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foxford.ru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9730409" y="4075825"/>
            <a:ext cx="1747104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30% скидка </a:t>
            </a:r>
            <a:endParaRPr lang="ru-RU" sz="14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урсы повышения квалификации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rosuchebnik.ru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2" t="24774" r="22610" b="30171"/>
          <a:stretch/>
        </p:blipFill>
        <p:spPr>
          <a:xfrm>
            <a:off x="947467" y="5194207"/>
            <a:ext cx="896610" cy="460643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52" t="24774" r="22610" b="30171"/>
          <a:stretch/>
        </p:blipFill>
        <p:spPr>
          <a:xfrm>
            <a:off x="3779213" y="5194207"/>
            <a:ext cx="896610" cy="460643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48329" y="5191008"/>
            <a:ext cx="911842" cy="467041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41866" y="5187809"/>
            <a:ext cx="919823" cy="473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48123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349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3000" b="1" dirty="0" err="1" smtClean="0">
              <a:solidFill>
                <a:schemeClr val="bg1"/>
              </a:solidFill>
              <a:latin typeface="Calibri" panose="020F0502020204030204" pitchFamily="34" charset="0"/>
              <a:ea typeface="+mj-ea"/>
              <a:cs typeface="Times New Roman" panose="02020603050405020304" pitchFamily="18" charset="0"/>
              <a:sym typeface="Calibri" panose="020F0502020204030204" pitchFamily="34" charset="0"/>
            </a:endParaRPr>
          </a:p>
        </p:txBody>
      </p:sp>
      <p:sp>
        <p:nvSpPr>
          <p:cNvPr id="142338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2489702" y="1624674"/>
            <a:ext cx="6679737" cy="403225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33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БЛАГОДАРИМ ЗА ВНИМАНИЕ!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177862" y="2583635"/>
            <a:ext cx="8363137" cy="2132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err="1" smtClean="0">
                <a:cs typeface="Times New Roman" pitchFamily="18" charset="0"/>
              </a:rPr>
              <a:t>Гилева</a:t>
            </a:r>
            <a:r>
              <a:rPr lang="ru-RU" sz="2400" b="1" dirty="0" smtClean="0">
                <a:cs typeface="Times New Roman" pitchFamily="18" charset="0"/>
              </a:rPr>
              <a:t> Елена Анатольевна</a:t>
            </a:r>
            <a:r>
              <a:rPr lang="ru-RU" sz="2400" dirty="0" smtClean="0">
                <a:cs typeface="Times New Roman" pitchFamily="18" charset="0"/>
              </a:rPr>
              <a:t>, методист по технологии</a:t>
            </a: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 smtClean="0"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2400" dirty="0" smtClean="0">
                <a:cs typeface="Times New Roman" pitchFamily="18" charset="0"/>
              </a:rPr>
              <a:t>E-mail</a:t>
            </a:r>
            <a:r>
              <a:rPr lang="ru-RU" altLang="ru-RU" sz="2400" dirty="0" smtClean="0">
                <a:cs typeface="Times New Roman" pitchFamily="18" charset="0"/>
              </a:rPr>
              <a:t>: </a:t>
            </a:r>
            <a:r>
              <a:rPr lang="en-US" altLang="ru-RU" sz="2400" dirty="0" smtClean="0">
                <a:cs typeface="Times New Roman" pitchFamily="18" charset="0"/>
              </a:rPr>
              <a:t> </a:t>
            </a:r>
            <a:r>
              <a:rPr lang="en-US" altLang="ru-RU" sz="2400" b="1" dirty="0" smtClean="0">
                <a:cs typeface="Times New Roman" pitchFamily="18" charset="0"/>
              </a:rPr>
              <a:t>Gileva.EA</a:t>
            </a:r>
            <a:r>
              <a:rPr lang="en-US" sz="2400" b="1" dirty="0" smtClean="0">
                <a:cs typeface="Times New Roman" pitchFamily="18" charset="0"/>
              </a:rPr>
              <a:t>@rosuchebnik.ru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400" dirty="0" smtClean="0">
                <a:cs typeface="Times New Roman" pitchFamily="18" charset="0"/>
              </a:rPr>
              <a:t>тел. раб. - </a:t>
            </a:r>
            <a:r>
              <a:rPr lang="ru-RU" altLang="ru-RU" sz="2400" dirty="0" smtClean="0">
                <a:cs typeface="Times New Roman" pitchFamily="18" charset="0"/>
              </a:rPr>
              <a:t>8 (495) 795-05-52 </a:t>
            </a:r>
            <a:r>
              <a:rPr lang="ru-RU" altLang="ru-RU" sz="2400" dirty="0" err="1" smtClean="0">
                <a:cs typeface="Times New Roman" pitchFamily="18" charset="0"/>
              </a:rPr>
              <a:t>доб</a:t>
            </a:r>
            <a:r>
              <a:rPr lang="ru-RU" altLang="ru-RU" sz="2400" dirty="0" smtClean="0">
                <a:cs typeface="Times New Roman" pitchFamily="18" charset="0"/>
              </a:rPr>
              <a:t>. 7420</a:t>
            </a:r>
          </a:p>
          <a:p>
            <a:pPr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altLang="ru-RU" sz="2400" dirty="0" smtClean="0">
                <a:cs typeface="Times New Roman" pitchFamily="18" charset="0"/>
              </a:rPr>
              <a:t>тел. моб. – 8-903-507-93-69</a:t>
            </a:r>
            <a:endParaRPr lang="ru-RU" sz="240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844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Номер слайда 6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A14BD8F-F77A-4CBB-BE06-C4B88929D050}" type="slidenum">
              <a:rPr lang="en-GB" altLang="ru-RU"/>
              <a:pPr/>
              <a:t>6</a:t>
            </a:fld>
            <a:endParaRPr lang="en-GB" altLang="ru-RU"/>
          </a:p>
        </p:txBody>
      </p:sp>
      <p:sp>
        <p:nvSpPr>
          <p:cNvPr id="18436" name="AutoShape 9" descr="https://mail.drofa.ru/WorldClient.dll?Session=PSRKC0FV1PY4Z&amp;View=Attachment&amp;Number=1493&amp;FolderID=0&amp;Part=2&amp;Filename=cover1.jpg&amp;OpenAttachment=1"/>
          <p:cNvSpPr>
            <a:spLocks noChangeAspect="1" noChangeArrowheads="1"/>
          </p:cNvSpPr>
          <p:nvPr/>
        </p:nvSpPr>
        <p:spPr bwMode="auto">
          <a:xfrm>
            <a:off x="571462" y="500042"/>
            <a:ext cx="9105900" cy="887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90459" y="188914"/>
            <a:ext cx="116205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spc="7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ЧЕБНО-МЕТОДИЧЕСКИЕ КОМПЛЕКТЫ</a:t>
            </a:r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439" name="Прямоугольник 1"/>
          <p:cNvSpPr>
            <a:spLocks noChangeArrowheads="1"/>
          </p:cNvSpPr>
          <p:nvPr/>
        </p:nvSpPr>
        <p:spPr bwMode="auto">
          <a:xfrm>
            <a:off x="190459" y="1500175"/>
            <a:ext cx="12001541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600" dirty="0" smtClean="0">
              <a:latin typeface="+mn-lt"/>
            </a:endParaRPr>
          </a:p>
          <a:p>
            <a:endParaRPr lang="ru-RU" sz="1400" dirty="0" smtClean="0"/>
          </a:p>
          <a:p>
            <a:pPr lvl="0"/>
            <a:endParaRPr lang="ru-RU" sz="1600" dirty="0" smtClean="0"/>
          </a:p>
          <a:p>
            <a:pPr algn="just"/>
            <a:endParaRPr lang="ru-RU" sz="1600" dirty="0">
              <a:solidFill>
                <a:srgbClr val="221E1F"/>
              </a:solidFill>
              <a:latin typeface="+mj-lt"/>
            </a:endParaRPr>
          </a:p>
          <a:p>
            <a:pPr algn="just"/>
            <a:endParaRPr lang="ru-RU" dirty="0">
              <a:latin typeface="+mj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12741" y="500042"/>
            <a:ext cx="1095382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Традиционная</a:t>
            </a:r>
            <a:r>
              <a:rPr lang="ru-RU" sz="2400" b="1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линия УМК «Технология» 5-8 класс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(под редакцией  Н.В. Синица, А.Т. Тищенко, В.Д. Симоненко)</a:t>
            </a:r>
            <a:endParaRPr lang="ru-RU" altLang="ru-RU" sz="20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90459" y="4214818"/>
            <a:ext cx="430534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В комплект входят: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учебник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ЭФУ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грамм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с приложением на </a:t>
            </a:r>
            <a:r>
              <a:rPr lang="en-US" b="1" dirty="0">
                <a:latin typeface="Times New Roman" pitchFamily="18" charset="0"/>
                <a:cs typeface="Times New Roman" pitchFamily="18" charset="0"/>
              </a:rPr>
              <a:t>CD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методические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рекомендации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технологические карты уроков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рабочие тетради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16" name="Picture 4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6713" y="1500175"/>
            <a:ext cx="2000264" cy="24495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7" name="Прямоугольник 16"/>
          <p:cNvSpPr/>
          <p:nvPr/>
        </p:nvSpPr>
        <p:spPr>
          <a:xfrm>
            <a:off x="3111449" y="1336763"/>
            <a:ext cx="7620053" cy="3447098"/>
          </a:xfrm>
          <a:prstGeom prst="rect">
            <a:avLst/>
          </a:prstGeom>
          <a:ln w="38100">
            <a:noFill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                         </a:t>
            </a: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Два </a:t>
            </a: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содержательных направления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индустриальные технолог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en-US" dirty="0" smtClean="0"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smtClean="0"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                      </a:t>
            </a:r>
            <a:r>
              <a:rPr lang="ru-RU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технологии ведения дома</a:t>
            </a:r>
            <a:endParaRPr lang="ru-RU" b="1" dirty="0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7" name="Picture 59" descr="2326_20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28983" y="2214555"/>
            <a:ext cx="1619260" cy="20717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8" name="Рисунок 49" descr="2328.tif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20191" y="2214556"/>
            <a:ext cx="1615016" cy="206851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9" name="Picture 52" descr="233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43757" y="2214556"/>
            <a:ext cx="1714512" cy="20717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0" name="Picture 60" descr="2325_20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14997" y="4786322"/>
            <a:ext cx="1714512" cy="198277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1" name="Рисунок 28" descr="2327.tif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24760" y="4786322"/>
            <a:ext cx="1557867" cy="198277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2" name="Picture 51" descr="2329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159919" y="4783861"/>
            <a:ext cx="1631951" cy="19201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3" name="Picture 53" descr="233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677362" y="1868496"/>
            <a:ext cx="1947374" cy="24177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8559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Номер слайда 6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A14BD8F-F77A-4CBB-BE06-C4B88929D050}" type="slidenum">
              <a:rPr lang="en-GB" altLang="ru-RU"/>
              <a:pPr/>
              <a:t>7</a:t>
            </a:fld>
            <a:endParaRPr lang="en-GB" altLang="ru-RU"/>
          </a:p>
        </p:txBody>
      </p:sp>
      <p:sp>
        <p:nvSpPr>
          <p:cNvPr id="18435" name="AutoShape 7" descr="https://mail.drofa.ru/WorldClient.dll?Session=PSRKC0FV1PY4Z&amp;View=Attachment&amp;Number=1493&amp;FolderID=0&amp;Part=2&amp;Filename=cover1.jpg&amp;OpenAttachment=1"/>
          <p:cNvSpPr>
            <a:spLocks noChangeAspect="1" noChangeArrowheads="1"/>
          </p:cNvSpPr>
          <p:nvPr/>
        </p:nvSpPr>
        <p:spPr bwMode="auto">
          <a:xfrm>
            <a:off x="84667" y="-136525"/>
            <a:ext cx="9105900" cy="887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8439" name="Прямоугольник 1"/>
          <p:cNvSpPr>
            <a:spLocks noChangeArrowheads="1"/>
          </p:cNvSpPr>
          <p:nvPr/>
        </p:nvSpPr>
        <p:spPr bwMode="auto">
          <a:xfrm>
            <a:off x="190459" y="1500175"/>
            <a:ext cx="12001541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600" dirty="0" smtClean="0">
              <a:latin typeface="+mn-lt"/>
            </a:endParaRPr>
          </a:p>
          <a:p>
            <a:endParaRPr lang="ru-RU" sz="1400" dirty="0" smtClean="0"/>
          </a:p>
          <a:p>
            <a:pPr lvl="0"/>
            <a:endParaRPr lang="ru-RU" sz="1600" dirty="0" smtClean="0"/>
          </a:p>
          <a:p>
            <a:pPr algn="just"/>
            <a:endParaRPr lang="ru-RU" sz="1600" dirty="0">
              <a:solidFill>
                <a:srgbClr val="221E1F"/>
              </a:solidFill>
              <a:latin typeface="+mj-lt"/>
            </a:endParaRPr>
          </a:p>
          <a:p>
            <a:pPr algn="just"/>
            <a:endParaRPr lang="ru-RU" dirty="0">
              <a:latin typeface="+mj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71461" y="413383"/>
            <a:ext cx="109538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Универсальная</a:t>
            </a:r>
            <a:r>
              <a:rPr lang="ru-RU" sz="2400" b="1" dirty="0" smtClean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линия УМК «Технология». 5-8(9) классы. </a:t>
            </a:r>
            <a:endParaRPr lang="ru-RU" sz="2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85709" y="4286256"/>
            <a:ext cx="465140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В комплект входят: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учебник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ЭФУ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рограмма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с приложением на </a:t>
            </a:r>
            <a:r>
              <a:rPr lang="en-US" sz="2000" b="1" dirty="0">
                <a:latin typeface="Times New Roman" pitchFamily="18" charset="0"/>
                <a:cs typeface="Times New Roman" pitchFamily="18" charset="0"/>
              </a:rPr>
              <a:t>CD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методически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екомендации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рабочи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тетради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6" name="Picture 48" descr="3440_1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06982" y="4286256"/>
            <a:ext cx="1968493" cy="22868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7" name="Рисунок 50" descr="2701.tif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5071" y="1500174"/>
            <a:ext cx="2146340" cy="2500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7" name="Picture 2" descr="\\parovoz\all_reklama\Katalog_2013\LENA\270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81807" y="1500175"/>
            <a:ext cx="2055307" cy="2500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8" name="Picture 55" descr="270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33995" y="1500175"/>
            <a:ext cx="2076456" cy="2500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9" name="Picture 56" descr="270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99411" y="1500175"/>
            <a:ext cx="2082788" cy="25003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0" name="Прямоугольник 29"/>
          <p:cNvSpPr/>
          <p:nvPr/>
        </p:nvSpPr>
        <p:spPr>
          <a:xfrm>
            <a:off x="809587" y="813493"/>
            <a:ext cx="103823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(под редакцией Н.В. Синица, А.Т. Тищенко, В.Д. Симоненко)</a:t>
            </a:r>
            <a:endParaRPr lang="ru-RU" altLang="ru-RU" sz="20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008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Номер слайда 6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A14BD8F-F77A-4CBB-BE06-C4B88929D050}" type="slidenum">
              <a:rPr lang="en-GB" altLang="ru-RU"/>
              <a:pPr/>
              <a:t>8</a:t>
            </a:fld>
            <a:endParaRPr lang="en-GB" altLang="ru-RU"/>
          </a:p>
        </p:txBody>
      </p:sp>
      <p:sp>
        <p:nvSpPr>
          <p:cNvPr id="18435" name="AutoShape 7" descr="https://mail.drofa.ru/WorldClient.dll?Session=PSRKC0FV1PY4Z&amp;View=Attachment&amp;Number=1493&amp;FolderID=0&amp;Part=2&amp;Filename=cover1.jpg&amp;OpenAttachment=1"/>
          <p:cNvSpPr>
            <a:spLocks noChangeAspect="1" noChangeArrowheads="1"/>
          </p:cNvSpPr>
          <p:nvPr/>
        </p:nvSpPr>
        <p:spPr bwMode="auto">
          <a:xfrm>
            <a:off x="84667" y="-136525"/>
            <a:ext cx="9105900" cy="887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/>
            <a:endParaRPr lang="ru-RU" alt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90459" y="188914"/>
            <a:ext cx="116205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spc="7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ЧЕБНО-МЕТОДИЧЕСКИЕ КОМПЛЕКТЫ</a:t>
            </a:r>
            <a:endParaRPr lang="ru-RU" sz="2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439" name="Прямоугольник 1"/>
          <p:cNvSpPr>
            <a:spLocks noChangeArrowheads="1"/>
          </p:cNvSpPr>
          <p:nvPr/>
        </p:nvSpPr>
        <p:spPr bwMode="auto">
          <a:xfrm>
            <a:off x="190459" y="1500175"/>
            <a:ext cx="12001541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600" dirty="0" smtClean="0">
              <a:latin typeface="+mn-lt"/>
            </a:endParaRPr>
          </a:p>
          <a:p>
            <a:endParaRPr lang="ru-RU" sz="1400" dirty="0" smtClean="0"/>
          </a:p>
          <a:p>
            <a:pPr lvl="0"/>
            <a:endParaRPr lang="ru-RU" sz="1600" dirty="0" smtClean="0"/>
          </a:p>
          <a:p>
            <a:pPr algn="just"/>
            <a:endParaRPr lang="ru-RU" sz="1600" dirty="0">
              <a:solidFill>
                <a:srgbClr val="221E1F"/>
              </a:solidFill>
              <a:latin typeface="+mj-lt"/>
            </a:endParaRPr>
          </a:p>
          <a:p>
            <a:pPr algn="just"/>
            <a:endParaRPr lang="ru-RU" dirty="0">
              <a:latin typeface="+mj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23837" y="419746"/>
            <a:ext cx="1095382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Линия УМК «Технология. Метод проектов» 5-8 классы</a:t>
            </a:r>
          </a:p>
          <a:p>
            <a:pPr algn="ctr"/>
            <a:r>
              <a:rPr lang="ru-RU" altLang="ru-RU" sz="20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(под редакцией И.А. </a:t>
            </a:r>
            <a:r>
              <a:rPr lang="ru-RU" altLang="ru-RU" sz="2000" b="1" dirty="0" err="1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Сасовой</a:t>
            </a:r>
            <a:r>
              <a:rPr lang="ru-RU" altLang="ru-RU" sz="20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altLang="ru-RU" sz="20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9" name="Picture 49" descr="2333_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10" y="1373168"/>
            <a:ext cx="1993900" cy="24114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0" name="Picture 46" descr="233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76475" y="1373168"/>
            <a:ext cx="1943100" cy="20986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" name="Picture 47" descr="233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64502" y="1373168"/>
            <a:ext cx="2000264" cy="20986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2" name="Picture 49" descr="233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91229" y="1500176"/>
            <a:ext cx="2000264" cy="228442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" name="Picture 48" descr="233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42278" y="1500177"/>
            <a:ext cx="2063749" cy="23315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4" name="Picture 50" descr="233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121899" y="1252537"/>
            <a:ext cx="1885991" cy="25791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5" name="Picture 4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048507" y="4038600"/>
            <a:ext cx="2095515" cy="2439996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sp>
        <p:nvSpPr>
          <p:cNvPr id="26" name="Прямоугольник 25"/>
          <p:cNvSpPr/>
          <p:nvPr/>
        </p:nvSpPr>
        <p:spPr>
          <a:xfrm>
            <a:off x="285710" y="4214818"/>
            <a:ext cx="5905520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В комплект входят: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учебник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ЭФУ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рограмма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с приложением на </a:t>
            </a:r>
            <a:r>
              <a:rPr lang="en-US" sz="2000" b="1" dirty="0">
                <a:latin typeface="Times New Roman" pitchFamily="18" charset="0"/>
                <a:cs typeface="Times New Roman" pitchFamily="18" charset="0"/>
              </a:rPr>
              <a:t>CD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методически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екомендации по организации проектной деятельности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рабочи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тетради (дневник проектов)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9215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888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09" name="think-cell Slide" r:id="rId6" imgW="359" imgH="358" progId="">
                  <p:embed/>
                </p:oleObj>
              </mc:Choice>
              <mc:Fallback>
                <p:oleObj name="think-cell Slide" r:id="rId6" imgW="359" imgH="358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27001" y="1663386"/>
            <a:ext cx="6247166" cy="4354952"/>
          </a:xfrm>
          <a:ln>
            <a:noFill/>
          </a:ln>
        </p:spPr>
        <p:txBody>
          <a:bodyPr/>
          <a:lstStyle/>
          <a:p>
            <a:pPr marL="0" indent="0">
              <a:buNone/>
            </a:pPr>
            <a:r>
              <a:rPr lang="ru-RU" sz="2000" b="1" dirty="0">
                <a:latin typeface="+mn-lt"/>
              </a:rPr>
              <a:t>Статья </a:t>
            </a:r>
            <a:r>
              <a:rPr lang="ru-RU" sz="2000" b="1" dirty="0" smtClean="0">
                <a:latin typeface="+mn-lt"/>
              </a:rPr>
              <a:t>18, пункт 4 Федерального Закона </a:t>
            </a:r>
          </a:p>
          <a:p>
            <a:pPr marL="0" indent="0">
              <a:buNone/>
            </a:pPr>
            <a:r>
              <a:rPr lang="ru-RU" sz="2000" b="1" dirty="0" smtClean="0">
                <a:latin typeface="+mn-lt"/>
              </a:rPr>
              <a:t>«</a:t>
            </a:r>
            <a:r>
              <a:rPr lang="ru-RU" sz="2000" b="1" dirty="0">
                <a:latin typeface="+mn-lt"/>
              </a:rPr>
              <a:t>Об образовании в Российской Федерации» №</a:t>
            </a:r>
            <a:r>
              <a:rPr lang="en-US" sz="2000" b="1" dirty="0">
                <a:latin typeface="+mn-lt"/>
              </a:rPr>
              <a:t>273-</a:t>
            </a:r>
            <a:r>
              <a:rPr lang="ru-RU" sz="2000" b="1" dirty="0">
                <a:latin typeface="+mn-lt"/>
              </a:rPr>
              <a:t>ФЗ:</a:t>
            </a:r>
          </a:p>
          <a:p>
            <a:r>
              <a:rPr lang="ru-RU" b="1" i="1" dirty="0" smtClean="0">
                <a:solidFill>
                  <a:srgbClr val="2D3494"/>
                </a:solidFill>
                <a:latin typeface="+mn-lt"/>
              </a:rPr>
              <a:t>Организации</a:t>
            </a:r>
            <a:r>
              <a:rPr lang="ru-RU" i="1" dirty="0">
                <a:latin typeface="+mn-lt"/>
              </a:rPr>
              <a:t>, осуществляющие образовательную </a:t>
            </a:r>
            <a:r>
              <a:rPr lang="ru-RU" i="1" dirty="0" smtClean="0">
                <a:latin typeface="+mn-lt"/>
              </a:rPr>
              <a:t>деятельность…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для использования </a:t>
            </a:r>
            <a:r>
              <a:rPr lang="ru-RU" i="1" dirty="0">
                <a:latin typeface="+mn-lt"/>
              </a:rPr>
              <a:t>при реализации указанных образовательных программ </a:t>
            </a:r>
            <a:r>
              <a:rPr lang="ru-RU" b="1" i="1" dirty="0">
                <a:solidFill>
                  <a:srgbClr val="2D3494"/>
                </a:solidFill>
                <a:latin typeface="+mn-lt"/>
              </a:rPr>
              <a:t>выбирают</a:t>
            </a:r>
            <a:r>
              <a:rPr lang="ru-RU" i="1" dirty="0">
                <a:latin typeface="+mn-lt"/>
              </a:rPr>
              <a:t>:</a:t>
            </a:r>
          </a:p>
          <a:p>
            <a:pPr marL="628650" indent="-342900">
              <a:buFont typeface="+mj-lt"/>
              <a:buAutoNum type="arabicParenR"/>
            </a:pPr>
            <a:r>
              <a:rPr lang="ru-RU" i="1" dirty="0">
                <a:latin typeface="+mn-lt"/>
              </a:rPr>
              <a:t>учебники из числа входящих в федеральный перечень </a:t>
            </a:r>
            <a:r>
              <a:rPr lang="ru-RU" i="1" dirty="0" smtClean="0">
                <a:latin typeface="+mn-lt"/>
              </a:rPr>
              <a:t>учебников… ;</a:t>
            </a:r>
            <a:endParaRPr lang="ru-RU" i="1" dirty="0">
              <a:latin typeface="+mn-lt"/>
            </a:endParaRPr>
          </a:p>
          <a:p>
            <a:pPr marL="628650" indent="-342900">
              <a:buFont typeface="+mj-lt"/>
              <a:buAutoNum type="arabicParenR"/>
            </a:pPr>
            <a:r>
              <a:rPr lang="ru-RU" b="1" i="1" dirty="0">
                <a:solidFill>
                  <a:srgbClr val="2D3494"/>
                </a:solidFill>
                <a:latin typeface="+mn-lt"/>
              </a:rPr>
              <a:t>учебные пособия</a:t>
            </a:r>
            <a:r>
              <a:rPr lang="ru-RU" i="1" dirty="0">
                <a:latin typeface="+mn-lt"/>
              </a:rPr>
              <a:t>, выпущенные организациями, входящими в перечень организаций, осуществляющих выпуск учебных </a:t>
            </a:r>
            <a:r>
              <a:rPr lang="ru-RU" i="1" dirty="0" smtClean="0">
                <a:latin typeface="+mn-lt"/>
              </a:rPr>
              <a:t>пособий…</a:t>
            </a:r>
            <a:endParaRPr lang="ru-RU" i="1" dirty="0">
              <a:latin typeface="+mn-lt"/>
            </a:endParaRPr>
          </a:p>
        </p:txBody>
      </p:sp>
      <p:sp>
        <p:nvSpPr>
          <p:cNvPr id="18" name="Freeform 48"/>
          <p:cNvSpPr>
            <a:spLocks/>
          </p:cNvSpPr>
          <p:nvPr/>
        </p:nvSpPr>
        <p:spPr bwMode="auto">
          <a:xfrm rot="16415696" flipV="1">
            <a:off x="5730416" y="229290"/>
            <a:ext cx="460707" cy="2254043"/>
          </a:xfrm>
          <a:custGeom>
            <a:avLst/>
            <a:gdLst/>
            <a:ahLst/>
            <a:cxnLst>
              <a:cxn ang="0">
                <a:pos x="74" y="5108"/>
              </a:cxn>
              <a:cxn ang="0">
                <a:pos x="289" y="4928"/>
              </a:cxn>
              <a:cxn ang="0">
                <a:pos x="490" y="4733"/>
              </a:cxn>
              <a:cxn ang="0">
                <a:pos x="615" y="4593"/>
              </a:cxn>
              <a:cxn ang="0">
                <a:pos x="791" y="4373"/>
              </a:cxn>
              <a:cxn ang="0">
                <a:pos x="949" y="4137"/>
              </a:cxn>
              <a:cxn ang="0">
                <a:pos x="1045" y="3975"/>
              </a:cxn>
              <a:cxn ang="0">
                <a:pos x="1173" y="3720"/>
              </a:cxn>
              <a:cxn ang="0">
                <a:pos x="1282" y="3455"/>
              </a:cxn>
              <a:cxn ang="0">
                <a:pos x="1344" y="3274"/>
              </a:cxn>
              <a:cxn ang="0">
                <a:pos x="1419" y="2997"/>
              </a:cxn>
              <a:cxn ang="0">
                <a:pos x="1473" y="2713"/>
              </a:cxn>
              <a:cxn ang="0">
                <a:pos x="1496" y="2522"/>
              </a:cxn>
              <a:cxn ang="0">
                <a:pos x="1514" y="2232"/>
              </a:cxn>
              <a:cxn ang="0">
                <a:pos x="1511" y="1941"/>
              </a:cxn>
              <a:cxn ang="0">
                <a:pos x="1496" y="1748"/>
              </a:cxn>
              <a:cxn ang="0">
                <a:pos x="1454" y="1457"/>
              </a:cxn>
              <a:cxn ang="0">
                <a:pos x="1391" y="1169"/>
              </a:cxn>
              <a:cxn ang="0">
                <a:pos x="1337" y="981"/>
              </a:cxn>
              <a:cxn ang="0">
                <a:pos x="1237" y="703"/>
              </a:cxn>
              <a:cxn ang="0">
                <a:pos x="1159" y="521"/>
              </a:cxn>
              <a:cxn ang="0">
                <a:pos x="1116" y="432"/>
              </a:cxn>
              <a:cxn ang="0">
                <a:pos x="1071" y="344"/>
              </a:cxn>
              <a:cxn ang="0">
                <a:pos x="1017" y="244"/>
              </a:cxn>
              <a:cxn ang="0">
                <a:pos x="1087" y="124"/>
              </a:cxn>
              <a:cxn ang="0">
                <a:pos x="853" y="56"/>
              </a:cxn>
              <a:cxn ang="0">
                <a:pos x="613" y="10"/>
              </a:cxn>
              <a:cxn ang="0">
                <a:pos x="523" y="81"/>
              </a:cxn>
              <a:cxn ang="0">
                <a:pos x="491" y="314"/>
              </a:cxn>
              <a:cxn ang="0">
                <a:pos x="453" y="534"/>
              </a:cxn>
              <a:cxn ang="0">
                <a:pos x="587" y="512"/>
              </a:cxn>
              <a:cxn ang="0">
                <a:pos x="653" y="612"/>
              </a:cxn>
              <a:cxn ang="0">
                <a:pos x="688" y="667"/>
              </a:cxn>
              <a:cxn ang="0">
                <a:pos x="733" y="741"/>
              </a:cxn>
              <a:cxn ang="0">
                <a:pos x="817" y="894"/>
              </a:cxn>
              <a:cxn ang="0">
                <a:pos x="928" y="1130"/>
              </a:cxn>
              <a:cxn ang="0">
                <a:pos x="993" y="1293"/>
              </a:cxn>
              <a:cxn ang="0">
                <a:pos x="1074" y="1543"/>
              </a:cxn>
              <a:cxn ang="0">
                <a:pos x="1136" y="1801"/>
              </a:cxn>
              <a:cxn ang="0">
                <a:pos x="1166" y="1975"/>
              </a:cxn>
              <a:cxn ang="0">
                <a:pos x="1195" y="2239"/>
              </a:cxn>
              <a:cxn ang="0">
                <a:pos x="1204" y="2507"/>
              </a:cxn>
              <a:cxn ang="0">
                <a:pos x="1198" y="2685"/>
              </a:cxn>
              <a:cxn ang="0">
                <a:pos x="1174" y="2952"/>
              </a:cxn>
              <a:cxn ang="0">
                <a:pos x="1129" y="3219"/>
              </a:cxn>
              <a:cxn ang="0">
                <a:pos x="1087" y="3394"/>
              </a:cxn>
              <a:cxn ang="0">
                <a:pos x="1008" y="3654"/>
              </a:cxn>
              <a:cxn ang="0">
                <a:pos x="910" y="3908"/>
              </a:cxn>
              <a:cxn ang="0">
                <a:pos x="832" y="4073"/>
              </a:cxn>
              <a:cxn ang="0">
                <a:pos x="702" y="4314"/>
              </a:cxn>
              <a:cxn ang="0">
                <a:pos x="552" y="4545"/>
              </a:cxn>
              <a:cxn ang="0">
                <a:pos x="442" y="4693"/>
              </a:cxn>
              <a:cxn ang="0">
                <a:pos x="263" y="4904"/>
              </a:cxn>
              <a:cxn ang="0">
                <a:pos x="68" y="5101"/>
              </a:cxn>
            </a:cxnLst>
            <a:rect l="0" t="0" r="r" b="b"/>
            <a:pathLst>
              <a:path w="1515" h="5165">
                <a:moveTo>
                  <a:pt x="0" y="5165"/>
                </a:moveTo>
                <a:lnTo>
                  <a:pt x="0" y="5165"/>
                </a:lnTo>
                <a:lnTo>
                  <a:pt x="74" y="5108"/>
                </a:lnTo>
                <a:lnTo>
                  <a:pt x="147" y="5050"/>
                </a:lnTo>
                <a:lnTo>
                  <a:pt x="218" y="4990"/>
                </a:lnTo>
                <a:lnTo>
                  <a:pt x="289" y="4928"/>
                </a:lnTo>
                <a:lnTo>
                  <a:pt x="357" y="4864"/>
                </a:lnTo>
                <a:lnTo>
                  <a:pt x="424" y="4800"/>
                </a:lnTo>
                <a:lnTo>
                  <a:pt x="490" y="4733"/>
                </a:lnTo>
                <a:lnTo>
                  <a:pt x="553" y="4664"/>
                </a:lnTo>
                <a:lnTo>
                  <a:pt x="553" y="4664"/>
                </a:lnTo>
                <a:lnTo>
                  <a:pt x="615" y="4593"/>
                </a:lnTo>
                <a:lnTo>
                  <a:pt x="675" y="4522"/>
                </a:lnTo>
                <a:lnTo>
                  <a:pt x="734" y="4448"/>
                </a:lnTo>
                <a:lnTo>
                  <a:pt x="791" y="4373"/>
                </a:lnTo>
                <a:lnTo>
                  <a:pt x="845" y="4296"/>
                </a:lnTo>
                <a:lnTo>
                  <a:pt x="898" y="4217"/>
                </a:lnTo>
                <a:lnTo>
                  <a:pt x="949" y="4137"/>
                </a:lnTo>
                <a:lnTo>
                  <a:pt x="998" y="4057"/>
                </a:lnTo>
                <a:lnTo>
                  <a:pt x="998" y="4057"/>
                </a:lnTo>
                <a:lnTo>
                  <a:pt x="1045" y="3975"/>
                </a:lnTo>
                <a:lnTo>
                  <a:pt x="1090" y="3890"/>
                </a:lnTo>
                <a:lnTo>
                  <a:pt x="1132" y="3806"/>
                </a:lnTo>
                <a:lnTo>
                  <a:pt x="1173" y="3720"/>
                </a:lnTo>
                <a:lnTo>
                  <a:pt x="1212" y="3633"/>
                </a:lnTo>
                <a:lnTo>
                  <a:pt x="1248" y="3544"/>
                </a:lnTo>
                <a:lnTo>
                  <a:pt x="1282" y="3455"/>
                </a:lnTo>
                <a:lnTo>
                  <a:pt x="1314" y="3365"/>
                </a:lnTo>
                <a:lnTo>
                  <a:pt x="1314" y="3365"/>
                </a:lnTo>
                <a:lnTo>
                  <a:pt x="1344" y="3274"/>
                </a:lnTo>
                <a:lnTo>
                  <a:pt x="1370" y="3183"/>
                </a:lnTo>
                <a:lnTo>
                  <a:pt x="1395" y="3091"/>
                </a:lnTo>
                <a:lnTo>
                  <a:pt x="1419" y="2997"/>
                </a:lnTo>
                <a:lnTo>
                  <a:pt x="1438" y="2903"/>
                </a:lnTo>
                <a:lnTo>
                  <a:pt x="1457" y="2808"/>
                </a:lnTo>
                <a:lnTo>
                  <a:pt x="1473" y="2713"/>
                </a:lnTo>
                <a:lnTo>
                  <a:pt x="1485" y="2618"/>
                </a:lnTo>
                <a:lnTo>
                  <a:pt x="1485" y="2618"/>
                </a:lnTo>
                <a:lnTo>
                  <a:pt x="1496" y="2522"/>
                </a:lnTo>
                <a:lnTo>
                  <a:pt x="1505" y="2426"/>
                </a:lnTo>
                <a:lnTo>
                  <a:pt x="1511" y="2329"/>
                </a:lnTo>
                <a:lnTo>
                  <a:pt x="1514" y="2232"/>
                </a:lnTo>
                <a:lnTo>
                  <a:pt x="1515" y="2135"/>
                </a:lnTo>
                <a:lnTo>
                  <a:pt x="1514" y="2038"/>
                </a:lnTo>
                <a:lnTo>
                  <a:pt x="1511" y="1941"/>
                </a:lnTo>
                <a:lnTo>
                  <a:pt x="1504" y="1844"/>
                </a:lnTo>
                <a:lnTo>
                  <a:pt x="1504" y="1844"/>
                </a:lnTo>
                <a:lnTo>
                  <a:pt x="1496" y="1748"/>
                </a:lnTo>
                <a:lnTo>
                  <a:pt x="1484" y="1651"/>
                </a:lnTo>
                <a:lnTo>
                  <a:pt x="1470" y="1554"/>
                </a:lnTo>
                <a:lnTo>
                  <a:pt x="1454" y="1457"/>
                </a:lnTo>
                <a:lnTo>
                  <a:pt x="1436" y="1361"/>
                </a:lnTo>
                <a:lnTo>
                  <a:pt x="1415" y="1265"/>
                </a:lnTo>
                <a:lnTo>
                  <a:pt x="1391" y="1169"/>
                </a:lnTo>
                <a:lnTo>
                  <a:pt x="1365" y="1075"/>
                </a:lnTo>
                <a:lnTo>
                  <a:pt x="1365" y="1075"/>
                </a:lnTo>
                <a:lnTo>
                  <a:pt x="1337" y="981"/>
                </a:lnTo>
                <a:lnTo>
                  <a:pt x="1307" y="888"/>
                </a:lnTo>
                <a:lnTo>
                  <a:pt x="1273" y="794"/>
                </a:lnTo>
                <a:lnTo>
                  <a:pt x="1237" y="703"/>
                </a:lnTo>
                <a:lnTo>
                  <a:pt x="1237" y="703"/>
                </a:lnTo>
                <a:lnTo>
                  <a:pt x="1199" y="611"/>
                </a:lnTo>
                <a:lnTo>
                  <a:pt x="1159" y="521"/>
                </a:lnTo>
                <a:lnTo>
                  <a:pt x="1159" y="521"/>
                </a:lnTo>
                <a:lnTo>
                  <a:pt x="1116" y="432"/>
                </a:lnTo>
                <a:lnTo>
                  <a:pt x="1116" y="432"/>
                </a:lnTo>
                <a:lnTo>
                  <a:pt x="1094" y="387"/>
                </a:lnTo>
                <a:lnTo>
                  <a:pt x="1083" y="365"/>
                </a:lnTo>
                <a:lnTo>
                  <a:pt x="1071" y="344"/>
                </a:lnTo>
                <a:lnTo>
                  <a:pt x="1071" y="344"/>
                </a:lnTo>
                <a:lnTo>
                  <a:pt x="1045" y="293"/>
                </a:lnTo>
                <a:lnTo>
                  <a:pt x="1017" y="244"/>
                </a:lnTo>
                <a:lnTo>
                  <a:pt x="1164" y="152"/>
                </a:lnTo>
                <a:lnTo>
                  <a:pt x="1164" y="152"/>
                </a:lnTo>
                <a:lnTo>
                  <a:pt x="1087" y="124"/>
                </a:lnTo>
                <a:lnTo>
                  <a:pt x="1010" y="98"/>
                </a:lnTo>
                <a:lnTo>
                  <a:pt x="933" y="75"/>
                </a:lnTo>
                <a:lnTo>
                  <a:pt x="853" y="56"/>
                </a:lnTo>
                <a:lnTo>
                  <a:pt x="773" y="37"/>
                </a:lnTo>
                <a:lnTo>
                  <a:pt x="694" y="22"/>
                </a:lnTo>
                <a:lnTo>
                  <a:pt x="613" y="10"/>
                </a:lnTo>
                <a:lnTo>
                  <a:pt x="531" y="0"/>
                </a:lnTo>
                <a:lnTo>
                  <a:pt x="531" y="0"/>
                </a:lnTo>
                <a:lnTo>
                  <a:pt x="523" y="81"/>
                </a:lnTo>
                <a:lnTo>
                  <a:pt x="513" y="161"/>
                </a:lnTo>
                <a:lnTo>
                  <a:pt x="502" y="238"/>
                </a:lnTo>
                <a:lnTo>
                  <a:pt x="491" y="314"/>
                </a:lnTo>
                <a:lnTo>
                  <a:pt x="479" y="389"/>
                </a:lnTo>
                <a:lnTo>
                  <a:pt x="467" y="462"/>
                </a:lnTo>
                <a:lnTo>
                  <a:pt x="453" y="534"/>
                </a:lnTo>
                <a:lnTo>
                  <a:pt x="439" y="604"/>
                </a:lnTo>
                <a:lnTo>
                  <a:pt x="587" y="512"/>
                </a:lnTo>
                <a:lnTo>
                  <a:pt x="587" y="512"/>
                </a:lnTo>
                <a:lnTo>
                  <a:pt x="614" y="553"/>
                </a:lnTo>
                <a:lnTo>
                  <a:pt x="642" y="596"/>
                </a:lnTo>
                <a:lnTo>
                  <a:pt x="653" y="612"/>
                </a:lnTo>
                <a:lnTo>
                  <a:pt x="665" y="630"/>
                </a:lnTo>
                <a:lnTo>
                  <a:pt x="665" y="630"/>
                </a:lnTo>
                <a:lnTo>
                  <a:pt x="688" y="667"/>
                </a:lnTo>
                <a:lnTo>
                  <a:pt x="688" y="667"/>
                </a:lnTo>
                <a:lnTo>
                  <a:pt x="733" y="741"/>
                </a:lnTo>
                <a:lnTo>
                  <a:pt x="733" y="741"/>
                </a:lnTo>
                <a:lnTo>
                  <a:pt x="776" y="817"/>
                </a:lnTo>
                <a:lnTo>
                  <a:pt x="817" y="894"/>
                </a:lnTo>
                <a:lnTo>
                  <a:pt x="817" y="894"/>
                </a:lnTo>
                <a:lnTo>
                  <a:pt x="857" y="972"/>
                </a:lnTo>
                <a:lnTo>
                  <a:pt x="893" y="1050"/>
                </a:lnTo>
                <a:lnTo>
                  <a:pt x="928" y="1130"/>
                </a:lnTo>
                <a:lnTo>
                  <a:pt x="962" y="1211"/>
                </a:lnTo>
                <a:lnTo>
                  <a:pt x="962" y="1211"/>
                </a:lnTo>
                <a:lnTo>
                  <a:pt x="993" y="1293"/>
                </a:lnTo>
                <a:lnTo>
                  <a:pt x="1022" y="1376"/>
                </a:lnTo>
                <a:lnTo>
                  <a:pt x="1049" y="1459"/>
                </a:lnTo>
                <a:lnTo>
                  <a:pt x="1074" y="1543"/>
                </a:lnTo>
                <a:lnTo>
                  <a:pt x="1097" y="1629"/>
                </a:lnTo>
                <a:lnTo>
                  <a:pt x="1117" y="1714"/>
                </a:lnTo>
                <a:lnTo>
                  <a:pt x="1136" y="1801"/>
                </a:lnTo>
                <a:lnTo>
                  <a:pt x="1152" y="1887"/>
                </a:lnTo>
                <a:lnTo>
                  <a:pt x="1152" y="1887"/>
                </a:lnTo>
                <a:lnTo>
                  <a:pt x="1166" y="1975"/>
                </a:lnTo>
                <a:lnTo>
                  <a:pt x="1177" y="2063"/>
                </a:lnTo>
                <a:lnTo>
                  <a:pt x="1188" y="2151"/>
                </a:lnTo>
                <a:lnTo>
                  <a:pt x="1195" y="2239"/>
                </a:lnTo>
                <a:lnTo>
                  <a:pt x="1200" y="2328"/>
                </a:lnTo>
                <a:lnTo>
                  <a:pt x="1203" y="2417"/>
                </a:lnTo>
                <a:lnTo>
                  <a:pt x="1204" y="2507"/>
                </a:lnTo>
                <a:lnTo>
                  <a:pt x="1203" y="2596"/>
                </a:lnTo>
                <a:lnTo>
                  <a:pt x="1203" y="2596"/>
                </a:lnTo>
                <a:lnTo>
                  <a:pt x="1198" y="2685"/>
                </a:lnTo>
                <a:lnTo>
                  <a:pt x="1192" y="2775"/>
                </a:lnTo>
                <a:lnTo>
                  <a:pt x="1184" y="2863"/>
                </a:lnTo>
                <a:lnTo>
                  <a:pt x="1174" y="2952"/>
                </a:lnTo>
                <a:lnTo>
                  <a:pt x="1161" y="3041"/>
                </a:lnTo>
                <a:lnTo>
                  <a:pt x="1146" y="3130"/>
                </a:lnTo>
                <a:lnTo>
                  <a:pt x="1129" y="3219"/>
                </a:lnTo>
                <a:lnTo>
                  <a:pt x="1109" y="3307"/>
                </a:lnTo>
                <a:lnTo>
                  <a:pt x="1109" y="3307"/>
                </a:lnTo>
                <a:lnTo>
                  <a:pt x="1087" y="3394"/>
                </a:lnTo>
                <a:lnTo>
                  <a:pt x="1063" y="3481"/>
                </a:lnTo>
                <a:lnTo>
                  <a:pt x="1037" y="3567"/>
                </a:lnTo>
                <a:lnTo>
                  <a:pt x="1008" y="3654"/>
                </a:lnTo>
                <a:lnTo>
                  <a:pt x="978" y="3739"/>
                </a:lnTo>
                <a:lnTo>
                  <a:pt x="944" y="3824"/>
                </a:lnTo>
                <a:lnTo>
                  <a:pt x="910" y="3908"/>
                </a:lnTo>
                <a:lnTo>
                  <a:pt x="873" y="3991"/>
                </a:lnTo>
                <a:lnTo>
                  <a:pt x="873" y="3991"/>
                </a:lnTo>
                <a:lnTo>
                  <a:pt x="832" y="4073"/>
                </a:lnTo>
                <a:lnTo>
                  <a:pt x="791" y="4154"/>
                </a:lnTo>
                <a:lnTo>
                  <a:pt x="748" y="4234"/>
                </a:lnTo>
                <a:lnTo>
                  <a:pt x="702" y="4314"/>
                </a:lnTo>
                <a:lnTo>
                  <a:pt x="653" y="4391"/>
                </a:lnTo>
                <a:lnTo>
                  <a:pt x="604" y="4469"/>
                </a:lnTo>
                <a:lnTo>
                  <a:pt x="552" y="4545"/>
                </a:lnTo>
                <a:lnTo>
                  <a:pt x="498" y="4619"/>
                </a:lnTo>
                <a:lnTo>
                  <a:pt x="498" y="4619"/>
                </a:lnTo>
                <a:lnTo>
                  <a:pt x="442" y="4693"/>
                </a:lnTo>
                <a:lnTo>
                  <a:pt x="385" y="4764"/>
                </a:lnTo>
                <a:lnTo>
                  <a:pt x="325" y="4834"/>
                </a:lnTo>
                <a:lnTo>
                  <a:pt x="263" y="4904"/>
                </a:lnTo>
                <a:lnTo>
                  <a:pt x="200" y="4971"/>
                </a:lnTo>
                <a:lnTo>
                  <a:pt x="135" y="5036"/>
                </a:lnTo>
                <a:lnTo>
                  <a:pt x="68" y="5101"/>
                </a:lnTo>
                <a:lnTo>
                  <a:pt x="0" y="5165"/>
                </a:lnTo>
                <a:lnTo>
                  <a:pt x="0" y="5165"/>
                </a:lnTo>
                <a:close/>
              </a:path>
            </a:pathLst>
          </a:custGeom>
          <a:solidFill>
            <a:srgbClr val="2F3696"/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9" name="Овал 12"/>
          <p:cNvSpPr/>
          <p:nvPr/>
        </p:nvSpPr>
        <p:spPr>
          <a:xfrm>
            <a:off x="227546" y="144390"/>
            <a:ext cx="599305" cy="599305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2800" dirty="0" err="1" smtClean="0">
              <a:solidFill>
                <a:schemeClr val="bg1"/>
              </a:solidFill>
            </a:endParaRPr>
          </a:p>
        </p:txBody>
      </p:sp>
      <p:pic>
        <p:nvPicPr>
          <p:cNvPr id="20" name="Рисунок 1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20053" y="236414"/>
            <a:ext cx="445306" cy="42213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6168008" y="1656883"/>
            <a:ext cx="206159" cy="2038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2" name="Title 2"/>
          <p:cNvSpPr txBox="1">
            <a:spLocks/>
          </p:cNvSpPr>
          <p:nvPr/>
        </p:nvSpPr>
        <p:spPr>
          <a:xfrm>
            <a:off x="919358" y="31763"/>
            <a:ext cx="10174923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ts val="21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+mj-lt"/>
              </a:rPr>
              <a:t>ВСЕМ ИЗВЕСТНО, ЧТО ЗАКОН </a:t>
            </a:r>
            <a:r>
              <a:rPr lang="ru-RU" sz="2400" dirty="0">
                <a:latin typeface="+mj-lt"/>
              </a:rPr>
              <a:t>ПОЗВОЛЯЕТ </a:t>
            </a:r>
            <a:r>
              <a:rPr lang="ru-RU" sz="2400" dirty="0" smtClean="0">
                <a:solidFill>
                  <a:srgbClr val="EB2049"/>
                </a:solidFill>
                <a:latin typeface="+mj-lt"/>
              </a:rPr>
              <a:t>ИСПОЛЬЗОВАТЬ </a:t>
            </a:r>
            <a:r>
              <a:rPr lang="ru-RU" sz="2400" dirty="0">
                <a:solidFill>
                  <a:srgbClr val="EB2049"/>
                </a:solidFill>
                <a:latin typeface="+mj-lt"/>
              </a:rPr>
              <a:t>УЧЕБНЫЕ ПОСОБИЯ</a:t>
            </a:r>
            <a:r>
              <a:rPr lang="ru-RU" sz="2400" dirty="0">
                <a:latin typeface="+mj-lt"/>
              </a:rPr>
              <a:t> </a:t>
            </a:r>
            <a:r>
              <a:rPr lang="ru-RU" sz="2400" dirty="0" smtClean="0">
                <a:latin typeface="+mj-lt"/>
              </a:rPr>
              <a:t>В ОБРАЗОВАТЕЛЬНОМ ПРОЦЕССЕ</a:t>
            </a:r>
            <a:endParaRPr lang="ru-RU" sz="2400" dirty="0">
              <a:latin typeface="+mj-lt"/>
            </a:endParaRPr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6271086" y="1741850"/>
            <a:ext cx="5476413" cy="433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4290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Статья 18. Печатные и электронные образовательные и информационные ресурсы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1. В организациях, осуществляющих образовательную деятельность, в целях обеспечения реализации образовательных программ формируются библиотеки, в том числе цифровые (электронные) библиотеки, обеспечивающие доступ к профессиональным базам данных, информационным справочным и поисковым системам, а также иным информационным ресурсам.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Библиотечный фонд должен быть укомплектован печатными и (или) электронными учебными изданиями (включая учебники и учебные пособия)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методическими и периодическими изданиями по всем входящим в реализуемые основные образовательные программы учебным предметам, курсам, дисциплинам (модулям)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2. Нормы обеспеченности образовательной деятельности учебными изданиями в расчете на одного обучающегося по основной образовательной программе устанавливаются соответствующими федеральными государственными образовательными 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  <a:hlinkClick r:id="rId9"/>
              </a:rPr>
              <a:t>стандартами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Arial" pitchFamily="34" charset="0"/>
              </a:rPr>
              <a:t>…………………………………………………………………………………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4. Организации, осуществляющие образовательную деятельность по имеющим государственную аккредитацию образовательным программам начального общего, основного общего, среднего общего образования, для использования при реализации указанных образовательных программ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выбирают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: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1)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учебники из числа входящих в федеральный перечень учебников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рекомендуем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;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2) </a:t>
            </a:r>
            <a:r>
              <a:rPr kumimoji="0" lang="ru-RU" sz="800" b="0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учебные пособия</a:t>
            </a:r>
            <a:r>
              <a:rPr kumimoji="0" lang="ru-R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, выпущенные организациями, входящими в перечень организаций, осуществляющих выпуск учебных пособий, которые допускаются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.</a:t>
            </a:r>
          </a:p>
          <a:p>
            <a:pPr marL="0" marR="0" lvl="0" indent="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800" dirty="0" smtClean="0">
                <a:latin typeface="Arial" pitchFamily="34" charset="0"/>
                <a:cs typeface="Arial" pitchFamily="34" charset="0"/>
              </a:rPr>
              <a:t>…………………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5875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1zmeXrTTGWjEYv4OzI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gZ_bRHO8Xuzi02yA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gZ_bRHO8Xuzi02yA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pHgZ_bRHO8Xuzi02yA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.UFhJeR3CmcKELoM8u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c3tC5vRSCKOI_KW5_q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.UFhJeR3CmcKELoM8u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yszM.FTV6UAhTyG2CT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c3tC5vRSCKOI_KW5_q7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xJueK_TDuxBawPA6pk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sR8JxORdSOVo5lckY9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c3tC5vRSCKOI_KW5_q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c3tC5vRSCKOI_KW5_q7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p8RWW5TaOuYmhH_M9H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xD7zy3QRSJIPQ3PTMzC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xD7zy3QRSJIPQ3PTMzC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11</TotalTime>
  <Words>3507</Words>
  <Application>Microsoft Office PowerPoint</Application>
  <PresentationFormat>Произвольный</PresentationFormat>
  <Paragraphs>442</Paragraphs>
  <Slides>55</Slides>
  <Notes>3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5</vt:i4>
      </vt:variant>
    </vt:vector>
  </HeadingPairs>
  <TitlesOfParts>
    <vt:vector size="57" baseType="lpstr">
      <vt:lpstr>Drofa</vt:lpstr>
      <vt:lpstr>think-cell Slide</vt:lpstr>
      <vt:lpstr>НОВЫЕ УЧЕБНЫЕ ПОСОБИЯ ПО ТЕХНОЛОГИИ КАК СРЕДСТВО РЕАЛИЗАЦИИ КОНЦЕПЦИИ ПРЕПОДАВАНИЯ ТЕХНОЛОГИИ </vt:lpstr>
      <vt:lpstr>КОНЦЕПЦИЯ ПРЕПОДАВАНИЯ ПРЕДМЕТНОЙ ОБЛАСТИ «ТЕХНОЛОГИЯ» В ОБЩЕОБРАЗОВАТЕЛЬНЫХ ОРГАНИЗАЦИЯХ РОССИЙСКОЙ ФЕДЕРАЦИИ, РЕАЛИЗУЮЩИХ ОСНОВНЫЕ ОБЩЕОБРАЗОВАТЕЛЬНЫЕ ПРОГРАММЫ </vt:lpstr>
      <vt:lpstr>Презентация PowerPoint</vt:lpstr>
      <vt:lpstr>Федеральный перечень  учебников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ОВЫЕ УЧЕБНЫЕ ПОСОБИЯ ПО ТЕХНОЛОГИИ </vt:lpstr>
      <vt:lpstr>УМК «ТЕХНОЛОГИЯ» ТИЩЕНКО А. Т. , СИНИЦА Н. В.</vt:lpstr>
      <vt:lpstr>СОДЕРЖАНИЕ УЧЕБНИКОВ: 5-9 КЛАССЫ</vt:lpstr>
      <vt:lpstr>ОСОБЕННОСТИ УЧЕБНИКОВ - 5 КЛАСС</vt:lpstr>
      <vt:lpstr>ОСОБЕННОСТИ УЧЕБНИКОВ</vt:lpstr>
      <vt:lpstr>ОСОБЕННОСТИ УЧЕБНИКОВ</vt:lpstr>
      <vt:lpstr>ВАРИАТИВНЫЙ МОДУЛЬ «СЕЛЬСКОХОЗЯЙСТВЕННЫЕ ТЕХНОЛОГИИ» </vt:lpstr>
      <vt:lpstr>УМК «ТЕХНОЛОГИЯ» 5-9 КЛАССЫ</vt:lpstr>
      <vt:lpstr>СОДЕРЖАНИЕ УЧЕБНИКОВ: 5-9 КЛАССЫ</vt:lpstr>
      <vt:lpstr>УМК ПО ТЕХНОЛОГИИ - 5 КЛАСС</vt:lpstr>
      <vt:lpstr>ОСОБЕННОСТИ УЧЕБНИКОВ</vt:lpstr>
      <vt:lpstr>ОСОБЕННОСТИ УЧЕБНИКОВ</vt:lpstr>
      <vt:lpstr>ОСОБЕННОСТИ УЧЕБНИКОВ</vt:lpstr>
      <vt:lpstr>МЕТОДИЧЕСКОЕ ПОСОБИЕ «ТЕХНОЛОГИЯ. 6 КЛАСС».  АВТОРЫ ГЛОЗМАН Е.С., КУДАКОВА Е.Н. </vt:lpstr>
      <vt:lpstr>УМК «ЧЕРЧЕНИЕ» </vt:lpstr>
      <vt:lpstr>УМК «ЧЕРЧЕНИЕ»</vt:lpstr>
      <vt:lpstr>СТРУКТУРА УМК ПО ЧЕРЧЕНИЮ 9 КЛАСС</vt:lpstr>
      <vt:lpstr>ЧЕРЧЕНИЕ. РАБОЧИЕ ТЕТРАДИ</vt:lpstr>
      <vt:lpstr>ЧЕРЧЕНИЕ. ДОПОЛНИТЕЛЬНЫЕ РАБОЧИЕ ТЕТРАДИ</vt:lpstr>
      <vt:lpstr>ОСНОВНЫЕ ПРЕИМУЩЕСТВА УМК ПО ЧЕРЧЕНИЮ</vt:lpstr>
      <vt:lpstr>СТРУКТУРА УМК ПО ЧЕРЧЕНИЮ 9 КЛАСС</vt:lpstr>
      <vt:lpstr>Учебно-методические материалы</vt:lpstr>
      <vt:lpstr>ТЕХНОЛОГИЧЕСКИЕ КАРТЫ Синица Н.В., Тищенко А.Т.</vt:lpstr>
      <vt:lpstr>Электронные образовательные ресурсы корпорации «Российский учебник»    </vt:lpstr>
      <vt:lpstr>Электронные образовательные ресурсы корпорации «Российский учебник»    </vt:lpstr>
      <vt:lpstr>Электронные образовательные ресурсы корпорации «Российский учебник»    </vt:lpstr>
      <vt:lpstr>Презентация PowerPoint</vt:lpstr>
      <vt:lpstr>Презентация PowerPoint</vt:lpstr>
      <vt:lpstr>РЕГИСТРИРУЙТЕСЬ НА САЙТЕ ROSUCHEBNIK.RU  И ПОЛЬЗУЙТЕСЬ ПРЕИМУЩЕСТВАМИ ЛИЧНОГО КАБИНЕТА</vt:lpstr>
      <vt:lpstr>Электронная форма учебников</vt:lpstr>
      <vt:lpstr>САЙТ КОРПОРАЦИИ «РОССИЙСКИЙ УЧЕБНИК»: МЕТОДИЧЕСКАЯ ПОМОЩЬ ПО ПРЕДМЕТУ</vt:lpstr>
      <vt:lpstr>САЙТ КОРПОРАЦИИ «РОССИЙСКИЙ УЧЕБНИК» МЕТОДИЧЕСКАЯ ПОМОЩЬ ПО ПРЕДМЕТУ</vt:lpstr>
      <vt:lpstr>САЙТ КОРПОРАЦИИ «РОССИЙСКИЙ УЧЕБНИК»: МЕТОДИЧЕСКАЯ ПОМОЩЬ ПО ПРЕДМЕТУ</vt:lpstr>
      <vt:lpstr> </vt:lpstr>
      <vt:lpstr>НАДЕЖНАЯ ОСНОВА ЦИФРОВОЙ ШКОЛЫ:  ПРОСТЫЕ РЕШЕНИЯ СЛОЖНЫХ ЗАДАЧ</vt:lpstr>
      <vt:lpstr>LECTA – УНИКАЛЬНАЯ ИНТЕРАКТИВНАЯ  ЦИФРОВАЯ ОБРАЗОВАТЕЛЬНАЯ ПЛАТФОРМА</vt:lpstr>
      <vt:lpstr>Презентация PowerPoint</vt:lpstr>
      <vt:lpstr>ЦЕНТР ДОПОЛНИТЕЛЬНОГО ОБРАЗОВАНИЯ  КОРПОРАЦИИ «РОССИЙСКИЙ УЧЕБНИК»</vt:lpstr>
      <vt:lpstr>ВИТРИНА КУРСОВ ЦДО «РОССИЙСКИЙ УЧЕБНИК» НА ОФИЦИАЛЬНОМ САЙТЕ КОРПОРАЦИИ</vt:lpstr>
      <vt:lpstr>ЦЕНТР ДОПОЛНИТЕЛЬНОГО ОБРАЗОВАНИЯ НА ОБРАЗОВАТЕЛЬНОЙ ПЛАТФОРМЕ LECTA</vt:lpstr>
      <vt:lpstr>Презентация PowerPoint</vt:lpstr>
      <vt:lpstr>Презентация PowerPoint</vt:lpstr>
      <vt:lpstr>Презентация PowerPoint</vt:lpstr>
      <vt:lpstr>Презентация PowerPoint</vt:lpstr>
      <vt:lpstr>БЛАГОДАРИМ ЗА ВНИМАНИЕ!</vt:lpstr>
    </vt:vector>
  </TitlesOfParts>
  <Company>HP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Vakhidova</dc:creator>
  <cp:lastModifiedBy>Skype</cp:lastModifiedBy>
  <cp:revision>905</cp:revision>
  <cp:lastPrinted>2019-02-12T18:51:53Z</cp:lastPrinted>
  <dcterms:created xsi:type="dcterms:W3CDTF">2019-01-24T10:53:01Z</dcterms:created>
  <dcterms:modified xsi:type="dcterms:W3CDTF">2019-09-10T10:32:35Z</dcterms:modified>
</cp:coreProperties>
</file>